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37"/>
  </p:notesMasterIdLst>
  <p:handoutMasterIdLst>
    <p:handoutMasterId r:id="rId38"/>
  </p:handoutMasterIdLst>
  <p:sldIdLst>
    <p:sldId id="256" r:id="rId5"/>
    <p:sldId id="1752" r:id="rId6"/>
    <p:sldId id="258" r:id="rId7"/>
    <p:sldId id="285" r:id="rId8"/>
    <p:sldId id="1753" r:id="rId9"/>
    <p:sldId id="280" r:id="rId10"/>
    <p:sldId id="1755" r:id="rId11"/>
    <p:sldId id="1756" r:id="rId12"/>
    <p:sldId id="262" r:id="rId13"/>
    <p:sldId id="287" r:id="rId14"/>
    <p:sldId id="268" r:id="rId15"/>
    <p:sldId id="1754" r:id="rId16"/>
    <p:sldId id="291" r:id="rId17"/>
    <p:sldId id="269" r:id="rId18"/>
    <p:sldId id="263" r:id="rId19"/>
    <p:sldId id="270" r:id="rId20"/>
    <p:sldId id="267" r:id="rId21"/>
    <p:sldId id="278" r:id="rId22"/>
    <p:sldId id="282" r:id="rId23"/>
    <p:sldId id="271" r:id="rId24"/>
    <p:sldId id="264" r:id="rId25"/>
    <p:sldId id="281" r:id="rId26"/>
    <p:sldId id="273" r:id="rId27"/>
    <p:sldId id="295" r:id="rId28"/>
    <p:sldId id="283" r:id="rId29"/>
    <p:sldId id="284" r:id="rId30"/>
    <p:sldId id="265" r:id="rId31"/>
    <p:sldId id="277" r:id="rId32"/>
    <p:sldId id="279" r:id="rId33"/>
    <p:sldId id="1757" r:id="rId34"/>
    <p:sldId id="286" r:id="rId35"/>
    <p:sldId id="261" r:id="rId36"/>
  </p:sldIdLst>
  <p:sldSz cx="12192000" cy="6858000"/>
  <p:notesSz cx="6858000" cy="9144000"/>
  <p:custDataLst>
    <p:tags r:id="rId39"/>
  </p:custDataLst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0000"/>
    <a:srgbClr val="A40000"/>
    <a:srgbClr val="9E0000"/>
    <a:srgbClr val="C7450B"/>
    <a:srgbClr val="E24E0C"/>
    <a:srgbClr val="DC6140"/>
    <a:srgbClr val="E60000"/>
    <a:srgbClr val="C9670D"/>
    <a:srgbClr val="66B5C9"/>
    <a:srgbClr val="EDB1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DFD4203-D9ED-440C-90F0-E44693686A18}" v="111" dt="2018-07-30T02:23:45.02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182" autoAdjust="0"/>
  </p:normalViewPr>
  <p:slideViewPr>
    <p:cSldViewPr snapToGrid="0">
      <p:cViewPr varScale="1">
        <p:scale>
          <a:sx n="63" d="100"/>
          <a:sy n="63" d="100"/>
        </p:scale>
        <p:origin x="804" y="4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80" d="100"/>
          <a:sy n="80" d="100"/>
        </p:scale>
        <p:origin x="3204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theme" Target="theme/theme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presProps" Target="presProps.xml"/><Relationship Id="rId45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ableStyles" Target="tableStyle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16.xml"/><Relationship Id="rId41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成平 曾" userId="fd1918ea-2df8-4eee-b319-b4160af742b7" providerId="ADAL" clId="{25AB174D-796C-4582-8DA1-6AF1126328A7}"/>
    <pc:docChg chg="custSel delSld modSld sldOrd">
      <pc:chgData name="成平 曾" userId="fd1918ea-2df8-4eee-b319-b4160af742b7" providerId="ADAL" clId="{25AB174D-796C-4582-8DA1-6AF1126328A7}" dt="2018-07-30T02:16:04.191" v="105"/>
      <pc:docMkLst>
        <pc:docMk/>
      </pc:docMkLst>
      <pc:sldChg chg="addSp delSp modSp modTransition">
        <pc:chgData name="成平 曾" userId="fd1918ea-2df8-4eee-b319-b4160af742b7" providerId="ADAL" clId="{25AB174D-796C-4582-8DA1-6AF1126328A7}" dt="2018-07-30T02:14:18.036" v="53"/>
        <pc:sldMkLst>
          <pc:docMk/>
          <pc:sldMk cId="745032783" sldId="263"/>
        </pc:sldMkLst>
        <pc:spChg chg="add del mod">
          <ac:chgData name="成平 曾" userId="fd1918ea-2df8-4eee-b319-b4160af742b7" providerId="ADAL" clId="{25AB174D-796C-4582-8DA1-6AF1126328A7}" dt="2018-07-30T02:14:17.809" v="52" actId="478"/>
          <ac:spMkLst>
            <pc:docMk/>
            <pc:sldMk cId="745032783" sldId="263"/>
            <ac:spMk id="30" creationId="{0084FEA1-D889-44E5-9742-EB131E0431E7}"/>
          </ac:spMkLst>
        </pc:spChg>
        <pc:spChg chg="add">
          <ac:chgData name="成平 曾" userId="fd1918ea-2df8-4eee-b319-b4160af742b7" providerId="ADAL" clId="{25AB174D-796C-4582-8DA1-6AF1126328A7}" dt="2018-07-30T02:14:18.036" v="53"/>
          <ac:spMkLst>
            <pc:docMk/>
            <pc:sldMk cId="745032783" sldId="263"/>
            <ac:spMk id="31" creationId="{DAE001C2-4C13-4B81-8DEF-587F0475D5C3}"/>
          </ac:spMkLst>
        </pc:spChg>
      </pc:sldChg>
      <pc:sldChg chg="addSp modTransition">
        <pc:chgData name="成平 曾" userId="fd1918ea-2df8-4eee-b319-b4160af742b7" providerId="ADAL" clId="{25AB174D-796C-4582-8DA1-6AF1126328A7}" dt="2018-07-30T02:14:20.113" v="54"/>
        <pc:sldMkLst>
          <pc:docMk/>
          <pc:sldMk cId="1646487189" sldId="264"/>
        </pc:sldMkLst>
        <pc:spChg chg="add">
          <ac:chgData name="成平 曾" userId="fd1918ea-2df8-4eee-b319-b4160af742b7" providerId="ADAL" clId="{25AB174D-796C-4582-8DA1-6AF1126328A7}" dt="2018-07-30T02:14:20.113" v="54"/>
          <ac:spMkLst>
            <pc:docMk/>
            <pc:sldMk cId="1646487189" sldId="264"/>
            <ac:spMk id="47" creationId="{E5DEE5E9-29F9-4569-B160-ED6B322E481B}"/>
          </ac:spMkLst>
        </pc:spChg>
      </pc:sldChg>
      <pc:sldChg chg="addSp modSp ord modTransition">
        <pc:chgData name="成平 曾" userId="fd1918ea-2df8-4eee-b319-b4160af742b7" providerId="ADAL" clId="{25AB174D-796C-4582-8DA1-6AF1126328A7}" dt="2018-07-30T02:14:09.341" v="51" actId="14100"/>
        <pc:sldMkLst>
          <pc:docMk/>
          <pc:sldMk cId="2958572277" sldId="265"/>
        </pc:sldMkLst>
        <pc:spChg chg="add mod">
          <ac:chgData name="成平 曾" userId="fd1918ea-2df8-4eee-b319-b4160af742b7" providerId="ADAL" clId="{25AB174D-796C-4582-8DA1-6AF1126328A7}" dt="2018-07-30T02:14:09.341" v="51" actId="14100"/>
          <ac:spMkLst>
            <pc:docMk/>
            <pc:sldMk cId="2958572277" sldId="265"/>
            <ac:spMk id="66" creationId="{F9F18485-26E6-4463-9EA4-7BEC48527BBB}"/>
          </ac:spMkLst>
        </pc:spChg>
      </pc:sldChg>
      <pc:sldChg chg="addSp modSp modTransition">
        <pc:chgData name="成平 曾" userId="fd1918ea-2df8-4eee-b319-b4160af742b7" providerId="ADAL" clId="{25AB174D-796C-4582-8DA1-6AF1126328A7}" dt="2018-07-30T02:15:58.807" v="104"/>
        <pc:sldMkLst>
          <pc:docMk/>
          <pc:sldMk cId="194311464" sldId="266"/>
        </pc:sldMkLst>
        <pc:spChg chg="add mod">
          <ac:chgData name="成平 曾" userId="fd1918ea-2df8-4eee-b319-b4160af742b7" providerId="ADAL" clId="{25AB174D-796C-4582-8DA1-6AF1126328A7}" dt="2018-07-30T02:15:58.807" v="104"/>
          <ac:spMkLst>
            <pc:docMk/>
            <pc:sldMk cId="194311464" sldId="266"/>
            <ac:spMk id="89" creationId="{F056E86D-4F76-48FC-8B09-A2BE84DC2E44}"/>
          </ac:spMkLst>
        </pc:spChg>
      </pc:sldChg>
      <pc:sldChg chg="del">
        <pc:chgData name="成平 曾" userId="fd1918ea-2df8-4eee-b319-b4160af742b7" providerId="ADAL" clId="{25AB174D-796C-4582-8DA1-6AF1126328A7}" dt="2018-07-30T02:12:01.316" v="4" actId="2696"/>
        <pc:sldMkLst>
          <pc:docMk/>
          <pc:sldMk cId="4053583199" sldId="267"/>
        </pc:sldMkLst>
      </pc:sldChg>
      <pc:sldChg chg="del">
        <pc:chgData name="成平 曾" userId="fd1918ea-2df8-4eee-b319-b4160af742b7" providerId="ADAL" clId="{25AB174D-796C-4582-8DA1-6AF1126328A7}" dt="2018-07-30T02:12:01.275" v="0" actId="2696"/>
        <pc:sldMkLst>
          <pc:docMk/>
          <pc:sldMk cId="558770741" sldId="270"/>
        </pc:sldMkLst>
      </pc:sldChg>
      <pc:sldChg chg="del">
        <pc:chgData name="成平 曾" userId="fd1918ea-2df8-4eee-b319-b4160af742b7" providerId="ADAL" clId="{25AB174D-796C-4582-8DA1-6AF1126328A7}" dt="2018-07-30T02:12:01.303" v="3" actId="2696"/>
        <pc:sldMkLst>
          <pc:docMk/>
          <pc:sldMk cId="1820242946" sldId="274"/>
        </pc:sldMkLst>
      </pc:sldChg>
      <pc:sldChg chg="del">
        <pc:chgData name="成平 曾" userId="fd1918ea-2df8-4eee-b319-b4160af742b7" providerId="ADAL" clId="{25AB174D-796C-4582-8DA1-6AF1126328A7}" dt="2018-07-30T02:12:01.333" v="6" actId="2696"/>
        <pc:sldMkLst>
          <pc:docMk/>
          <pc:sldMk cId="477884624" sldId="275"/>
        </pc:sldMkLst>
      </pc:sldChg>
      <pc:sldChg chg="del">
        <pc:chgData name="成平 曾" userId="fd1918ea-2df8-4eee-b319-b4160af742b7" providerId="ADAL" clId="{25AB174D-796C-4582-8DA1-6AF1126328A7}" dt="2018-07-30T02:12:01.340" v="7" actId="2696"/>
        <pc:sldMkLst>
          <pc:docMk/>
          <pc:sldMk cId="2782375922" sldId="276"/>
        </pc:sldMkLst>
      </pc:sldChg>
      <pc:sldChg chg="del">
        <pc:chgData name="成平 曾" userId="fd1918ea-2df8-4eee-b319-b4160af742b7" providerId="ADAL" clId="{25AB174D-796C-4582-8DA1-6AF1126328A7}" dt="2018-07-30T02:12:01.324" v="5" actId="2696"/>
        <pc:sldMkLst>
          <pc:docMk/>
          <pc:sldMk cId="2088582390" sldId="277"/>
        </pc:sldMkLst>
      </pc:sldChg>
      <pc:sldChg chg="del">
        <pc:chgData name="成平 曾" userId="fd1918ea-2df8-4eee-b319-b4160af742b7" providerId="ADAL" clId="{25AB174D-796C-4582-8DA1-6AF1126328A7}" dt="2018-07-30T02:12:01.292" v="2" actId="2696"/>
        <pc:sldMkLst>
          <pc:docMk/>
          <pc:sldMk cId="761741927" sldId="279"/>
        </pc:sldMkLst>
      </pc:sldChg>
      <pc:sldChg chg="del">
        <pc:chgData name="成平 曾" userId="fd1918ea-2df8-4eee-b319-b4160af742b7" providerId="ADAL" clId="{25AB174D-796C-4582-8DA1-6AF1126328A7}" dt="2018-07-30T02:12:01.284" v="1" actId="2696"/>
        <pc:sldMkLst>
          <pc:docMk/>
          <pc:sldMk cId="3420189757" sldId="281"/>
        </pc:sldMkLst>
      </pc:sldChg>
      <pc:sldChg chg="addSp modTransition">
        <pc:chgData name="成平 曾" userId="fd1918ea-2df8-4eee-b319-b4160af742b7" providerId="ADAL" clId="{25AB174D-796C-4582-8DA1-6AF1126328A7}" dt="2018-07-30T02:16:04.191" v="105"/>
        <pc:sldMkLst>
          <pc:docMk/>
          <pc:sldMk cId="3563110417" sldId="282"/>
        </pc:sldMkLst>
        <pc:spChg chg="add">
          <ac:chgData name="成平 曾" userId="fd1918ea-2df8-4eee-b319-b4160af742b7" providerId="ADAL" clId="{25AB174D-796C-4582-8DA1-6AF1126328A7}" dt="2018-07-30T02:16:04.191" v="105"/>
          <ac:spMkLst>
            <pc:docMk/>
            <pc:sldMk cId="3563110417" sldId="282"/>
            <ac:spMk id="68" creationId="{6587B3EC-A802-406A-8E1F-EF102EC71C6C}"/>
          </ac:spMkLst>
        </pc:spChg>
      </pc:sldChg>
    </pc:docChg>
  </pc:docChgLst>
  <pc:docChgLst>
    <pc:chgData name="成平 曾" userId="fd1918ea-2df8-4eee-b319-b4160af742b7" providerId="ADAL" clId="{8DFD4203-D9ED-440C-90F0-E44693686A18}"/>
    <pc:docChg chg="custSel addSld modSld">
      <pc:chgData name="成平 曾" userId="fd1918ea-2df8-4eee-b319-b4160af742b7" providerId="ADAL" clId="{8DFD4203-D9ED-440C-90F0-E44693686A18}" dt="2018-07-30T02:23:45.022" v="3"/>
      <pc:docMkLst>
        <pc:docMk/>
      </pc:docMkLst>
      <pc:sldChg chg="addSp delSp add modTransition">
        <pc:chgData name="成平 曾" userId="fd1918ea-2df8-4eee-b319-b4160af742b7" providerId="ADAL" clId="{8DFD4203-D9ED-440C-90F0-E44693686A18}" dt="2018-07-30T02:23:45.022" v="3"/>
        <pc:sldMkLst>
          <pc:docMk/>
          <pc:sldMk cId="545778957" sldId="259"/>
        </pc:sldMkLst>
        <pc:spChg chg="add">
          <ac:chgData name="成平 曾" userId="fd1918ea-2df8-4eee-b319-b4160af742b7" providerId="ADAL" clId="{8DFD4203-D9ED-440C-90F0-E44693686A18}" dt="2018-07-30T02:23:45.022" v="3"/>
          <ac:spMkLst>
            <pc:docMk/>
            <pc:sldMk cId="545778957" sldId="259"/>
            <ac:spMk id="45" creationId="{691C252C-F4D2-4CE4-9EB3-ED2888C92C09}"/>
          </ac:spMkLst>
        </pc:spChg>
        <pc:spChg chg="del">
          <ac:chgData name="成平 曾" userId="fd1918ea-2df8-4eee-b319-b4160af742b7" providerId="ADAL" clId="{8DFD4203-D9ED-440C-90F0-E44693686A18}" dt="2018-07-30T02:23:44.728" v="2" actId="478"/>
          <ac:spMkLst>
            <pc:docMk/>
            <pc:sldMk cId="545778957" sldId="259"/>
            <ac:spMk id="51" creationId="{DB6B50C1-7119-4649-A59E-12A0D311364C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>
            <a:extLst>
              <a:ext uri="{FF2B5EF4-FFF2-40B4-BE49-F238E27FC236}">
                <a16:creationId xmlns:a16="http://schemas.microsoft.com/office/drawing/2014/main" id="{B9A56829-66AA-42AA-918E-5C6DB1AE50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241084A9-BC5C-4420-B17C-51E328D455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78E0E4-DC06-4041-AFA7-BB6F527FFA3F}" type="datetimeFigureOut">
              <a:rPr lang="zh-CN" altLang="en-US" smtClean="0"/>
              <a:t>2022/9/3</a:t>
            </a:fld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D6F2124-7B35-4E59-B9E8-DB09EE1408A4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2BF8FFE-D997-4E34-9A01-CD2014B9524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14B7432-8BB0-4EFA-A417-EFCDC17B2811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155388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6D8963-CFCD-4740-AF60-049850373CDF}" type="datetimeFigureOut">
              <a:rPr lang="zh-CN" altLang="en-US" smtClean="0"/>
              <a:t>2022/9/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9E6FDB6-6D2B-46C1-9FA1-D82906A37C3A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184981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矩形 13">
            <a:extLst>
              <a:ext uri="{FF2B5EF4-FFF2-40B4-BE49-F238E27FC236}">
                <a16:creationId xmlns:a16="http://schemas.microsoft.com/office/drawing/2014/main" id="{50E76845-F854-45BF-81FC-3E29C16B3A42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prstGeom prst="rect">
            <a:avLst/>
          </a:prstGeom>
          <a:gradFill flip="none" rotWithShape="1">
            <a:gsLst>
              <a:gs pos="0">
                <a:srgbClr val="24248B">
                  <a:alpha val="100000"/>
                </a:srgbClr>
              </a:gs>
              <a:gs pos="100000">
                <a:srgbClr val="0B00A6">
                  <a:alpha val="90000"/>
                </a:srgbClr>
              </a:gs>
            </a:gsLst>
            <a:path path="circle">
              <a:fillToRect l="100000" b="100000"/>
            </a:path>
            <a:tileRect t="-100000" r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/>
          </a:p>
        </p:txBody>
      </p:sp>
      <p:sp>
        <p:nvSpPr>
          <p:cNvPr id="15" name="任意多边形: 形状 14">
            <a:extLst>
              <a:ext uri="{FF2B5EF4-FFF2-40B4-BE49-F238E27FC236}">
                <a16:creationId xmlns:a16="http://schemas.microsoft.com/office/drawing/2014/main" id="{1C6DBB1D-C3C1-4146-A785-B7449D4C7294}"/>
              </a:ext>
            </a:extLst>
          </p:cNvPr>
          <p:cNvSpPr/>
          <p:nvPr userDrawn="1"/>
        </p:nvSpPr>
        <p:spPr>
          <a:xfrm>
            <a:off x="0" y="-11430"/>
            <a:ext cx="12192000" cy="6880225"/>
          </a:xfrm>
          <a:custGeom>
            <a:avLst/>
            <a:gdLst>
              <a:gd name="connsiteX0" fmla="*/ 6103145 w 12192000"/>
              <a:gd name="connsiteY0" fmla="*/ 3432493 h 6880225"/>
              <a:gd name="connsiteX1" fmla="*/ 0 w 12192000"/>
              <a:gd name="connsiteY1" fmla="*/ 4561448 h 6880225"/>
              <a:gd name="connsiteX2" fmla="*/ 0 w 12192000"/>
              <a:gd name="connsiteY2" fmla="*/ 4020931 h 6880225"/>
              <a:gd name="connsiteX3" fmla="*/ 6103145 w 12192000"/>
              <a:gd name="connsiteY3" fmla="*/ 3432493 h 6880225"/>
              <a:gd name="connsiteX4" fmla="*/ 0 w 12192000"/>
              <a:gd name="connsiteY4" fmla="*/ 6757447 h 6880225"/>
              <a:gd name="connsiteX5" fmla="*/ 0 w 12192000"/>
              <a:gd name="connsiteY5" fmla="*/ 6101209 h 6880225"/>
              <a:gd name="connsiteX6" fmla="*/ 6103145 w 12192000"/>
              <a:gd name="connsiteY6" fmla="*/ 3432493 h 6880225"/>
              <a:gd name="connsiteX7" fmla="*/ 2853198 w 12192000"/>
              <a:gd name="connsiteY7" fmla="*/ 6880225 h 6880225"/>
              <a:gd name="connsiteX8" fmla="*/ 2235128 w 12192000"/>
              <a:gd name="connsiteY8" fmla="*/ 6880225 h 6880225"/>
              <a:gd name="connsiteX9" fmla="*/ 6103145 w 12192000"/>
              <a:gd name="connsiteY9" fmla="*/ 3432493 h 6880225"/>
              <a:gd name="connsiteX10" fmla="*/ 4482320 w 12192000"/>
              <a:gd name="connsiteY10" fmla="*/ 6880225 h 6880225"/>
              <a:gd name="connsiteX11" fmla="*/ 4100306 w 12192000"/>
              <a:gd name="connsiteY11" fmla="*/ 6880225 h 6880225"/>
              <a:gd name="connsiteX12" fmla="*/ 6103145 w 12192000"/>
              <a:gd name="connsiteY12" fmla="*/ 3432493 h 6880225"/>
              <a:gd name="connsiteX13" fmla="*/ 5678028 w 12192000"/>
              <a:gd name="connsiteY13" fmla="*/ 6880225 h 6880225"/>
              <a:gd name="connsiteX14" fmla="*/ 5368958 w 12192000"/>
              <a:gd name="connsiteY14" fmla="*/ 6880225 h 6880225"/>
              <a:gd name="connsiteX15" fmla="*/ 6103145 w 12192000"/>
              <a:gd name="connsiteY15" fmla="*/ 3432493 h 6880225"/>
              <a:gd name="connsiteX16" fmla="*/ 6780177 w 12192000"/>
              <a:gd name="connsiteY16" fmla="*/ 6880225 h 6880225"/>
              <a:gd name="connsiteX17" fmla="*/ 6474029 w 12192000"/>
              <a:gd name="connsiteY17" fmla="*/ 6880225 h 6880225"/>
              <a:gd name="connsiteX18" fmla="*/ 6103145 w 12192000"/>
              <a:gd name="connsiteY18" fmla="*/ 3432493 h 6880225"/>
              <a:gd name="connsiteX19" fmla="*/ 8033477 w 12192000"/>
              <a:gd name="connsiteY19" fmla="*/ 6880225 h 6880225"/>
              <a:gd name="connsiteX20" fmla="*/ 7657317 w 12192000"/>
              <a:gd name="connsiteY20" fmla="*/ 6880225 h 6880225"/>
              <a:gd name="connsiteX21" fmla="*/ 6103145 w 12192000"/>
              <a:gd name="connsiteY21" fmla="*/ 3432493 h 6880225"/>
              <a:gd name="connsiteX22" fmla="*/ 9848054 w 12192000"/>
              <a:gd name="connsiteY22" fmla="*/ 6880225 h 6880225"/>
              <a:gd name="connsiteX23" fmla="*/ 9252221 w 12192000"/>
              <a:gd name="connsiteY23" fmla="*/ 6880225 h 6880225"/>
              <a:gd name="connsiteX24" fmla="*/ 6103145 w 12192000"/>
              <a:gd name="connsiteY24" fmla="*/ 3432493 h 6880225"/>
              <a:gd name="connsiteX25" fmla="*/ 12192000 w 12192000"/>
              <a:gd name="connsiteY25" fmla="*/ 6211392 h 6880225"/>
              <a:gd name="connsiteX26" fmla="*/ 12192000 w 12192000"/>
              <a:gd name="connsiteY26" fmla="*/ 6876631 h 6880225"/>
              <a:gd name="connsiteX27" fmla="*/ 6103145 w 12192000"/>
              <a:gd name="connsiteY27" fmla="*/ 3432493 h 6880225"/>
              <a:gd name="connsiteX28" fmla="*/ 12192000 w 12192000"/>
              <a:gd name="connsiteY28" fmla="*/ 4118345 h 6880225"/>
              <a:gd name="connsiteX29" fmla="*/ 12192000 w 12192000"/>
              <a:gd name="connsiteY29" fmla="*/ 4658400 h 6880225"/>
              <a:gd name="connsiteX30" fmla="*/ 12192000 w 12192000"/>
              <a:gd name="connsiteY30" fmla="*/ 2173903 h 6880225"/>
              <a:gd name="connsiteX31" fmla="*/ 12192000 w 12192000"/>
              <a:gd name="connsiteY31" fmla="*/ 2716891 h 6880225"/>
              <a:gd name="connsiteX32" fmla="*/ 6103145 w 12192000"/>
              <a:gd name="connsiteY32" fmla="*/ 3432493 h 6880225"/>
              <a:gd name="connsiteX33" fmla="*/ 0 w 12192000"/>
              <a:gd name="connsiteY33" fmla="*/ 2071218 h 6880225"/>
              <a:gd name="connsiteX34" fmla="*/ 6103145 w 12192000"/>
              <a:gd name="connsiteY34" fmla="*/ 3432493 h 6880225"/>
              <a:gd name="connsiteX35" fmla="*/ 0 w 12192000"/>
              <a:gd name="connsiteY35" fmla="*/ 2616963 h 6880225"/>
              <a:gd name="connsiteX36" fmla="*/ 0 w 12192000"/>
              <a:gd name="connsiteY36" fmla="*/ 148474 h 6880225"/>
              <a:gd name="connsiteX37" fmla="*/ 6103145 w 12192000"/>
              <a:gd name="connsiteY37" fmla="*/ 3432493 h 6880225"/>
              <a:gd name="connsiteX38" fmla="*/ 0 w 12192000"/>
              <a:gd name="connsiteY38" fmla="*/ 799973 h 6880225"/>
              <a:gd name="connsiteX39" fmla="*/ 12104097 w 12192000"/>
              <a:gd name="connsiteY39" fmla="*/ 0 h 6880225"/>
              <a:gd name="connsiteX40" fmla="*/ 12160929 w 12192000"/>
              <a:gd name="connsiteY40" fmla="*/ 0 h 6880225"/>
              <a:gd name="connsiteX41" fmla="*/ 12192000 w 12192000"/>
              <a:gd name="connsiteY41" fmla="*/ 46316 h 6880225"/>
              <a:gd name="connsiteX42" fmla="*/ 12192000 w 12192000"/>
              <a:gd name="connsiteY42" fmla="*/ 618291 h 6880225"/>
              <a:gd name="connsiteX43" fmla="*/ 6103145 w 12192000"/>
              <a:gd name="connsiteY43" fmla="*/ 3432493 h 6880225"/>
              <a:gd name="connsiteX44" fmla="*/ 9206322 w 12192000"/>
              <a:gd name="connsiteY44" fmla="*/ 0 h 6880225"/>
              <a:gd name="connsiteX45" fmla="*/ 9794157 w 12192000"/>
              <a:gd name="connsiteY45" fmla="*/ 0 h 6880225"/>
              <a:gd name="connsiteX46" fmla="*/ 6103145 w 12192000"/>
              <a:gd name="connsiteY46" fmla="*/ 3432493 h 6880225"/>
              <a:gd name="connsiteX47" fmla="*/ 7630317 w 12192000"/>
              <a:gd name="connsiteY47" fmla="*/ 0 h 6880225"/>
              <a:gd name="connsiteX48" fmla="*/ 8002009 w 12192000"/>
              <a:gd name="connsiteY48" fmla="*/ 0 h 6880225"/>
              <a:gd name="connsiteX49" fmla="*/ 6103145 w 12192000"/>
              <a:gd name="connsiteY49" fmla="*/ 3432493 h 6880225"/>
              <a:gd name="connsiteX50" fmla="*/ 6455216 w 12192000"/>
              <a:gd name="connsiteY50" fmla="*/ 0 h 6880225"/>
              <a:gd name="connsiteX51" fmla="*/ 6759624 w 12192000"/>
              <a:gd name="connsiteY51" fmla="*/ 0 h 6880225"/>
              <a:gd name="connsiteX52" fmla="*/ 6103145 w 12192000"/>
              <a:gd name="connsiteY52" fmla="*/ 3432493 h 6880225"/>
              <a:gd name="connsiteX53" fmla="*/ 5355068 w 12192000"/>
              <a:gd name="connsiteY53" fmla="*/ 0 h 6880225"/>
              <a:gd name="connsiteX54" fmla="*/ 5661858 w 12192000"/>
              <a:gd name="connsiteY54" fmla="*/ 0 h 6880225"/>
              <a:gd name="connsiteX55" fmla="*/ 6103145 w 12192000"/>
              <a:gd name="connsiteY55" fmla="*/ 3432493 h 6880225"/>
              <a:gd name="connsiteX56" fmla="*/ 4086169 w 12192000"/>
              <a:gd name="connsiteY56" fmla="*/ 0 h 6880225"/>
              <a:gd name="connsiteX57" fmla="*/ 4468543 w 12192000"/>
              <a:gd name="connsiteY57" fmla="*/ 0 h 6880225"/>
              <a:gd name="connsiteX58" fmla="*/ 6103145 w 12192000"/>
              <a:gd name="connsiteY58" fmla="*/ 3432493 h 6880225"/>
              <a:gd name="connsiteX59" fmla="*/ 2216456 w 12192000"/>
              <a:gd name="connsiteY59" fmla="*/ 0 h 6880225"/>
              <a:gd name="connsiteX60" fmla="*/ 2834512 w 12192000"/>
              <a:gd name="connsiteY60" fmla="*/ 0 h 6880225"/>
              <a:gd name="connsiteX61" fmla="*/ 6103145 w 12192000"/>
              <a:gd name="connsiteY61" fmla="*/ 3432493 h 6880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2192000" h="6880225">
                <a:moveTo>
                  <a:pt x="6103145" y="3432493"/>
                </a:moveTo>
                <a:lnTo>
                  <a:pt x="0" y="4561448"/>
                </a:lnTo>
                <a:lnTo>
                  <a:pt x="0" y="4020931"/>
                </a:lnTo>
                <a:close/>
                <a:moveTo>
                  <a:pt x="6103145" y="3432493"/>
                </a:moveTo>
                <a:lnTo>
                  <a:pt x="0" y="6757447"/>
                </a:lnTo>
                <a:lnTo>
                  <a:pt x="0" y="6101209"/>
                </a:lnTo>
                <a:close/>
                <a:moveTo>
                  <a:pt x="6103145" y="3432493"/>
                </a:moveTo>
                <a:lnTo>
                  <a:pt x="2853198" y="6880225"/>
                </a:lnTo>
                <a:lnTo>
                  <a:pt x="2235128" y="6880225"/>
                </a:lnTo>
                <a:close/>
                <a:moveTo>
                  <a:pt x="6103145" y="3432493"/>
                </a:moveTo>
                <a:lnTo>
                  <a:pt x="4482320" y="6880225"/>
                </a:lnTo>
                <a:lnTo>
                  <a:pt x="4100306" y="6880225"/>
                </a:lnTo>
                <a:close/>
                <a:moveTo>
                  <a:pt x="6103145" y="3432493"/>
                </a:moveTo>
                <a:lnTo>
                  <a:pt x="5678028" y="6880225"/>
                </a:lnTo>
                <a:lnTo>
                  <a:pt x="5368958" y="6880225"/>
                </a:lnTo>
                <a:close/>
                <a:moveTo>
                  <a:pt x="6103145" y="3432493"/>
                </a:moveTo>
                <a:lnTo>
                  <a:pt x="6780177" y="6880225"/>
                </a:lnTo>
                <a:lnTo>
                  <a:pt x="6474029" y="6880225"/>
                </a:lnTo>
                <a:close/>
                <a:moveTo>
                  <a:pt x="6103145" y="3432493"/>
                </a:moveTo>
                <a:lnTo>
                  <a:pt x="8033477" y="6880225"/>
                </a:lnTo>
                <a:lnTo>
                  <a:pt x="7657317" y="6880225"/>
                </a:lnTo>
                <a:close/>
                <a:moveTo>
                  <a:pt x="6103145" y="3432493"/>
                </a:moveTo>
                <a:lnTo>
                  <a:pt x="9848054" y="6880225"/>
                </a:lnTo>
                <a:lnTo>
                  <a:pt x="9252221" y="6880225"/>
                </a:lnTo>
                <a:close/>
                <a:moveTo>
                  <a:pt x="6103145" y="3432493"/>
                </a:moveTo>
                <a:lnTo>
                  <a:pt x="12192000" y="6211392"/>
                </a:lnTo>
                <a:lnTo>
                  <a:pt x="12192000" y="6876631"/>
                </a:lnTo>
                <a:close/>
                <a:moveTo>
                  <a:pt x="6103145" y="3432493"/>
                </a:moveTo>
                <a:lnTo>
                  <a:pt x="12192000" y="4118345"/>
                </a:lnTo>
                <a:lnTo>
                  <a:pt x="12192000" y="4658400"/>
                </a:lnTo>
                <a:close/>
                <a:moveTo>
                  <a:pt x="12192000" y="2173903"/>
                </a:moveTo>
                <a:lnTo>
                  <a:pt x="12192000" y="2716891"/>
                </a:lnTo>
                <a:lnTo>
                  <a:pt x="6103145" y="3432493"/>
                </a:lnTo>
                <a:close/>
                <a:moveTo>
                  <a:pt x="0" y="2071218"/>
                </a:moveTo>
                <a:lnTo>
                  <a:pt x="6103145" y="3432493"/>
                </a:lnTo>
                <a:lnTo>
                  <a:pt x="0" y="2616963"/>
                </a:lnTo>
                <a:close/>
                <a:moveTo>
                  <a:pt x="0" y="148474"/>
                </a:moveTo>
                <a:lnTo>
                  <a:pt x="6103145" y="3432493"/>
                </a:lnTo>
                <a:lnTo>
                  <a:pt x="0" y="799973"/>
                </a:lnTo>
                <a:close/>
                <a:moveTo>
                  <a:pt x="12104097" y="0"/>
                </a:moveTo>
                <a:lnTo>
                  <a:pt x="12160929" y="0"/>
                </a:lnTo>
                <a:lnTo>
                  <a:pt x="12192000" y="46316"/>
                </a:lnTo>
                <a:lnTo>
                  <a:pt x="12192000" y="618291"/>
                </a:lnTo>
                <a:lnTo>
                  <a:pt x="6103145" y="3432493"/>
                </a:lnTo>
                <a:close/>
                <a:moveTo>
                  <a:pt x="9206322" y="0"/>
                </a:moveTo>
                <a:lnTo>
                  <a:pt x="9794157" y="0"/>
                </a:lnTo>
                <a:lnTo>
                  <a:pt x="6103145" y="3432493"/>
                </a:lnTo>
                <a:close/>
                <a:moveTo>
                  <a:pt x="7630317" y="0"/>
                </a:moveTo>
                <a:lnTo>
                  <a:pt x="8002009" y="0"/>
                </a:lnTo>
                <a:lnTo>
                  <a:pt x="6103145" y="3432493"/>
                </a:lnTo>
                <a:close/>
                <a:moveTo>
                  <a:pt x="6455216" y="0"/>
                </a:moveTo>
                <a:lnTo>
                  <a:pt x="6759624" y="0"/>
                </a:lnTo>
                <a:lnTo>
                  <a:pt x="6103145" y="3432493"/>
                </a:lnTo>
                <a:close/>
                <a:moveTo>
                  <a:pt x="5355068" y="0"/>
                </a:moveTo>
                <a:lnTo>
                  <a:pt x="5661858" y="0"/>
                </a:lnTo>
                <a:lnTo>
                  <a:pt x="6103145" y="3432493"/>
                </a:lnTo>
                <a:close/>
                <a:moveTo>
                  <a:pt x="4086169" y="0"/>
                </a:moveTo>
                <a:lnTo>
                  <a:pt x="4468543" y="0"/>
                </a:lnTo>
                <a:lnTo>
                  <a:pt x="6103145" y="3432493"/>
                </a:lnTo>
                <a:close/>
                <a:moveTo>
                  <a:pt x="2216456" y="0"/>
                </a:moveTo>
                <a:lnTo>
                  <a:pt x="2834512" y="0"/>
                </a:lnTo>
                <a:lnTo>
                  <a:pt x="6103145" y="3432493"/>
                </a:lnTo>
                <a:close/>
              </a:path>
            </a:pathLst>
          </a:custGeom>
          <a:solidFill>
            <a:schemeClr val="bg1">
              <a:alpha val="17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zh-CN" altLang="en-US"/>
          </a:p>
        </p:txBody>
      </p:sp>
      <p:sp>
        <p:nvSpPr>
          <p:cNvPr id="16" name="矩形: 剪去对角 15">
            <a:extLst>
              <a:ext uri="{FF2B5EF4-FFF2-40B4-BE49-F238E27FC236}">
                <a16:creationId xmlns:a16="http://schemas.microsoft.com/office/drawing/2014/main" id="{AD7ED636-CC55-4155-B46C-745CE8540D16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17" name="矩形: 剪去对角 16">
            <a:extLst>
              <a:ext uri="{FF2B5EF4-FFF2-40B4-BE49-F238E27FC236}">
                <a16:creationId xmlns:a16="http://schemas.microsoft.com/office/drawing/2014/main" id="{96E43BDD-8B8A-4CDD-8732-9CCCBFF6791A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8" name="任意多边形: 形状 17">
            <a:extLst>
              <a:ext uri="{FF2B5EF4-FFF2-40B4-BE49-F238E27FC236}">
                <a16:creationId xmlns:a16="http://schemas.microsoft.com/office/drawing/2014/main" id="{1E9494B0-11A3-4700-A3FD-2BF50455EFFE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9" name="任意多边形: 形状 18">
            <a:extLst>
              <a:ext uri="{FF2B5EF4-FFF2-40B4-BE49-F238E27FC236}">
                <a16:creationId xmlns:a16="http://schemas.microsoft.com/office/drawing/2014/main" id="{8C54E1E0-63F9-43FF-8DF6-CFA0DCFCBA5A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801" name="副标题 9800"/>
          <p:cNvSpPr>
            <a:spLocks noGrp="1"/>
          </p:cNvSpPr>
          <p:nvPr userDrawn="1">
            <p:ph type="subTitle" idx="1" hasCustomPrompt="1"/>
          </p:nvPr>
        </p:nvSpPr>
        <p:spPr>
          <a:xfrm>
            <a:off x="1396093" y="3025184"/>
            <a:ext cx="9399815" cy="558799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9802" name="标题 9801"/>
          <p:cNvSpPr>
            <a:spLocks noGrp="1"/>
          </p:cNvSpPr>
          <p:nvPr userDrawn="1">
            <p:ph type="ctrTitle" hasCustomPrompt="1"/>
          </p:nvPr>
        </p:nvSpPr>
        <p:spPr>
          <a:xfrm>
            <a:off x="1396093" y="1773937"/>
            <a:ext cx="9399815" cy="125124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12" name="文本占位符 11"/>
          <p:cNvSpPr>
            <a:spLocks noGrp="1"/>
          </p:cNvSpPr>
          <p:nvPr userDrawn="1">
            <p:ph type="body" sz="quarter" idx="10" hasCustomPrompt="1"/>
          </p:nvPr>
        </p:nvSpPr>
        <p:spPr>
          <a:xfrm>
            <a:off x="669925" y="5805991"/>
            <a:ext cx="4874532" cy="296271"/>
          </a:xfrm>
        </p:spPr>
        <p:txBody>
          <a:bodyPr vert="horz" anchor="ctr">
            <a:noAutofit/>
          </a:bodyPr>
          <a:lstStyle>
            <a:lvl1pPr marL="0" indent="0" algn="l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  <p:sp>
        <p:nvSpPr>
          <p:cNvPr id="13" name="文本占位符 12"/>
          <p:cNvSpPr>
            <a:spLocks noGrp="1"/>
          </p:cNvSpPr>
          <p:nvPr userDrawn="1">
            <p:ph type="body" sz="quarter" idx="11" hasCustomPrompt="1"/>
          </p:nvPr>
        </p:nvSpPr>
        <p:spPr>
          <a:xfrm>
            <a:off x="5544457" y="5805991"/>
            <a:ext cx="5971268" cy="296271"/>
          </a:xfrm>
        </p:spPr>
        <p:txBody>
          <a:bodyPr vert="horz" anchor="ctr">
            <a:noAutofit/>
          </a:bodyPr>
          <a:lstStyle>
            <a:lvl1pPr marL="0" indent="0" algn="r">
              <a:buNone/>
              <a:defRPr sz="1400" b="0">
                <a:solidFill>
                  <a:schemeClr val="bg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Date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28825868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组合 2">
            <a:extLst>
              <a:ext uri="{FF2B5EF4-FFF2-40B4-BE49-F238E27FC236}">
                <a16:creationId xmlns:a16="http://schemas.microsoft.com/office/drawing/2014/main" id="{018C1882-4A31-4DAE-AEC5-60EC34510F5F}"/>
              </a:ext>
            </a:extLst>
          </p:cNvPr>
          <p:cNvGrpSpPr/>
          <p:nvPr userDrawn="1"/>
        </p:nvGrpSpPr>
        <p:grpSpPr>
          <a:xfrm>
            <a:off x="1685547" y="1698806"/>
            <a:ext cx="8917136" cy="3400478"/>
            <a:chOff x="1774525" y="1721213"/>
            <a:chExt cx="8917136" cy="3881631"/>
          </a:xfrm>
        </p:grpSpPr>
        <p:sp>
          <p:nvSpPr>
            <p:cNvPr id="4" name="矩形: 剪去对角 3">
              <a:extLst>
                <a:ext uri="{FF2B5EF4-FFF2-40B4-BE49-F238E27FC236}">
                  <a16:creationId xmlns:a16="http://schemas.microsoft.com/office/drawing/2014/main" id="{0EC9A0B5-7F65-441B-9C1B-15639E747C03}"/>
                </a:ext>
              </a:extLst>
            </p:cNvPr>
            <p:cNvSpPr/>
            <p:nvPr userDrawn="1"/>
          </p:nvSpPr>
          <p:spPr>
            <a:xfrm>
              <a:off x="1909656" y="1721214"/>
              <a:ext cx="8685774" cy="3705859"/>
            </a:xfrm>
            <a:prstGeom prst="snip2Diag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zh-CN" altLang="en-US"/>
            </a:p>
          </p:txBody>
        </p:sp>
        <p:grpSp>
          <p:nvGrpSpPr>
            <p:cNvPr id="2" name="组合 1">
              <a:extLst>
                <a:ext uri="{FF2B5EF4-FFF2-40B4-BE49-F238E27FC236}">
                  <a16:creationId xmlns:a16="http://schemas.microsoft.com/office/drawing/2014/main" id="{B273EE15-26D3-4816-9332-0DAFDDFB690A}"/>
                </a:ext>
              </a:extLst>
            </p:cNvPr>
            <p:cNvGrpSpPr/>
            <p:nvPr userDrawn="1"/>
          </p:nvGrpSpPr>
          <p:grpSpPr>
            <a:xfrm>
              <a:off x="1774525" y="1721213"/>
              <a:ext cx="8917136" cy="3881631"/>
              <a:chOff x="505325" y="1721213"/>
              <a:chExt cx="10068343" cy="3881631"/>
            </a:xfrm>
          </p:grpSpPr>
          <p:sp>
            <p:nvSpPr>
              <p:cNvPr id="6" name="任意多边形: 形状 5">
                <a:extLst>
                  <a:ext uri="{FF2B5EF4-FFF2-40B4-BE49-F238E27FC236}">
                    <a16:creationId xmlns:a16="http://schemas.microsoft.com/office/drawing/2014/main" id="{DE4D5FCD-C64C-4246-AF4F-6491CFBEB8F9}"/>
                  </a:ext>
                </a:extLst>
              </p:cNvPr>
              <p:cNvSpPr/>
              <p:nvPr userDrawn="1"/>
            </p:nvSpPr>
            <p:spPr>
              <a:xfrm rot="5400000" flipV="1">
                <a:off x="10116449" y="1716272"/>
                <a:ext cx="452277" cy="462160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>
                  <a:sym typeface="+mn-ea"/>
                </a:endParaRPr>
              </a:p>
            </p:txBody>
          </p:sp>
          <p:sp>
            <p:nvSpPr>
              <p:cNvPr id="7" name="任意多边形: 形状 6">
                <a:extLst>
                  <a:ext uri="{FF2B5EF4-FFF2-40B4-BE49-F238E27FC236}">
                    <a16:creationId xmlns:a16="http://schemas.microsoft.com/office/drawing/2014/main" id="{D8B50FDE-A9FB-42DD-95AD-7533F8633AFF}"/>
                  </a:ext>
                </a:extLst>
              </p:cNvPr>
              <p:cNvSpPr/>
              <p:nvPr userDrawn="1"/>
            </p:nvSpPr>
            <p:spPr>
              <a:xfrm rot="16200000" flipV="1">
                <a:off x="525633" y="5230994"/>
                <a:ext cx="351542" cy="392158"/>
              </a:xfrm>
              <a:custGeom>
                <a:avLst/>
                <a:gdLst>
                  <a:gd name="connsiteX0" fmla="*/ 0 w 1043"/>
                  <a:gd name="connsiteY0" fmla="*/ 1137 h 1137"/>
                  <a:gd name="connsiteX1" fmla="*/ 0 w 1043"/>
                  <a:gd name="connsiteY1" fmla="*/ 0 h 1137"/>
                  <a:gd name="connsiteX2" fmla="*/ 1043 w 1043"/>
                  <a:gd name="connsiteY2" fmla="*/ 1068 h 1137"/>
                  <a:gd name="connsiteX3" fmla="*/ 0 w 1043"/>
                  <a:gd name="connsiteY3" fmla="*/ 1137 h 11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043" h="1137">
                    <a:moveTo>
                      <a:pt x="0" y="1137"/>
                    </a:moveTo>
                    <a:lnTo>
                      <a:pt x="0" y="0"/>
                    </a:lnTo>
                    <a:lnTo>
                      <a:pt x="1043" y="1068"/>
                    </a:lnTo>
                    <a:lnTo>
                      <a:pt x="0" y="1137"/>
                    </a:lnTo>
                    <a:close/>
                  </a:path>
                </a:pathLst>
              </a:custGeom>
              <a:solidFill>
                <a:schemeClr val="bg1"/>
              </a:solidFill>
              <a:ln w="3810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algn="ctr"/>
                <a:endParaRPr lang="zh-CN" altLang="en-US" dirty="0">
                  <a:sym typeface="+mn-ea"/>
                </a:endParaRPr>
              </a:p>
            </p:txBody>
          </p:sp>
        </p:grpSp>
      </p:grpSp>
      <p:sp>
        <p:nvSpPr>
          <p:cNvPr id="20" name="标题 19"/>
          <p:cNvSpPr>
            <a:spLocks noGrp="1"/>
          </p:cNvSpPr>
          <p:nvPr userDrawn="1">
            <p:ph type="title"/>
          </p:nvPr>
        </p:nvSpPr>
        <p:spPr>
          <a:xfrm>
            <a:off x="4555190" y="2569450"/>
            <a:ext cx="5534306" cy="895350"/>
          </a:xfrm>
        </p:spPr>
        <p:txBody>
          <a:bodyPr anchor="b">
            <a:normAutofit/>
          </a:bodyPr>
          <a:lstStyle>
            <a:lvl1pPr algn="l">
              <a:defRPr sz="24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zh-CN" altLang="en-US" dirty="0"/>
          </a:p>
        </p:txBody>
      </p:sp>
      <p:sp>
        <p:nvSpPr>
          <p:cNvPr id="21" name="文本占位符 20"/>
          <p:cNvSpPr>
            <a:spLocks noGrp="1"/>
          </p:cNvSpPr>
          <p:nvPr userDrawn="1">
            <p:ph type="body" idx="1"/>
          </p:nvPr>
        </p:nvSpPr>
        <p:spPr>
          <a:xfrm>
            <a:off x="4555190" y="3464800"/>
            <a:ext cx="5534306" cy="1015623"/>
          </a:xfrm>
        </p:spPr>
        <p:txBody>
          <a:bodyPr anchor="t">
            <a:normAutofit/>
          </a:bodyPr>
          <a:lstStyle>
            <a:lvl1pPr marL="0" indent="0" algn="l">
              <a:lnSpc>
                <a:spcPct val="150000"/>
              </a:lnSpc>
              <a:spcBef>
                <a:spcPts val="0"/>
              </a:spcBef>
              <a:buNone/>
              <a:defRPr sz="1100">
                <a:solidFill>
                  <a:schemeClr val="bg1"/>
                </a:solidFill>
              </a:defRPr>
            </a:lvl1pPr>
            <a:lvl2pPr marL="457178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54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3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06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2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41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33342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日期占位符 2">
            <a:extLst>
              <a:ext uri="{FF2B5EF4-FFF2-40B4-BE49-F238E27FC236}">
                <a16:creationId xmlns:a16="http://schemas.microsoft.com/office/drawing/2014/main" id="{9888B6D7-9D3F-49D7-BACE-73A9D1149A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7AC997A4-1DD8-4731-B9FD-42398A20FF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DBA9825E-1876-42AD-ABCF-E0E100F351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  <p:sp>
        <p:nvSpPr>
          <p:cNvPr id="6" name="标题 5">
            <a:extLst>
              <a:ext uri="{FF2B5EF4-FFF2-40B4-BE49-F238E27FC236}">
                <a16:creationId xmlns:a16="http://schemas.microsoft.com/office/drawing/2014/main" id="{D124F9DB-C87A-423F-9657-38C7A290143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8" name="内容占位符 7">
            <a:extLst>
              <a:ext uri="{FF2B5EF4-FFF2-40B4-BE49-F238E27FC236}">
                <a16:creationId xmlns:a16="http://schemas.microsoft.com/office/drawing/2014/main" id="{2070191C-4093-409C-8FD5-7369A79637A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69925" y="1130299"/>
            <a:ext cx="10850563" cy="50069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altLang="zh-CN" dirty="0"/>
              <a:t>Edit Master text styles</a:t>
            </a:r>
          </a:p>
          <a:p>
            <a:pPr lvl="1"/>
            <a:r>
              <a:rPr lang="en-US" altLang="zh-CN" dirty="0"/>
              <a:t>Second level</a:t>
            </a:r>
          </a:p>
          <a:p>
            <a:pPr lvl="2"/>
            <a:r>
              <a:rPr lang="en-US" altLang="zh-CN" dirty="0"/>
              <a:t>Third level</a:t>
            </a:r>
          </a:p>
          <a:p>
            <a:pPr lvl="3"/>
            <a:r>
              <a:rPr lang="en-US" altLang="zh-CN" dirty="0"/>
              <a:t>Fourth level</a:t>
            </a:r>
          </a:p>
          <a:p>
            <a:pPr lvl="4"/>
            <a:r>
              <a:rPr lang="en-US" altLang="zh-CN" dirty="0"/>
              <a:t>Fifth level</a:t>
            </a:r>
            <a:endParaRPr lang="zh-CN" altLang="en-US" dirty="0"/>
          </a:p>
        </p:txBody>
      </p:sp>
    </p:spTree>
    <p:extLst>
      <p:ext uri="{BB962C8B-B14F-4D97-AF65-F5344CB8AC3E}">
        <p14:creationId xmlns:p14="http://schemas.microsoft.com/office/powerpoint/2010/main" val="36775934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21C7A1C-3684-4AAF-A408-C63B6CB641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altLang="zh-CN" dirty="0"/>
              <a:t>Click to edit Master title style</a:t>
            </a:r>
            <a:endParaRPr lang="en-US" dirty="0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8986EA5F-D77D-4318-90E9-C04AA8ADC0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00832621-D9D9-445E-BFF9-F8348FA1E2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8371151B-F790-4A9F-962F-B8718A9560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841762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7286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末尾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>
            <a:extLst>
              <a:ext uri="{FF2B5EF4-FFF2-40B4-BE49-F238E27FC236}">
                <a16:creationId xmlns:a16="http://schemas.microsoft.com/office/drawing/2014/main" id="{BAA5832B-6C7D-41F3-BF15-578C8F3BB588}"/>
              </a:ext>
            </a:extLst>
          </p:cNvPr>
          <p:cNvGrpSpPr/>
          <p:nvPr userDrawn="1"/>
        </p:nvGrpSpPr>
        <p:grpSpPr>
          <a:xfrm>
            <a:off x="0" y="0"/>
            <a:ext cx="12192000" cy="6880225"/>
            <a:chOff x="1518213" y="661316"/>
            <a:chExt cx="12192000" cy="6880225"/>
          </a:xfrm>
        </p:grpSpPr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BFA49242-3BB7-467F-9F5D-30022BBF877F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prstGeom prst="rect">
              <a:avLst/>
            </a:prstGeom>
            <a:gradFill flip="none" rotWithShape="1">
              <a:gsLst>
                <a:gs pos="0">
                  <a:srgbClr val="24248B">
                    <a:alpha val="100000"/>
                  </a:srgbClr>
                </a:gs>
                <a:gs pos="100000">
                  <a:srgbClr val="0B00A6">
                    <a:alpha val="90000"/>
                  </a:srgbClr>
                </a:gs>
              </a:gsLst>
              <a:path path="circle">
                <a:fillToRect l="100000" b="100000"/>
              </a:path>
              <a:tileRect t="-100000" r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/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5C415F-C759-418A-9B06-89AF1D01F411}"/>
                </a:ext>
              </a:extLst>
            </p:cNvPr>
            <p:cNvSpPr/>
            <p:nvPr userDrawn="1"/>
          </p:nvSpPr>
          <p:spPr>
            <a:xfrm>
              <a:off x="1518213" y="661316"/>
              <a:ext cx="12192000" cy="6880225"/>
            </a:xfrm>
            <a:custGeom>
              <a:avLst/>
              <a:gdLst>
                <a:gd name="connsiteX0" fmla="*/ 6103145 w 12192000"/>
                <a:gd name="connsiteY0" fmla="*/ 3432493 h 6880225"/>
                <a:gd name="connsiteX1" fmla="*/ 0 w 12192000"/>
                <a:gd name="connsiteY1" fmla="*/ 4561448 h 6880225"/>
                <a:gd name="connsiteX2" fmla="*/ 0 w 12192000"/>
                <a:gd name="connsiteY2" fmla="*/ 4020931 h 6880225"/>
                <a:gd name="connsiteX3" fmla="*/ 6103145 w 12192000"/>
                <a:gd name="connsiteY3" fmla="*/ 3432493 h 6880225"/>
                <a:gd name="connsiteX4" fmla="*/ 0 w 12192000"/>
                <a:gd name="connsiteY4" fmla="*/ 6757447 h 6880225"/>
                <a:gd name="connsiteX5" fmla="*/ 0 w 12192000"/>
                <a:gd name="connsiteY5" fmla="*/ 6101209 h 6880225"/>
                <a:gd name="connsiteX6" fmla="*/ 6103145 w 12192000"/>
                <a:gd name="connsiteY6" fmla="*/ 3432493 h 6880225"/>
                <a:gd name="connsiteX7" fmla="*/ 2853198 w 12192000"/>
                <a:gd name="connsiteY7" fmla="*/ 6880225 h 6880225"/>
                <a:gd name="connsiteX8" fmla="*/ 2235128 w 12192000"/>
                <a:gd name="connsiteY8" fmla="*/ 6880225 h 6880225"/>
                <a:gd name="connsiteX9" fmla="*/ 6103145 w 12192000"/>
                <a:gd name="connsiteY9" fmla="*/ 3432493 h 6880225"/>
                <a:gd name="connsiteX10" fmla="*/ 4482320 w 12192000"/>
                <a:gd name="connsiteY10" fmla="*/ 6880225 h 6880225"/>
                <a:gd name="connsiteX11" fmla="*/ 4100306 w 12192000"/>
                <a:gd name="connsiteY11" fmla="*/ 6880225 h 6880225"/>
                <a:gd name="connsiteX12" fmla="*/ 6103145 w 12192000"/>
                <a:gd name="connsiteY12" fmla="*/ 3432493 h 6880225"/>
                <a:gd name="connsiteX13" fmla="*/ 5678028 w 12192000"/>
                <a:gd name="connsiteY13" fmla="*/ 6880225 h 6880225"/>
                <a:gd name="connsiteX14" fmla="*/ 5368958 w 12192000"/>
                <a:gd name="connsiteY14" fmla="*/ 6880225 h 6880225"/>
                <a:gd name="connsiteX15" fmla="*/ 6103145 w 12192000"/>
                <a:gd name="connsiteY15" fmla="*/ 3432493 h 6880225"/>
                <a:gd name="connsiteX16" fmla="*/ 6780177 w 12192000"/>
                <a:gd name="connsiteY16" fmla="*/ 6880225 h 6880225"/>
                <a:gd name="connsiteX17" fmla="*/ 6474029 w 12192000"/>
                <a:gd name="connsiteY17" fmla="*/ 6880225 h 6880225"/>
                <a:gd name="connsiteX18" fmla="*/ 6103145 w 12192000"/>
                <a:gd name="connsiteY18" fmla="*/ 3432493 h 6880225"/>
                <a:gd name="connsiteX19" fmla="*/ 8033477 w 12192000"/>
                <a:gd name="connsiteY19" fmla="*/ 6880225 h 6880225"/>
                <a:gd name="connsiteX20" fmla="*/ 7657317 w 12192000"/>
                <a:gd name="connsiteY20" fmla="*/ 6880225 h 6880225"/>
                <a:gd name="connsiteX21" fmla="*/ 6103145 w 12192000"/>
                <a:gd name="connsiteY21" fmla="*/ 3432493 h 6880225"/>
                <a:gd name="connsiteX22" fmla="*/ 9848054 w 12192000"/>
                <a:gd name="connsiteY22" fmla="*/ 6880225 h 6880225"/>
                <a:gd name="connsiteX23" fmla="*/ 9252221 w 12192000"/>
                <a:gd name="connsiteY23" fmla="*/ 6880225 h 6880225"/>
                <a:gd name="connsiteX24" fmla="*/ 6103145 w 12192000"/>
                <a:gd name="connsiteY24" fmla="*/ 3432493 h 6880225"/>
                <a:gd name="connsiteX25" fmla="*/ 12192000 w 12192000"/>
                <a:gd name="connsiteY25" fmla="*/ 6211392 h 6880225"/>
                <a:gd name="connsiteX26" fmla="*/ 12192000 w 12192000"/>
                <a:gd name="connsiteY26" fmla="*/ 6876631 h 6880225"/>
                <a:gd name="connsiteX27" fmla="*/ 6103145 w 12192000"/>
                <a:gd name="connsiteY27" fmla="*/ 3432493 h 6880225"/>
                <a:gd name="connsiteX28" fmla="*/ 12192000 w 12192000"/>
                <a:gd name="connsiteY28" fmla="*/ 4118345 h 6880225"/>
                <a:gd name="connsiteX29" fmla="*/ 12192000 w 12192000"/>
                <a:gd name="connsiteY29" fmla="*/ 4658400 h 6880225"/>
                <a:gd name="connsiteX30" fmla="*/ 12192000 w 12192000"/>
                <a:gd name="connsiteY30" fmla="*/ 2173903 h 6880225"/>
                <a:gd name="connsiteX31" fmla="*/ 12192000 w 12192000"/>
                <a:gd name="connsiteY31" fmla="*/ 2716891 h 6880225"/>
                <a:gd name="connsiteX32" fmla="*/ 6103145 w 12192000"/>
                <a:gd name="connsiteY32" fmla="*/ 3432493 h 6880225"/>
                <a:gd name="connsiteX33" fmla="*/ 0 w 12192000"/>
                <a:gd name="connsiteY33" fmla="*/ 2071218 h 6880225"/>
                <a:gd name="connsiteX34" fmla="*/ 6103145 w 12192000"/>
                <a:gd name="connsiteY34" fmla="*/ 3432493 h 6880225"/>
                <a:gd name="connsiteX35" fmla="*/ 0 w 12192000"/>
                <a:gd name="connsiteY35" fmla="*/ 2616963 h 6880225"/>
                <a:gd name="connsiteX36" fmla="*/ 0 w 12192000"/>
                <a:gd name="connsiteY36" fmla="*/ 148474 h 6880225"/>
                <a:gd name="connsiteX37" fmla="*/ 6103145 w 12192000"/>
                <a:gd name="connsiteY37" fmla="*/ 3432493 h 6880225"/>
                <a:gd name="connsiteX38" fmla="*/ 0 w 12192000"/>
                <a:gd name="connsiteY38" fmla="*/ 799973 h 6880225"/>
                <a:gd name="connsiteX39" fmla="*/ 12104097 w 12192000"/>
                <a:gd name="connsiteY39" fmla="*/ 0 h 6880225"/>
                <a:gd name="connsiteX40" fmla="*/ 12160929 w 12192000"/>
                <a:gd name="connsiteY40" fmla="*/ 0 h 6880225"/>
                <a:gd name="connsiteX41" fmla="*/ 12192000 w 12192000"/>
                <a:gd name="connsiteY41" fmla="*/ 46316 h 6880225"/>
                <a:gd name="connsiteX42" fmla="*/ 12192000 w 12192000"/>
                <a:gd name="connsiteY42" fmla="*/ 618291 h 6880225"/>
                <a:gd name="connsiteX43" fmla="*/ 6103145 w 12192000"/>
                <a:gd name="connsiteY43" fmla="*/ 3432493 h 6880225"/>
                <a:gd name="connsiteX44" fmla="*/ 9206322 w 12192000"/>
                <a:gd name="connsiteY44" fmla="*/ 0 h 6880225"/>
                <a:gd name="connsiteX45" fmla="*/ 9794157 w 12192000"/>
                <a:gd name="connsiteY45" fmla="*/ 0 h 6880225"/>
                <a:gd name="connsiteX46" fmla="*/ 6103145 w 12192000"/>
                <a:gd name="connsiteY46" fmla="*/ 3432493 h 6880225"/>
                <a:gd name="connsiteX47" fmla="*/ 7630317 w 12192000"/>
                <a:gd name="connsiteY47" fmla="*/ 0 h 6880225"/>
                <a:gd name="connsiteX48" fmla="*/ 8002009 w 12192000"/>
                <a:gd name="connsiteY48" fmla="*/ 0 h 6880225"/>
                <a:gd name="connsiteX49" fmla="*/ 6103145 w 12192000"/>
                <a:gd name="connsiteY49" fmla="*/ 3432493 h 6880225"/>
                <a:gd name="connsiteX50" fmla="*/ 6455216 w 12192000"/>
                <a:gd name="connsiteY50" fmla="*/ 0 h 6880225"/>
                <a:gd name="connsiteX51" fmla="*/ 6759624 w 12192000"/>
                <a:gd name="connsiteY51" fmla="*/ 0 h 6880225"/>
                <a:gd name="connsiteX52" fmla="*/ 6103145 w 12192000"/>
                <a:gd name="connsiteY52" fmla="*/ 3432493 h 6880225"/>
                <a:gd name="connsiteX53" fmla="*/ 5355068 w 12192000"/>
                <a:gd name="connsiteY53" fmla="*/ 0 h 6880225"/>
                <a:gd name="connsiteX54" fmla="*/ 5661858 w 12192000"/>
                <a:gd name="connsiteY54" fmla="*/ 0 h 6880225"/>
                <a:gd name="connsiteX55" fmla="*/ 6103145 w 12192000"/>
                <a:gd name="connsiteY55" fmla="*/ 3432493 h 6880225"/>
                <a:gd name="connsiteX56" fmla="*/ 4086169 w 12192000"/>
                <a:gd name="connsiteY56" fmla="*/ 0 h 6880225"/>
                <a:gd name="connsiteX57" fmla="*/ 4468543 w 12192000"/>
                <a:gd name="connsiteY57" fmla="*/ 0 h 6880225"/>
                <a:gd name="connsiteX58" fmla="*/ 6103145 w 12192000"/>
                <a:gd name="connsiteY58" fmla="*/ 3432493 h 6880225"/>
                <a:gd name="connsiteX59" fmla="*/ 2216456 w 12192000"/>
                <a:gd name="connsiteY59" fmla="*/ 0 h 6880225"/>
                <a:gd name="connsiteX60" fmla="*/ 2834512 w 12192000"/>
                <a:gd name="connsiteY60" fmla="*/ 0 h 6880225"/>
                <a:gd name="connsiteX61" fmla="*/ 6103145 w 12192000"/>
                <a:gd name="connsiteY61" fmla="*/ 3432493 h 68802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</a:cxnLst>
              <a:rect l="l" t="t" r="r" b="b"/>
              <a:pathLst>
                <a:path w="12192000" h="6880225">
                  <a:moveTo>
                    <a:pt x="6103145" y="3432493"/>
                  </a:moveTo>
                  <a:lnTo>
                    <a:pt x="0" y="4561448"/>
                  </a:lnTo>
                  <a:lnTo>
                    <a:pt x="0" y="4020931"/>
                  </a:lnTo>
                  <a:close/>
                  <a:moveTo>
                    <a:pt x="6103145" y="3432493"/>
                  </a:moveTo>
                  <a:lnTo>
                    <a:pt x="0" y="6757447"/>
                  </a:lnTo>
                  <a:lnTo>
                    <a:pt x="0" y="6101209"/>
                  </a:lnTo>
                  <a:close/>
                  <a:moveTo>
                    <a:pt x="6103145" y="3432493"/>
                  </a:moveTo>
                  <a:lnTo>
                    <a:pt x="2853198" y="6880225"/>
                  </a:lnTo>
                  <a:lnTo>
                    <a:pt x="2235128" y="6880225"/>
                  </a:lnTo>
                  <a:close/>
                  <a:moveTo>
                    <a:pt x="6103145" y="3432493"/>
                  </a:moveTo>
                  <a:lnTo>
                    <a:pt x="4482320" y="6880225"/>
                  </a:lnTo>
                  <a:lnTo>
                    <a:pt x="4100306" y="6880225"/>
                  </a:lnTo>
                  <a:close/>
                  <a:moveTo>
                    <a:pt x="6103145" y="3432493"/>
                  </a:moveTo>
                  <a:lnTo>
                    <a:pt x="5678028" y="6880225"/>
                  </a:lnTo>
                  <a:lnTo>
                    <a:pt x="5368958" y="6880225"/>
                  </a:lnTo>
                  <a:close/>
                  <a:moveTo>
                    <a:pt x="6103145" y="3432493"/>
                  </a:moveTo>
                  <a:lnTo>
                    <a:pt x="6780177" y="6880225"/>
                  </a:lnTo>
                  <a:lnTo>
                    <a:pt x="6474029" y="6880225"/>
                  </a:lnTo>
                  <a:close/>
                  <a:moveTo>
                    <a:pt x="6103145" y="3432493"/>
                  </a:moveTo>
                  <a:lnTo>
                    <a:pt x="8033477" y="6880225"/>
                  </a:lnTo>
                  <a:lnTo>
                    <a:pt x="7657317" y="6880225"/>
                  </a:lnTo>
                  <a:close/>
                  <a:moveTo>
                    <a:pt x="6103145" y="3432493"/>
                  </a:moveTo>
                  <a:lnTo>
                    <a:pt x="9848054" y="6880225"/>
                  </a:lnTo>
                  <a:lnTo>
                    <a:pt x="9252221" y="6880225"/>
                  </a:lnTo>
                  <a:close/>
                  <a:moveTo>
                    <a:pt x="6103145" y="3432493"/>
                  </a:moveTo>
                  <a:lnTo>
                    <a:pt x="12192000" y="6211392"/>
                  </a:lnTo>
                  <a:lnTo>
                    <a:pt x="12192000" y="6876631"/>
                  </a:lnTo>
                  <a:close/>
                  <a:moveTo>
                    <a:pt x="6103145" y="3432493"/>
                  </a:moveTo>
                  <a:lnTo>
                    <a:pt x="12192000" y="4118345"/>
                  </a:lnTo>
                  <a:lnTo>
                    <a:pt x="12192000" y="4658400"/>
                  </a:lnTo>
                  <a:close/>
                  <a:moveTo>
                    <a:pt x="12192000" y="2173903"/>
                  </a:moveTo>
                  <a:lnTo>
                    <a:pt x="12192000" y="2716891"/>
                  </a:lnTo>
                  <a:lnTo>
                    <a:pt x="6103145" y="3432493"/>
                  </a:lnTo>
                  <a:close/>
                  <a:moveTo>
                    <a:pt x="0" y="2071218"/>
                  </a:moveTo>
                  <a:lnTo>
                    <a:pt x="6103145" y="3432493"/>
                  </a:lnTo>
                  <a:lnTo>
                    <a:pt x="0" y="2616963"/>
                  </a:lnTo>
                  <a:close/>
                  <a:moveTo>
                    <a:pt x="0" y="148474"/>
                  </a:moveTo>
                  <a:lnTo>
                    <a:pt x="6103145" y="3432493"/>
                  </a:lnTo>
                  <a:lnTo>
                    <a:pt x="0" y="799973"/>
                  </a:lnTo>
                  <a:close/>
                  <a:moveTo>
                    <a:pt x="12104097" y="0"/>
                  </a:moveTo>
                  <a:lnTo>
                    <a:pt x="12160929" y="0"/>
                  </a:lnTo>
                  <a:lnTo>
                    <a:pt x="12192000" y="46316"/>
                  </a:lnTo>
                  <a:lnTo>
                    <a:pt x="12192000" y="618291"/>
                  </a:lnTo>
                  <a:lnTo>
                    <a:pt x="6103145" y="3432493"/>
                  </a:lnTo>
                  <a:close/>
                  <a:moveTo>
                    <a:pt x="9206322" y="0"/>
                  </a:moveTo>
                  <a:lnTo>
                    <a:pt x="9794157" y="0"/>
                  </a:lnTo>
                  <a:lnTo>
                    <a:pt x="6103145" y="3432493"/>
                  </a:lnTo>
                  <a:close/>
                  <a:moveTo>
                    <a:pt x="7630317" y="0"/>
                  </a:moveTo>
                  <a:lnTo>
                    <a:pt x="8002009" y="0"/>
                  </a:lnTo>
                  <a:lnTo>
                    <a:pt x="6103145" y="3432493"/>
                  </a:lnTo>
                  <a:close/>
                  <a:moveTo>
                    <a:pt x="6455216" y="0"/>
                  </a:moveTo>
                  <a:lnTo>
                    <a:pt x="6759624" y="0"/>
                  </a:lnTo>
                  <a:lnTo>
                    <a:pt x="6103145" y="3432493"/>
                  </a:lnTo>
                  <a:close/>
                  <a:moveTo>
                    <a:pt x="5355068" y="0"/>
                  </a:moveTo>
                  <a:lnTo>
                    <a:pt x="5661858" y="0"/>
                  </a:lnTo>
                  <a:lnTo>
                    <a:pt x="6103145" y="3432493"/>
                  </a:lnTo>
                  <a:close/>
                  <a:moveTo>
                    <a:pt x="4086169" y="0"/>
                  </a:moveTo>
                  <a:lnTo>
                    <a:pt x="4468543" y="0"/>
                  </a:lnTo>
                  <a:lnTo>
                    <a:pt x="6103145" y="3432493"/>
                  </a:lnTo>
                  <a:close/>
                  <a:moveTo>
                    <a:pt x="2216456" y="0"/>
                  </a:moveTo>
                  <a:lnTo>
                    <a:pt x="2834512" y="0"/>
                  </a:lnTo>
                  <a:lnTo>
                    <a:pt x="6103145" y="3432493"/>
                  </a:lnTo>
                  <a:close/>
                </a:path>
              </a:pathLst>
            </a:custGeom>
            <a:solidFill>
              <a:schemeClr val="bg1">
                <a:alpha val="1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</p:grpSp>
      <p:sp>
        <p:nvSpPr>
          <p:cNvPr id="7" name="矩形: 剪去对角 6">
            <a:extLst>
              <a:ext uri="{FF2B5EF4-FFF2-40B4-BE49-F238E27FC236}">
                <a16:creationId xmlns:a16="http://schemas.microsoft.com/office/drawing/2014/main" id="{7A56EFAD-FF3A-4BD1-B872-189E2557C540}"/>
              </a:ext>
            </a:extLst>
          </p:cNvPr>
          <p:cNvSpPr/>
          <p:nvPr userDrawn="1"/>
        </p:nvSpPr>
        <p:spPr>
          <a:xfrm>
            <a:off x="1015365" y="1439545"/>
            <a:ext cx="10659745" cy="3943985"/>
          </a:xfrm>
          <a:prstGeom prst="snip2DiagRect">
            <a:avLst/>
          </a:pr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8" name="矩形: 剪去对角 7">
            <a:extLst>
              <a:ext uri="{FF2B5EF4-FFF2-40B4-BE49-F238E27FC236}">
                <a16:creationId xmlns:a16="http://schemas.microsoft.com/office/drawing/2014/main" id="{46AA9AFD-5023-4A22-9B5B-A915CA687AA0}"/>
              </a:ext>
            </a:extLst>
          </p:cNvPr>
          <p:cNvSpPr/>
          <p:nvPr userDrawn="1"/>
        </p:nvSpPr>
        <p:spPr>
          <a:xfrm>
            <a:off x="765175" y="1189355"/>
            <a:ext cx="10659745" cy="3943985"/>
          </a:xfrm>
          <a:prstGeom prst="snip2DiagRect">
            <a:avLst/>
          </a:pr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9" name="任意多边形: 形状 8">
            <a:extLst>
              <a:ext uri="{FF2B5EF4-FFF2-40B4-BE49-F238E27FC236}">
                <a16:creationId xmlns:a16="http://schemas.microsoft.com/office/drawing/2014/main" id="{41DDCAEA-F88A-48B9-8C39-299F92715DD7}"/>
              </a:ext>
            </a:extLst>
          </p:cNvPr>
          <p:cNvSpPr/>
          <p:nvPr userDrawn="1"/>
        </p:nvSpPr>
        <p:spPr>
          <a:xfrm rot="5400000" flipV="1">
            <a:off x="11163935" y="116681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pattFill prst="lgGrid">
            <a:fgClr>
              <a:schemeClr val="bg1">
                <a:lumMod val="95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0" name="任意多边形: 形状 9">
            <a:extLst>
              <a:ext uri="{FF2B5EF4-FFF2-40B4-BE49-F238E27FC236}">
                <a16:creationId xmlns:a16="http://schemas.microsoft.com/office/drawing/2014/main" id="{C9E346EA-EF02-43F9-89CB-77BD9B1B3ADF}"/>
              </a:ext>
            </a:extLst>
          </p:cNvPr>
          <p:cNvSpPr/>
          <p:nvPr userDrawn="1"/>
        </p:nvSpPr>
        <p:spPr>
          <a:xfrm rot="16200000" flipV="1">
            <a:off x="504190" y="4872673"/>
            <a:ext cx="488315" cy="533400"/>
          </a:xfrm>
          <a:custGeom>
            <a:avLst/>
            <a:gdLst>
              <a:gd name="connsiteX0" fmla="*/ 0 w 1043"/>
              <a:gd name="connsiteY0" fmla="*/ 1137 h 1137"/>
              <a:gd name="connsiteX1" fmla="*/ 0 w 1043"/>
              <a:gd name="connsiteY1" fmla="*/ 0 h 1137"/>
              <a:gd name="connsiteX2" fmla="*/ 1043 w 1043"/>
              <a:gd name="connsiteY2" fmla="*/ 1068 h 1137"/>
              <a:gd name="connsiteX3" fmla="*/ 0 w 1043"/>
              <a:gd name="connsiteY3" fmla="*/ 1137 h 1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43" h="1137">
                <a:moveTo>
                  <a:pt x="0" y="1137"/>
                </a:moveTo>
                <a:lnTo>
                  <a:pt x="0" y="0"/>
                </a:lnTo>
                <a:lnTo>
                  <a:pt x="1043" y="1068"/>
                </a:lnTo>
                <a:lnTo>
                  <a:pt x="0" y="1137"/>
                </a:lnTo>
                <a:close/>
              </a:path>
            </a:pathLst>
          </a:custGeom>
          <a:solidFill>
            <a:srgbClr val="DFEEF8">
              <a:alpha val="77000"/>
            </a:srgbClr>
          </a:solidFill>
          <a:ln w="635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/>
            <a:endParaRPr lang="zh-CN" altLang="en-US">
              <a:sym typeface="+mn-ea"/>
            </a:endParaRPr>
          </a:p>
        </p:txBody>
      </p:sp>
      <p:sp>
        <p:nvSpPr>
          <p:cNvPr id="13" name="标题 12"/>
          <p:cNvSpPr>
            <a:spLocks noGrp="1"/>
          </p:cNvSpPr>
          <p:nvPr userDrawn="1">
            <p:ph type="ctrTitle" hasCustomPrompt="1"/>
          </p:nvPr>
        </p:nvSpPr>
        <p:spPr>
          <a:xfrm>
            <a:off x="1425099" y="1828800"/>
            <a:ext cx="9341802" cy="1765300"/>
          </a:xfrm>
        </p:spPr>
        <p:txBody>
          <a:bodyPr anchor="b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altLang="zh-CN" dirty="0"/>
              <a:t>Conclusion</a:t>
            </a:r>
            <a:endParaRPr lang="zh-CN" altLang="en-US" dirty="0"/>
          </a:p>
        </p:txBody>
      </p:sp>
      <p:sp>
        <p:nvSpPr>
          <p:cNvPr id="15" name="文本占位符 14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425099" y="4533499"/>
            <a:ext cx="9341802" cy="310871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400" smtClean="0">
                <a:solidFill>
                  <a:schemeClr val="tx1"/>
                </a:solidFill>
              </a:defRPr>
            </a:lvl1pPr>
            <a:lvl2pPr>
              <a:defRPr lang="zh-CN" altLang="en-US" sz="2000" smtClean="0"/>
            </a:lvl2pPr>
            <a:lvl3pPr>
              <a:defRPr lang="zh-CN" altLang="en-US" sz="1800" smtClean="0"/>
            </a:lvl3pPr>
            <a:lvl4pPr>
              <a:defRPr lang="zh-CN" altLang="en-US" sz="1600" smtClean="0"/>
            </a:lvl4pPr>
            <a:lvl5pPr>
              <a:defRPr lang="zh-CN" altLang="en-US" sz="1600"/>
            </a:lvl5pPr>
          </a:lstStyle>
          <a:p>
            <a:pPr marL="228589" marR="0" lvl="0" indent="-228589" fontAlgn="auto">
              <a:spcAft>
                <a:spcPts val="0"/>
              </a:spcAft>
              <a:buClrTx/>
              <a:buSzTx/>
              <a:tabLst/>
            </a:pPr>
            <a:r>
              <a:rPr lang="en-US" altLang="zh-CN" dirty="0"/>
              <a:t>Data</a:t>
            </a:r>
          </a:p>
        </p:txBody>
      </p:sp>
      <p:sp>
        <p:nvSpPr>
          <p:cNvPr id="6" name="文本占位符 5">
            <a:extLst>
              <a:ext uri="{FF2B5EF4-FFF2-40B4-BE49-F238E27FC236}">
                <a16:creationId xmlns:a16="http://schemas.microsoft.com/office/drawing/2014/main" id="{05EBDA4F-7210-4CAE-8333-80DB24212E7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5099" y="4237228"/>
            <a:ext cx="9341802" cy="296271"/>
          </a:xfrm>
        </p:spPr>
        <p:txBody>
          <a:bodyPr vert="horz" anchor="ctr">
            <a:noAutofit/>
          </a:bodyPr>
          <a:lstStyle>
            <a:lvl1pPr marL="0" indent="0" algn="ctr">
              <a:buNone/>
              <a:defRPr sz="1400" b="0">
                <a:solidFill>
                  <a:schemeClr val="tx1"/>
                </a:solidFill>
              </a:defRPr>
            </a:lvl1pPr>
            <a:lvl2pPr marL="457177" indent="0">
              <a:buNone/>
              <a:defRPr/>
            </a:lvl2pPr>
            <a:lvl3pPr marL="914353" indent="0">
              <a:buNone/>
              <a:defRPr/>
            </a:lvl3pPr>
            <a:lvl4pPr marL="1371531" indent="0">
              <a:buNone/>
              <a:defRPr/>
            </a:lvl4pPr>
            <a:lvl5pPr marL="1828709" indent="0">
              <a:buNone/>
              <a:defRPr/>
            </a:lvl5pPr>
          </a:lstStyle>
          <a:p>
            <a:pPr lvl="0"/>
            <a:r>
              <a:rPr lang="en-US" altLang="zh-CN" dirty="0"/>
              <a:t>Signature</a:t>
            </a:r>
          </a:p>
        </p:txBody>
      </p:sp>
    </p:spTree>
    <p:extLst>
      <p:ext uri="{BB962C8B-B14F-4D97-AF65-F5344CB8AC3E}">
        <p14:creationId xmlns:p14="http://schemas.microsoft.com/office/powerpoint/2010/main" val="2378658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669924" y="1"/>
            <a:ext cx="10850563" cy="102869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altLang="zh-CN" dirty="0"/>
              <a:t>Click to edit Master title style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669924" y="1123950"/>
            <a:ext cx="10850563" cy="50196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zh-CN" altLang="en-US" dirty="0"/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669924" y="1028700"/>
            <a:ext cx="10850563" cy="0"/>
          </a:xfrm>
          <a:prstGeom prst="line">
            <a:avLst/>
          </a:prstGeom>
          <a:ln w="317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日期占位符 7">
            <a:extLst>
              <a:ext uri="{FF2B5EF4-FFF2-40B4-BE49-F238E27FC236}">
                <a16:creationId xmlns:a16="http://schemas.microsoft.com/office/drawing/2014/main" id="{04388434-9949-479C-A9C3-67A953F6A93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5401732" y="6240463"/>
            <a:ext cx="1388536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9" name="页脚占位符 8">
            <a:extLst>
              <a:ext uri="{FF2B5EF4-FFF2-40B4-BE49-F238E27FC236}">
                <a16:creationId xmlns:a16="http://schemas.microsoft.com/office/drawing/2014/main" id="{50A5656E-7A33-4865-A262-1F96263BAA1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69924" y="6240463"/>
            <a:ext cx="4140201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zh-CN" altLang="en-US"/>
              <a:t>请在插入菜单</a:t>
            </a:r>
            <a:r>
              <a:rPr lang="en-US" altLang="zh-CN"/>
              <a:t>—</a:t>
            </a:r>
            <a:r>
              <a:rPr lang="zh-CN" altLang="en-US"/>
              <a:t>页眉和页脚中修改此文本</a:t>
            </a:r>
            <a:endParaRPr lang="zh-CN" altLang="en-US" dirty="0"/>
          </a:p>
        </p:txBody>
      </p:sp>
      <p:sp>
        <p:nvSpPr>
          <p:cNvPr id="10" name="灯片编号占位符 9">
            <a:extLst>
              <a:ext uri="{FF2B5EF4-FFF2-40B4-BE49-F238E27FC236}">
                <a16:creationId xmlns:a16="http://schemas.microsoft.com/office/drawing/2014/main" id="{5BF52F79-380E-4278-8B67-588AFE5840F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240463"/>
            <a:ext cx="2909888" cy="20638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5DD3DB80-B894-403A-B48E-6FDC1A72010E}" type="slidenum">
              <a:rPr lang="zh-CN" altLang="en-US" smtClean="0"/>
              <a:pPr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840277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69" r:id="rId3"/>
    <p:sldLayoutId id="2147483662" r:id="rId4"/>
    <p:sldLayoutId id="2147483655" r:id="rId5"/>
    <p:sldLayoutId id="2147483661" r:id="rId6"/>
  </p:sldLayoutIdLst>
  <p:hf hdr="0" dt="0"/>
  <p:txStyles>
    <p:titleStyle>
      <a:lvl1pPr algn="l" defTabSz="914354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89" indent="-228589" algn="l" defTabSz="914354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6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4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20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298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74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52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29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06" indent="-228589" algn="l" defTabSz="914354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7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54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3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09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86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62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40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18" algn="l" defTabSz="91435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 userDrawn="1">
          <p15:clr>
            <a:srgbClr val="F26B43"/>
          </p15:clr>
        </p15:guide>
        <p15:guide id="2" pos="7257" userDrawn="1">
          <p15:clr>
            <a:srgbClr val="F26B43"/>
          </p15:clr>
        </p15:guide>
        <p15:guide id="3" orient="horz" pos="648" userDrawn="1">
          <p15:clr>
            <a:srgbClr val="F26B43"/>
          </p15:clr>
        </p15:guide>
        <p15:guide id="4" orient="horz" pos="712" userDrawn="1">
          <p15:clr>
            <a:srgbClr val="F26B43"/>
          </p15:clr>
        </p15:guide>
        <p15:guide id="5" orient="horz" pos="3931" userDrawn="1">
          <p15:clr>
            <a:srgbClr val="F26B43"/>
          </p15:clr>
        </p15:guide>
        <p15:guide id="6" orient="horz" pos="386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C326D0B-7DAB-41B6-8030-2E4A18CC949B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40861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3C326D0B-7DAB-41B6-8030-2E4A18CC9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EC933494-1B63-4A32-964F-D05236799BAA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4000" b="1" dirty="0">
              <a:cs typeface="+mn-ea"/>
              <a:sym typeface="+mn-lt"/>
            </a:endParaRPr>
          </a:p>
        </p:txBody>
      </p:sp>
      <p:sp>
        <p:nvSpPr>
          <p:cNvPr id="5" name="副标题 4"/>
          <p:cNvSpPr>
            <a:spLocks noGrp="1"/>
          </p:cNvSpPr>
          <p:nvPr>
            <p:ph type="subTitle" idx="1"/>
          </p:nvPr>
        </p:nvSpPr>
        <p:spPr>
          <a:xfrm>
            <a:off x="4776561" y="4201890"/>
            <a:ext cx="2638878" cy="428167"/>
          </a:xfrm>
          <a:prstGeom prst="roundRect">
            <a:avLst>
              <a:gd name="adj" fmla="val 26836"/>
            </a:avLst>
          </a:prstGeom>
          <a:gradFill>
            <a:gsLst>
              <a:gs pos="0">
                <a:srgbClr val="FFD85D"/>
              </a:gs>
              <a:gs pos="61000">
                <a:srgbClr val="FFBB00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lnSpcReduction="10000"/>
          </a:bodyPr>
          <a:lstStyle/>
          <a:p>
            <a:pPr defTabSz="914400"/>
            <a:r>
              <a:rPr lang="en-US" altLang="zh-CN" sz="2000" cap="all" dirty="0">
                <a:solidFill>
                  <a:schemeClr val="bg1"/>
                </a:solidFill>
                <a:cs typeface="+mn-ea"/>
                <a:sym typeface="+mn-lt"/>
              </a:rPr>
              <a:t>Subtitle here</a:t>
            </a:r>
          </a:p>
        </p:txBody>
      </p:sp>
      <p:sp>
        <p:nvSpPr>
          <p:cNvPr id="4" name="标题 3"/>
          <p:cNvSpPr>
            <a:spLocks noGrp="1"/>
          </p:cNvSpPr>
          <p:nvPr>
            <p:ph type="ctrTitle"/>
          </p:nvPr>
        </p:nvSpPr>
        <p:spPr>
          <a:xfrm>
            <a:off x="1396093" y="1773936"/>
            <a:ext cx="9399815" cy="2232007"/>
          </a:xfrm>
        </p:spPr>
        <p:txBody>
          <a:bodyPr>
            <a:normAutofit fontScale="90000"/>
          </a:bodyPr>
          <a:lstStyle/>
          <a:p>
            <a:r>
              <a:rPr lang="en-US" altLang="zh-CN" dirty="0" err="1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OfficePLUS</a:t>
            </a:r>
            <a:r>
              <a:rPr lang="en-US" altLang="zh-CN" baseline="30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 </a:t>
            </a:r>
            <a:b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POWERPOINT </a:t>
            </a:r>
            <a:br>
              <a:rPr lang="en-US" altLang="zh-CN" sz="88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b="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STANDARD TEMPLATE</a:t>
            </a: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altLang="zh-CN" dirty="0">
                <a:cs typeface="+mn-ea"/>
                <a:sym typeface="+mn-lt"/>
              </a:rPr>
              <a:t>Speaker name and title</a:t>
            </a: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en-US" altLang="en-US" dirty="0"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717418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A281DBD-6491-418A-95D2-0B38A7FC15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AB4E498-913C-48F0-AB06-9922ED80D1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8764362-7FEC-4F0C-862E-853ED5E497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78903B1-2C38-4FE8-A09F-F7CA6A3B58AA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78585"/>
            <a:ext cx="10845800" cy="4603245"/>
            <a:chOff x="673100" y="1378585"/>
            <a:chExt cx="10845800" cy="4603245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3D0CE7F8-8651-4560-B4DF-3274E607B915}"/>
                </a:ext>
              </a:extLst>
            </p:cNvPr>
            <p:cNvSpPr/>
            <p:nvPr/>
          </p:nvSpPr>
          <p:spPr>
            <a:xfrm>
              <a:off x="673100" y="4490068"/>
              <a:ext cx="10845800" cy="524953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4B6B7944-DCBE-4973-88D4-CF21E586BC4D}"/>
                </a:ext>
              </a:extLst>
            </p:cNvPr>
            <p:cNvCxnSpPr/>
            <p:nvPr/>
          </p:nvCxnSpPr>
          <p:spPr>
            <a:xfrm>
              <a:off x="1479956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73100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9" name="矩形: 圆角 8">
              <a:extLst>
                <a:ext uri="{FF2B5EF4-FFF2-40B4-BE49-F238E27FC236}">
                  <a16:creationId xmlns:a16="http://schemas.microsoft.com/office/drawing/2014/main" id="{FAA3D387-AA6D-4A66-BD59-4F1E4188DB7D}"/>
                </a:ext>
              </a:extLst>
            </p:cNvPr>
            <p:cNvSpPr/>
            <p:nvPr/>
          </p:nvSpPr>
          <p:spPr>
            <a:xfrm>
              <a:off x="881935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EE43B2D-CABB-4992-A683-062571205202}"/>
                </a:ext>
              </a:extLst>
            </p:cNvPr>
            <p:cNvSpPr/>
            <p:nvPr/>
          </p:nvSpPr>
          <p:spPr>
            <a:xfrm>
              <a:off x="881935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5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2738561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2EC96796-4967-492B-9191-9EBCECD50B99}"/>
                </a:ext>
              </a:extLst>
            </p:cNvPr>
            <p:cNvSpPr/>
            <p:nvPr/>
          </p:nvSpPr>
          <p:spPr>
            <a:xfrm>
              <a:off x="2947396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6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64254344-519C-408F-A73F-F3AB8FA202E1}"/>
                </a:ext>
              </a:extLst>
            </p:cNvPr>
            <p:cNvCxnSpPr/>
            <p:nvPr/>
          </p:nvCxnSpPr>
          <p:spPr>
            <a:xfrm>
              <a:off x="5610878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4804022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5" name="矩形: 圆角 14">
              <a:extLst>
                <a:ext uri="{FF2B5EF4-FFF2-40B4-BE49-F238E27FC236}">
                  <a16:creationId xmlns:a16="http://schemas.microsoft.com/office/drawing/2014/main" id="{B5B767C0-5AEA-4754-B665-7D04FF2D762B}"/>
                </a:ext>
              </a:extLst>
            </p:cNvPr>
            <p:cNvSpPr/>
            <p:nvPr/>
          </p:nvSpPr>
          <p:spPr>
            <a:xfrm>
              <a:off x="5012857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8FEDEAD4-DD17-4445-95E1-BDB779192D92}"/>
                </a:ext>
              </a:extLst>
            </p:cNvPr>
            <p:cNvSpPr/>
            <p:nvPr/>
          </p:nvSpPr>
          <p:spPr>
            <a:xfrm>
              <a:off x="5012857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7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222CFD55-1CAA-4913-A98D-25BA511B902A}"/>
                </a:ext>
              </a:extLst>
            </p:cNvPr>
            <p:cNvCxnSpPr/>
            <p:nvPr/>
          </p:nvCxnSpPr>
          <p:spPr>
            <a:xfrm>
              <a:off x="3545417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255A248A-C133-466F-BE9B-647EF5ACF1B1}"/>
                </a:ext>
              </a:extLst>
            </p:cNvPr>
            <p:cNvCxnSpPr/>
            <p:nvPr/>
          </p:nvCxnSpPr>
          <p:spPr>
            <a:xfrm>
              <a:off x="7676339" y="2203882"/>
              <a:ext cx="0" cy="225693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6869483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0" name="矩形: 圆角 19">
              <a:extLst>
                <a:ext uri="{FF2B5EF4-FFF2-40B4-BE49-F238E27FC236}">
                  <a16:creationId xmlns:a16="http://schemas.microsoft.com/office/drawing/2014/main" id="{5620B7FD-9EF7-4486-BAB0-11FA662DE2E6}"/>
                </a:ext>
              </a:extLst>
            </p:cNvPr>
            <p:cNvSpPr/>
            <p:nvPr/>
          </p:nvSpPr>
          <p:spPr>
            <a:xfrm>
              <a:off x="2947396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1" name="矩形: 圆角 20">
              <a:extLst>
                <a:ext uri="{FF2B5EF4-FFF2-40B4-BE49-F238E27FC236}">
                  <a16:creationId xmlns:a16="http://schemas.microsoft.com/office/drawing/2014/main" id="{7BB2784A-1A36-4845-8675-25E6C0F19C9D}"/>
                </a:ext>
              </a:extLst>
            </p:cNvPr>
            <p:cNvSpPr/>
            <p:nvPr/>
          </p:nvSpPr>
          <p:spPr>
            <a:xfrm>
              <a:off x="7078318" y="1801368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FD7EE974-19D8-4BC5-9BE4-19ECF2BB1870}"/>
                </a:ext>
              </a:extLst>
            </p:cNvPr>
            <p:cNvSpPr/>
            <p:nvPr/>
          </p:nvSpPr>
          <p:spPr>
            <a:xfrm>
              <a:off x="7078318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8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952B7ED5-7230-4354-A849-618137A892BD}"/>
                </a:ext>
              </a:extLst>
            </p:cNvPr>
            <p:cNvCxnSpPr/>
            <p:nvPr/>
          </p:nvCxnSpPr>
          <p:spPr>
            <a:xfrm>
              <a:off x="9741802" y="3152158"/>
              <a:ext cx="0" cy="130866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B40F5E8D-FBEB-4054-86D5-66BEF7C4392C}"/>
                </a:ext>
              </a:extLst>
            </p:cNvPr>
            <p:cNvSpPr txBox="1"/>
            <p:nvPr/>
          </p:nvSpPr>
          <p:spPr>
            <a:xfrm>
              <a:off x="8934946" y="5015021"/>
              <a:ext cx="1613711" cy="966809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0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5" name="矩形: 圆角 24">
              <a:extLst>
                <a:ext uri="{FF2B5EF4-FFF2-40B4-BE49-F238E27FC236}">
                  <a16:creationId xmlns:a16="http://schemas.microsoft.com/office/drawing/2014/main" id="{63331D12-EAA5-41F6-B1BB-FCB074DF696B}"/>
                </a:ext>
              </a:extLst>
            </p:cNvPr>
            <p:cNvSpPr/>
            <p:nvPr/>
          </p:nvSpPr>
          <p:spPr>
            <a:xfrm>
              <a:off x="9143781" y="2749644"/>
              <a:ext cx="1196041" cy="347828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sz="1200" b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2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A1068212-AEFC-4A8A-B5BA-DC75E9D097DD}"/>
                </a:ext>
              </a:extLst>
            </p:cNvPr>
            <p:cNvSpPr/>
            <p:nvPr/>
          </p:nvSpPr>
          <p:spPr>
            <a:xfrm>
              <a:off x="9143781" y="4556937"/>
              <a:ext cx="1196041" cy="391215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/>
              <a:r>
                <a:rPr lang="en-US" altLang="zh-CN" sz="1400" b="1" dirty="0">
                  <a:solidFill>
                    <a:schemeClr val="tx1"/>
                  </a:solidFill>
                  <a:cs typeface="+mn-ea"/>
                  <a:sym typeface="+mn-lt"/>
                </a:rPr>
                <a:t>2019</a:t>
              </a:r>
              <a:endParaRPr lang="zh-CN" altLang="en-US" sz="14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7" name="任意多边形: 形状 26">
              <a:extLst>
                <a:ext uri="{FF2B5EF4-FFF2-40B4-BE49-F238E27FC236}">
                  <a16:creationId xmlns:a16="http://schemas.microsoft.com/office/drawing/2014/main" id="{73D19733-C528-48DD-914A-7A85AC801A0E}"/>
                </a:ext>
              </a:extLst>
            </p:cNvPr>
            <p:cNvSpPr/>
            <p:nvPr/>
          </p:nvSpPr>
          <p:spPr>
            <a:xfrm>
              <a:off x="1276662" y="2326860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8" name="任意多边形: 形状 27">
              <a:extLst>
                <a:ext uri="{FF2B5EF4-FFF2-40B4-BE49-F238E27FC236}">
                  <a16:creationId xmlns:a16="http://schemas.microsoft.com/office/drawing/2014/main" id="{CBAB2213-16C3-401B-A097-FB9CC308E11E}"/>
                </a:ext>
              </a:extLst>
            </p:cNvPr>
            <p:cNvSpPr/>
            <p:nvPr/>
          </p:nvSpPr>
          <p:spPr>
            <a:xfrm>
              <a:off x="3342124" y="1378585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9" name="任意多边形: 形状 28">
              <a:extLst>
                <a:ext uri="{FF2B5EF4-FFF2-40B4-BE49-F238E27FC236}">
                  <a16:creationId xmlns:a16="http://schemas.microsoft.com/office/drawing/2014/main" id="{6434F773-ED1C-4E4B-85E7-2A4B6B498269}"/>
                </a:ext>
              </a:extLst>
            </p:cNvPr>
            <p:cNvSpPr/>
            <p:nvPr/>
          </p:nvSpPr>
          <p:spPr>
            <a:xfrm>
              <a:off x="5407584" y="2326860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0" name="任意多边形: 形状 29">
              <a:extLst>
                <a:ext uri="{FF2B5EF4-FFF2-40B4-BE49-F238E27FC236}">
                  <a16:creationId xmlns:a16="http://schemas.microsoft.com/office/drawing/2014/main" id="{82D67E0B-CC9E-41B0-98FC-5468164AE8DF}"/>
                </a:ext>
              </a:extLst>
            </p:cNvPr>
            <p:cNvSpPr/>
            <p:nvPr/>
          </p:nvSpPr>
          <p:spPr>
            <a:xfrm>
              <a:off x="7473045" y="1378585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1" name="任意多边形: 形状 30">
              <a:extLst>
                <a:ext uri="{FF2B5EF4-FFF2-40B4-BE49-F238E27FC236}">
                  <a16:creationId xmlns:a16="http://schemas.microsoft.com/office/drawing/2014/main" id="{0DDF6443-4B4E-4C64-93B4-C60662452200}"/>
                </a:ext>
              </a:extLst>
            </p:cNvPr>
            <p:cNvSpPr/>
            <p:nvPr/>
          </p:nvSpPr>
          <p:spPr>
            <a:xfrm>
              <a:off x="9538508" y="2326860"/>
              <a:ext cx="406586" cy="329609"/>
            </a:xfrm>
            <a:custGeom>
              <a:avLst/>
              <a:gdLst>
                <a:gd name="connsiteX0" fmla="*/ 493872 w 604195"/>
                <a:gd name="connsiteY0" fmla="*/ 437764 h 489806"/>
                <a:gd name="connsiteX1" fmla="*/ 478290 w 604195"/>
                <a:gd name="connsiteY1" fmla="*/ 453330 h 489806"/>
                <a:gd name="connsiteX2" fmla="*/ 493872 w 604195"/>
                <a:gd name="connsiteY2" fmla="*/ 469024 h 489806"/>
                <a:gd name="connsiteX3" fmla="*/ 509582 w 604195"/>
                <a:gd name="connsiteY3" fmla="*/ 453330 h 489806"/>
                <a:gd name="connsiteX4" fmla="*/ 493872 w 604195"/>
                <a:gd name="connsiteY4" fmla="*/ 437764 h 489806"/>
                <a:gd name="connsiteX5" fmla="*/ 304116 w 604195"/>
                <a:gd name="connsiteY5" fmla="*/ 437764 h 489806"/>
                <a:gd name="connsiteX6" fmla="*/ 288403 w 604195"/>
                <a:gd name="connsiteY6" fmla="*/ 453330 h 489806"/>
                <a:gd name="connsiteX7" fmla="*/ 304116 w 604195"/>
                <a:gd name="connsiteY7" fmla="*/ 469024 h 489806"/>
                <a:gd name="connsiteX8" fmla="*/ 319700 w 604195"/>
                <a:gd name="connsiteY8" fmla="*/ 453330 h 489806"/>
                <a:gd name="connsiteX9" fmla="*/ 304116 w 604195"/>
                <a:gd name="connsiteY9" fmla="*/ 437764 h 489806"/>
                <a:gd name="connsiteX10" fmla="*/ 493872 w 604195"/>
                <a:gd name="connsiteY10" fmla="*/ 417476 h 489806"/>
                <a:gd name="connsiteX11" fmla="*/ 529889 w 604195"/>
                <a:gd name="connsiteY11" fmla="*/ 453330 h 489806"/>
                <a:gd name="connsiteX12" fmla="*/ 493872 w 604195"/>
                <a:gd name="connsiteY12" fmla="*/ 489312 h 489806"/>
                <a:gd name="connsiteX13" fmla="*/ 457983 w 604195"/>
                <a:gd name="connsiteY13" fmla="*/ 453330 h 489806"/>
                <a:gd name="connsiteX14" fmla="*/ 493872 w 604195"/>
                <a:gd name="connsiteY14" fmla="*/ 417476 h 489806"/>
                <a:gd name="connsiteX15" fmla="*/ 304116 w 604195"/>
                <a:gd name="connsiteY15" fmla="*/ 417476 h 489806"/>
                <a:gd name="connsiteX16" fmla="*/ 340139 w 604195"/>
                <a:gd name="connsiteY16" fmla="*/ 453330 h 489806"/>
                <a:gd name="connsiteX17" fmla="*/ 304116 w 604195"/>
                <a:gd name="connsiteY17" fmla="*/ 489312 h 489806"/>
                <a:gd name="connsiteX18" fmla="*/ 268092 w 604195"/>
                <a:gd name="connsiteY18" fmla="*/ 453330 h 489806"/>
                <a:gd name="connsiteX19" fmla="*/ 304116 w 604195"/>
                <a:gd name="connsiteY19" fmla="*/ 417476 h 489806"/>
                <a:gd name="connsiteX20" fmla="*/ 464381 w 604195"/>
                <a:gd name="connsiteY20" fmla="*/ 306093 h 489806"/>
                <a:gd name="connsiteX21" fmla="*/ 464381 w 604195"/>
                <a:gd name="connsiteY21" fmla="*/ 358791 h 489806"/>
                <a:gd name="connsiteX22" fmla="*/ 529815 w 604195"/>
                <a:gd name="connsiteY22" fmla="*/ 358791 h 489806"/>
                <a:gd name="connsiteX23" fmla="*/ 526109 w 604195"/>
                <a:gd name="connsiteY23" fmla="*/ 353432 h 489806"/>
                <a:gd name="connsiteX24" fmla="*/ 510645 w 604195"/>
                <a:gd name="connsiteY24" fmla="*/ 322170 h 489806"/>
                <a:gd name="connsiteX25" fmla="*/ 484062 w 604195"/>
                <a:gd name="connsiteY25" fmla="*/ 306093 h 489806"/>
                <a:gd name="connsiteX26" fmla="*/ 276769 w 604195"/>
                <a:gd name="connsiteY26" fmla="*/ 273555 h 489806"/>
                <a:gd name="connsiteX27" fmla="*/ 263733 w 604195"/>
                <a:gd name="connsiteY27" fmla="*/ 286698 h 489806"/>
                <a:gd name="connsiteX28" fmla="*/ 263733 w 604195"/>
                <a:gd name="connsiteY28" fmla="*/ 369509 h 489806"/>
                <a:gd name="connsiteX29" fmla="*/ 276769 w 604195"/>
                <a:gd name="connsiteY29" fmla="*/ 382524 h 489806"/>
                <a:gd name="connsiteX30" fmla="*/ 404442 w 604195"/>
                <a:gd name="connsiteY30" fmla="*/ 382524 h 489806"/>
                <a:gd name="connsiteX31" fmla="*/ 417605 w 604195"/>
                <a:gd name="connsiteY31" fmla="*/ 369509 h 489806"/>
                <a:gd name="connsiteX32" fmla="*/ 417605 w 604195"/>
                <a:gd name="connsiteY32" fmla="*/ 286698 h 489806"/>
                <a:gd name="connsiteX33" fmla="*/ 404442 w 604195"/>
                <a:gd name="connsiteY33" fmla="*/ 273555 h 489806"/>
                <a:gd name="connsiteX34" fmla="*/ 242774 w 604195"/>
                <a:gd name="connsiteY34" fmla="*/ 238593 h 489806"/>
                <a:gd name="connsiteX35" fmla="*/ 443677 w 604195"/>
                <a:gd name="connsiteY35" fmla="*/ 238593 h 489806"/>
                <a:gd name="connsiteX36" fmla="*/ 464381 w 604195"/>
                <a:gd name="connsiteY36" fmla="*/ 259264 h 489806"/>
                <a:gd name="connsiteX37" fmla="*/ 464381 w 604195"/>
                <a:gd name="connsiteY37" fmla="*/ 291802 h 489806"/>
                <a:gd name="connsiteX38" fmla="*/ 491347 w 604195"/>
                <a:gd name="connsiteY38" fmla="*/ 291802 h 489806"/>
                <a:gd name="connsiteX39" fmla="*/ 521252 w 604195"/>
                <a:gd name="connsiteY39" fmla="*/ 309921 h 489806"/>
                <a:gd name="connsiteX40" fmla="*/ 538505 w 604195"/>
                <a:gd name="connsiteY40" fmla="*/ 345010 h 489806"/>
                <a:gd name="connsiteX41" fmla="*/ 564449 w 604195"/>
                <a:gd name="connsiteY41" fmla="*/ 360577 h 489806"/>
                <a:gd name="connsiteX42" fmla="*/ 604195 w 604195"/>
                <a:gd name="connsiteY42" fmla="*/ 396178 h 489806"/>
                <a:gd name="connsiteX43" fmla="*/ 604195 w 604195"/>
                <a:gd name="connsiteY43" fmla="*/ 435095 h 489806"/>
                <a:gd name="connsiteX44" fmla="*/ 583619 w 604195"/>
                <a:gd name="connsiteY44" fmla="*/ 455511 h 489806"/>
                <a:gd name="connsiteX45" fmla="*/ 540806 w 604195"/>
                <a:gd name="connsiteY45" fmla="*/ 455511 h 489806"/>
                <a:gd name="connsiteX46" fmla="*/ 540806 w 604195"/>
                <a:gd name="connsiteY46" fmla="*/ 453342 h 489806"/>
                <a:gd name="connsiteX47" fmla="*/ 493903 w 604195"/>
                <a:gd name="connsiteY47" fmla="*/ 406513 h 489806"/>
                <a:gd name="connsiteX48" fmla="*/ 447000 w 604195"/>
                <a:gd name="connsiteY48" fmla="*/ 453342 h 489806"/>
                <a:gd name="connsiteX49" fmla="*/ 447127 w 604195"/>
                <a:gd name="connsiteY49" fmla="*/ 455256 h 489806"/>
                <a:gd name="connsiteX50" fmla="*/ 443677 w 604195"/>
                <a:gd name="connsiteY50" fmla="*/ 455511 h 489806"/>
                <a:gd name="connsiteX51" fmla="*/ 351021 w 604195"/>
                <a:gd name="connsiteY51" fmla="*/ 455511 h 489806"/>
                <a:gd name="connsiteX52" fmla="*/ 351021 w 604195"/>
                <a:gd name="connsiteY52" fmla="*/ 453342 h 489806"/>
                <a:gd name="connsiteX53" fmla="*/ 304118 w 604195"/>
                <a:gd name="connsiteY53" fmla="*/ 406513 h 489806"/>
                <a:gd name="connsiteX54" fmla="*/ 257215 w 604195"/>
                <a:gd name="connsiteY54" fmla="*/ 453342 h 489806"/>
                <a:gd name="connsiteX55" fmla="*/ 257215 w 604195"/>
                <a:gd name="connsiteY55" fmla="*/ 455511 h 489806"/>
                <a:gd name="connsiteX56" fmla="*/ 242774 w 604195"/>
                <a:gd name="connsiteY56" fmla="*/ 455511 h 489806"/>
                <a:gd name="connsiteX57" fmla="*/ 221942 w 604195"/>
                <a:gd name="connsiteY57" fmla="*/ 434840 h 489806"/>
                <a:gd name="connsiteX58" fmla="*/ 221942 w 604195"/>
                <a:gd name="connsiteY58" fmla="*/ 259264 h 489806"/>
                <a:gd name="connsiteX59" fmla="*/ 242774 w 604195"/>
                <a:gd name="connsiteY59" fmla="*/ 238593 h 489806"/>
                <a:gd name="connsiteX60" fmla="*/ 251051 w 604195"/>
                <a:gd name="connsiteY60" fmla="*/ 0 h 489806"/>
                <a:gd name="connsiteX61" fmla="*/ 280121 w 604195"/>
                <a:gd name="connsiteY61" fmla="*/ 9283 h 489806"/>
                <a:gd name="connsiteX62" fmla="*/ 452627 w 604195"/>
                <a:gd name="connsiteY62" fmla="*/ 143896 h 489806"/>
                <a:gd name="connsiteX63" fmla="*/ 454416 w 604195"/>
                <a:gd name="connsiteY63" fmla="*/ 145299 h 489806"/>
                <a:gd name="connsiteX64" fmla="*/ 492112 w 604195"/>
                <a:gd name="connsiteY64" fmla="*/ 174646 h 489806"/>
                <a:gd name="connsiteX65" fmla="*/ 484190 w 604195"/>
                <a:gd name="connsiteY65" fmla="*/ 214201 h 489806"/>
                <a:gd name="connsiteX66" fmla="*/ 462083 w 604195"/>
                <a:gd name="connsiteY66" fmla="*/ 214201 h 489806"/>
                <a:gd name="connsiteX67" fmla="*/ 212652 w 604195"/>
                <a:gd name="connsiteY67" fmla="*/ 214201 h 489806"/>
                <a:gd name="connsiteX68" fmla="*/ 190545 w 604195"/>
                <a:gd name="connsiteY68" fmla="*/ 236274 h 489806"/>
                <a:gd name="connsiteX69" fmla="*/ 190545 w 604195"/>
                <a:gd name="connsiteY69" fmla="*/ 466711 h 489806"/>
                <a:gd name="connsiteX70" fmla="*/ 169845 w 604195"/>
                <a:gd name="connsiteY70" fmla="*/ 489806 h 489806"/>
                <a:gd name="connsiteX71" fmla="*/ 62124 w 604195"/>
                <a:gd name="connsiteY71" fmla="*/ 489806 h 489806"/>
                <a:gd name="connsiteX72" fmla="*/ 40018 w 604195"/>
                <a:gd name="connsiteY72" fmla="*/ 467732 h 489806"/>
                <a:gd name="connsiteX73" fmla="*/ 40018 w 604195"/>
                <a:gd name="connsiteY73" fmla="*/ 214201 h 489806"/>
                <a:gd name="connsiteX74" fmla="*/ 17911 w 604195"/>
                <a:gd name="connsiteY74" fmla="*/ 214201 h 489806"/>
                <a:gd name="connsiteX75" fmla="*/ 9989 w 604195"/>
                <a:gd name="connsiteY75" fmla="*/ 174646 h 489806"/>
                <a:gd name="connsiteX76" fmla="*/ 47685 w 604195"/>
                <a:gd name="connsiteY76" fmla="*/ 145299 h 489806"/>
                <a:gd name="connsiteX77" fmla="*/ 49474 w 604195"/>
                <a:gd name="connsiteY77" fmla="*/ 143896 h 489806"/>
                <a:gd name="connsiteX78" fmla="*/ 221980 w 604195"/>
                <a:gd name="connsiteY78" fmla="*/ 9283 h 489806"/>
                <a:gd name="connsiteX79" fmla="*/ 251051 w 604195"/>
                <a:gd name="connsiteY79" fmla="*/ 0 h 489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604195" h="489806">
                  <a:moveTo>
                    <a:pt x="493872" y="437764"/>
                  </a:moveTo>
                  <a:cubicBezTo>
                    <a:pt x="485315" y="437764"/>
                    <a:pt x="478290" y="444654"/>
                    <a:pt x="478290" y="453330"/>
                  </a:cubicBezTo>
                  <a:cubicBezTo>
                    <a:pt x="478290" y="462007"/>
                    <a:pt x="485315" y="469024"/>
                    <a:pt x="493872" y="469024"/>
                  </a:cubicBezTo>
                  <a:cubicBezTo>
                    <a:pt x="502557" y="469024"/>
                    <a:pt x="509582" y="462007"/>
                    <a:pt x="509582" y="453330"/>
                  </a:cubicBezTo>
                  <a:cubicBezTo>
                    <a:pt x="509582" y="444654"/>
                    <a:pt x="502557" y="437764"/>
                    <a:pt x="493872" y="437764"/>
                  </a:cubicBezTo>
                  <a:close/>
                  <a:moveTo>
                    <a:pt x="304116" y="437764"/>
                  </a:moveTo>
                  <a:cubicBezTo>
                    <a:pt x="295429" y="437764"/>
                    <a:pt x="288403" y="444654"/>
                    <a:pt x="288403" y="453330"/>
                  </a:cubicBezTo>
                  <a:cubicBezTo>
                    <a:pt x="288403" y="462007"/>
                    <a:pt x="295429" y="469024"/>
                    <a:pt x="304116" y="469024"/>
                  </a:cubicBezTo>
                  <a:cubicBezTo>
                    <a:pt x="312674" y="469024"/>
                    <a:pt x="319700" y="462007"/>
                    <a:pt x="319700" y="453330"/>
                  </a:cubicBezTo>
                  <a:cubicBezTo>
                    <a:pt x="319700" y="444654"/>
                    <a:pt x="312674" y="437764"/>
                    <a:pt x="304116" y="437764"/>
                  </a:cubicBezTo>
                  <a:close/>
                  <a:moveTo>
                    <a:pt x="493872" y="417476"/>
                  </a:moveTo>
                  <a:cubicBezTo>
                    <a:pt x="513796" y="417476"/>
                    <a:pt x="529889" y="433553"/>
                    <a:pt x="529889" y="453330"/>
                  </a:cubicBezTo>
                  <a:cubicBezTo>
                    <a:pt x="529889" y="473235"/>
                    <a:pt x="513796" y="489312"/>
                    <a:pt x="493872" y="489312"/>
                  </a:cubicBezTo>
                  <a:cubicBezTo>
                    <a:pt x="474076" y="489312"/>
                    <a:pt x="457983" y="473235"/>
                    <a:pt x="457983" y="453330"/>
                  </a:cubicBezTo>
                  <a:cubicBezTo>
                    <a:pt x="457983" y="433553"/>
                    <a:pt x="474076" y="417476"/>
                    <a:pt x="493872" y="417476"/>
                  </a:cubicBezTo>
                  <a:close/>
                  <a:moveTo>
                    <a:pt x="304116" y="417476"/>
                  </a:moveTo>
                  <a:cubicBezTo>
                    <a:pt x="323916" y="417476"/>
                    <a:pt x="340139" y="433553"/>
                    <a:pt x="340139" y="453330"/>
                  </a:cubicBezTo>
                  <a:cubicBezTo>
                    <a:pt x="340139" y="473235"/>
                    <a:pt x="324043" y="489312"/>
                    <a:pt x="304116" y="489312"/>
                  </a:cubicBezTo>
                  <a:cubicBezTo>
                    <a:pt x="284188" y="489312"/>
                    <a:pt x="268092" y="473235"/>
                    <a:pt x="268092" y="453330"/>
                  </a:cubicBezTo>
                  <a:cubicBezTo>
                    <a:pt x="268092" y="433553"/>
                    <a:pt x="284188" y="417476"/>
                    <a:pt x="304116" y="417476"/>
                  </a:cubicBezTo>
                  <a:close/>
                  <a:moveTo>
                    <a:pt x="464381" y="306093"/>
                  </a:moveTo>
                  <a:lnTo>
                    <a:pt x="464381" y="358791"/>
                  </a:lnTo>
                  <a:lnTo>
                    <a:pt x="529815" y="358791"/>
                  </a:lnTo>
                  <a:cubicBezTo>
                    <a:pt x="528409" y="357260"/>
                    <a:pt x="527131" y="355601"/>
                    <a:pt x="526109" y="353432"/>
                  </a:cubicBezTo>
                  <a:lnTo>
                    <a:pt x="510645" y="322170"/>
                  </a:lnTo>
                  <a:cubicBezTo>
                    <a:pt x="506044" y="313366"/>
                    <a:pt x="494030" y="306093"/>
                    <a:pt x="484062" y="306093"/>
                  </a:cubicBezTo>
                  <a:close/>
                  <a:moveTo>
                    <a:pt x="276769" y="273555"/>
                  </a:moveTo>
                  <a:cubicBezTo>
                    <a:pt x="269612" y="273555"/>
                    <a:pt x="263733" y="279552"/>
                    <a:pt x="263733" y="286698"/>
                  </a:cubicBezTo>
                  <a:lnTo>
                    <a:pt x="263733" y="369509"/>
                  </a:lnTo>
                  <a:cubicBezTo>
                    <a:pt x="263733" y="376655"/>
                    <a:pt x="269612" y="382524"/>
                    <a:pt x="276769" y="382524"/>
                  </a:cubicBezTo>
                  <a:lnTo>
                    <a:pt x="404442" y="382524"/>
                  </a:lnTo>
                  <a:cubicBezTo>
                    <a:pt x="411727" y="382524"/>
                    <a:pt x="417605" y="376655"/>
                    <a:pt x="417605" y="369509"/>
                  </a:cubicBezTo>
                  <a:lnTo>
                    <a:pt x="417605" y="286698"/>
                  </a:lnTo>
                  <a:cubicBezTo>
                    <a:pt x="417605" y="279552"/>
                    <a:pt x="411727" y="273555"/>
                    <a:pt x="404442" y="273555"/>
                  </a:cubicBezTo>
                  <a:close/>
                  <a:moveTo>
                    <a:pt x="242774" y="238593"/>
                  </a:moveTo>
                  <a:lnTo>
                    <a:pt x="443677" y="238593"/>
                  </a:lnTo>
                  <a:cubicBezTo>
                    <a:pt x="455051" y="238593"/>
                    <a:pt x="464381" y="247908"/>
                    <a:pt x="464381" y="259264"/>
                  </a:cubicBezTo>
                  <a:lnTo>
                    <a:pt x="464381" y="291802"/>
                  </a:lnTo>
                  <a:lnTo>
                    <a:pt x="491347" y="291802"/>
                  </a:lnTo>
                  <a:cubicBezTo>
                    <a:pt x="502593" y="291802"/>
                    <a:pt x="516012" y="299968"/>
                    <a:pt x="521252" y="309921"/>
                  </a:cubicBezTo>
                  <a:lnTo>
                    <a:pt x="538505" y="345010"/>
                  </a:lnTo>
                  <a:cubicBezTo>
                    <a:pt x="543745" y="354963"/>
                    <a:pt x="551285" y="357132"/>
                    <a:pt x="564449" y="360577"/>
                  </a:cubicBezTo>
                  <a:cubicBezTo>
                    <a:pt x="575440" y="363385"/>
                    <a:pt x="604195" y="363385"/>
                    <a:pt x="604195" y="396178"/>
                  </a:cubicBezTo>
                  <a:lnTo>
                    <a:pt x="604195" y="435095"/>
                  </a:lnTo>
                  <a:cubicBezTo>
                    <a:pt x="604195" y="446324"/>
                    <a:pt x="594866" y="455511"/>
                    <a:pt x="583619" y="455511"/>
                  </a:cubicBezTo>
                  <a:lnTo>
                    <a:pt x="540806" y="455511"/>
                  </a:lnTo>
                  <a:cubicBezTo>
                    <a:pt x="540806" y="454873"/>
                    <a:pt x="540806" y="454107"/>
                    <a:pt x="540806" y="453342"/>
                  </a:cubicBezTo>
                  <a:cubicBezTo>
                    <a:pt x="540806" y="427567"/>
                    <a:pt x="519846" y="406513"/>
                    <a:pt x="493903" y="406513"/>
                  </a:cubicBezTo>
                  <a:cubicBezTo>
                    <a:pt x="468087" y="406513"/>
                    <a:pt x="447000" y="427567"/>
                    <a:pt x="447000" y="453342"/>
                  </a:cubicBezTo>
                  <a:cubicBezTo>
                    <a:pt x="447000" y="453980"/>
                    <a:pt x="447000" y="454618"/>
                    <a:pt x="447127" y="455256"/>
                  </a:cubicBezTo>
                  <a:cubicBezTo>
                    <a:pt x="445977" y="455383"/>
                    <a:pt x="444827" y="455511"/>
                    <a:pt x="443677" y="455511"/>
                  </a:cubicBezTo>
                  <a:lnTo>
                    <a:pt x="351021" y="455511"/>
                  </a:lnTo>
                  <a:cubicBezTo>
                    <a:pt x="351021" y="454873"/>
                    <a:pt x="351021" y="454107"/>
                    <a:pt x="351021" y="453342"/>
                  </a:cubicBezTo>
                  <a:cubicBezTo>
                    <a:pt x="351021" y="427567"/>
                    <a:pt x="329934" y="406513"/>
                    <a:pt x="304118" y="406513"/>
                  </a:cubicBezTo>
                  <a:cubicBezTo>
                    <a:pt x="278174" y="406513"/>
                    <a:pt x="257215" y="427567"/>
                    <a:pt x="257215" y="453342"/>
                  </a:cubicBezTo>
                  <a:cubicBezTo>
                    <a:pt x="257215" y="454107"/>
                    <a:pt x="257215" y="454873"/>
                    <a:pt x="257215" y="455511"/>
                  </a:cubicBezTo>
                  <a:lnTo>
                    <a:pt x="242774" y="455511"/>
                  </a:lnTo>
                  <a:cubicBezTo>
                    <a:pt x="231399" y="455511"/>
                    <a:pt x="221942" y="446196"/>
                    <a:pt x="221942" y="434840"/>
                  </a:cubicBezTo>
                  <a:lnTo>
                    <a:pt x="221942" y="259264"/>
                  </a:lnTo>
                  <a:cubicBezTo>
                    <a:pt x="221942" y="247908"/>
                    <a:pt x="231399" y="238593"/>
                    <a:pt x="242774" y="238593"/>
                  </a:cubicBezTo>
                  <a:close/>
                  <a:moveTo>
                    <a:pt x="251051" y="0"/>
                  </a:moveTo>
                  <a:cubicBezTo>
                    <a:pt x="261593" y="0"/>
                    <a:pt x="272135" y="3095"/>
                    <a:pt x="280121" y="9283"/>
                  </a:cubicBezTo>
                  <a:lnTo>
                    <a:pt x="452627" y="143896"/>
                  </a:lnTo>
                  <a:cubicBezTo>
                    <a:pt x="453266" y="144406"/>
                    <a:pt x="453777" y="144789"/>
                    <a:pt x="454416" y="145299"/>
                  </a:cubicBezTo>
                  <a:lnTo>
                    <a:pt x="492112" y="174646"/>
                  </a:lnTo>
                  <a:cubicBezTo>
                    <a:pt x="508085" y="187150"/>
                    <a:pt x="504507" y="214201"/>
                    <a:pt x="484190" y="214201"/>
                  </a:cubicBezTo>
                  <a:lnTo>
                    <a:pt x="462083" y="214201"/>
                  </a:lnTo>
                  <a:lnTo>
                    <a:pt x="212652" y="214201"/>
                  </a:lnTo>
                  <a:cubicBezTo>
                    <a:pt x="200513" y="214201"/>
                    <a:pt x="190545" y="224153"/>
                    <a:pt x="190545" y="236274"/>
                  </a:cubicBezTo>
                  <a:cubicBezTo>
                    <a:pt x="190545" y="236274"/>
                    <a:pt x="190545" y="460587"/>
                    <a:pt x="190545" y="466711"/>
                  </a:cubicBezTo>
                  <a:cubicBezTo>
                    <a:pt x="190545" y="480492"/>
                    <a:pt x="183645" y="489806"/>
                    <a:pt x="169845" y="489806"/>
                  </a:cubicBezTo>
                  <a:lnTo>
                    <a:pt x="62124" y="489806"/>
                  </a:lnTo>
                  <a:cubicBezTo>
                    <a:pt x="49985" y="489806"/>
                    <a:pt x="40018" y="479854"/>
                    <a:pt x="40018" y="467732"/>
                  </a:cubicBezTo>
                  <a:lnTo>
                    <a:pt x="40018" y="214201"/>
                  </a:lnTo>
                  <a:lnTo>
                    <a:pt x="17911" y="214201"/>
                  </a:lnTo>
                  <a:cubicBezTo>
                    <a:pt x="-2406" y="214201"/>
                    <a:pt x="-5984" y="187150"/>
                    <a:pt x="9989" y="174646"/>
                  </a:cubicBezTo>
                  <a:lnTo>
                    <a:pt x="47685" y="145299"/>
                  </a:lnTo>
                  <a:cubicBezTo>
                    <a:pt x="48324" y="144789"/>
                    <a:pt x="48835" y="144406"/>
                    <a:pt x="49474" y="143896"/>
                  </a:cubicBezTo>
                  <a:lnTo>
                    <a:pt x="221980" y="9283"/>
                  </a:lnTo>
                  <a:cubicBezTo>
                    <a:pt x="229967" y="3095"/>
                    <a:pt x="240509" y="0"/>
                    <a:pt x="251051" y="0"/>
                  </a:cubicBezTo>
                  <a:close/>
                </a:path>
              </a:pathLst>
            </a:cu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49637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24A6B9F1-6882-478F-AD85-3928DD0E42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986FBD3-EB40-4ED0-92C7-368944133D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89D59EA1-2858-4EB2-B287-6204773E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FCC5BC8-D11E-468D-9014-0D5A94702C4E}"/>
              </a:ext>
            </a:extLst>
          </p:cNvPr>
          <p:cNvGrpSpPr>
            <a:grpSpLocks noChangeAspect="1"/>
          </p:cNvGrpSpPr>
          <p:nvPr/>
        </p:nvGrpSpPr>
        <p:grpSpPr>
          <a:xfrm>
            <a:off x="687663" y="1659533"/>
            <a:ext cx="10832825" cy="3736718"/>
            <a:chOff x="687663" y="1659533"/>
            <a:chExt cx="10832825" cy="3736718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8DA5832D-7F97-409E-8F2F-B87820F57D32}"/>
                </a:ext>
              </a:extLst>
            </p:cNvPr>
            <p:cNvCxnSpPr/>
            <p:nvPr/>
          </p:nvCxnSpPr>
          <p:spPr>
            <a:xfrm>
              <a:off x="7706646" y="3703625"/>
              <a:ext cx="379619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2B059A2F-80BF-4240-B4C0-A6FF53F3C570}"/>
                </a:ext>
              </a:extLst>
            </p:cNvPr>
            <p:cNvCxnSpPr>
              <a:cxnSpLocks/>
            </p:cNvCxnSpPr>
            <p:nvPr/>
          </p:nvCxnSpPr>
          <p:spPr>
            <a:xfrm>
              <a:off x="697014" y="3523320"/>
              <a:ext cx="342533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  <a:headEnd type="none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9D70BA59-D25C-4213-B318-46E8AFB8EDEC}"/>
                </a:ext>
              </a:extLst>
            </p:cNvPr>
            <p:cNvSpPr/>
            <p:nvPr/>
          </p:nvSpPr>
          <p:spPr bwMode="auto">
            <a:xfrm rot="19847212">
              <a:off x="4619547" y="3347127"/>
              <a:ext cx="1845035" cy="2011445"/>
            </a:xfrm>
            <a:custGeom>
              <a:avLst/>
              <a:gdLst>
                <a:gd name="T0" fmla="*/ 240 w 260"/>
                <a:gd name="T1" fmla="*/ 258 h 258"/>
                <a:gd name="T2" fmla="*/ 153 w 260"/>
                <a:gd name="T3" fmla="*/ 215 h 258"/>
                <a:gd name="T4" fmla="*/ 3 w 260"/>
                <a:gd name="T5" fmla="*/ 33 h 258"/>
                <a:gd name="T6" fmla="*/ 5 w 260"/>
                <a:gd name="T7" fmla="*/ 6 h 258"/>
                <a:gd name="T8" fmla="*/ 20 w 260"/>
                <a:gd name="T9" fmla="*/ 0 h 258"/>
                <a:gd name="T10" fmla="*/ 107 w 260"/>
                <a:gd name="T11" fmla="*/ 43 h 258"/>
                <a:gd name="T12" fmla="*/ 256 w 260"/>
                <a:gd name="T13" fmla="*/ 225 h 258"/>
                <a:gd name="T14" fmla="*/ 255 w 260"/>
                <a:gd name="T15" fmla="*/ 252 h 258"/>
                <a:gd name="T16" fmla="*/ 240 w 260"/>
                <a:gd name="T17" fmla="*/ 258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0" h="258">
                  <a:moveTo>
                    <a:pt x="240" y="258"/>
                  </a:moveTo>
                  <a:cubicBezTo>
                    <a:pt x="221" y="258"/>
                    <a:pt x="189" y="242"/>
                    <a:pt x="153" y="215"/>
                  </a:cubicBezTo>
                  <a:cubicBezTo>
                    <a:pt x="84" y="161"/>
                    <a:pt x="16" y="80"/>
                    <a:pt x="3" y="33"/>
                  </a:cubicBezTo>
                  <a:cubicBezTo>
                    <a:pt x="0" y="20"/>
                    <a:pt x="0" y="11"/>
                    <a:pt x="5" y="6"/>
                  </a:cubicBezTo>
                  <a:cubicBezTo>
                    <a:pt x="8" y="2"/>
                    <a:pt x="13" y="0"/>
                    <a:pt x="20" y="0"/>
                  </a:cubicBezTo>
                  <a:cubicBezTo>
                    <a:pt x="39" y="0"/>
                    <a:pt x="70" y="15"/>
                    <a:pt x="107" y="43"/>
                  </a:cubicBezTo>
                  <a:cubicBezTo>
                    <a:pt x="176" y="96"/>
                    <a:pt x="243" y="178"/>
                    <a:pt x="256" y="225"/>
                  </a:cubicBezTo>
                  <a:cubicBezTo>
                    <a:pt x="260" y="237"/>
                    <a:pt x="259" y="246"/>
                    <a:pt x="255" y="252"/>
                  </a:cubicBezTo>
                  <a:cubicBezTo>
                    <a:pt x="252" y="256"/>
                    <a:pt x="247" y="258"/>
                    <a:pt x="240" y="258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F68E81E4-51F5-4B6B-80A1-4004EFE2BDDD}"/>
                </a:ext>
              </a:extLst>
            </p:cNvPr>
            <p:cNvSpPr/>
            <p:nvPr/>
          </p:nvSpPr>
          <p:spPr bwMode="auto">
            <a:xfrm rot="19847212">
              <a:off x="4644295" y="2494357"/>
              <a:ext cx="2440111" cy="2718080"/>
            </a:xfrm>
            <a:custGeom>
              <a:avLst/>
              <a:gdLst>
                <a:gd name="T0" fmla="*/ 223 w 344"/>
                <a:gd name="T1" fmla="*/ 254 h 348"/>
                <a:gd name="T2" fmla="*/ 40 w 344"/>
                <a:gd name="T3" fmla="*/ 33 h 348"/>
                <a:gd name="T4" fmla="*/ 39 w 344"/>
                <a:gd name="T5" fmla="*/ 6 h 348"/>
                <a:gd name="T6" fmla="*/ 43 w 344"/>
                <a:gd name="T7" fmla="*/ 0 h 348"/>
                <a:gd name="T8" fmla="*/ 39 w 344"/>
                <a:gd name="T9" fmla="*/ 5 h 348"/>
                <a:gd name="T10" fmla="*/ 37 w 344"/>
                <a:gd name="T11" fmla="*/ 6 h 348"/>
                <a:gd name="T12" fmla="*/ 34 w 344"/>
                <a:gd name="T13" fmla="*/ 11 h 348"/>
                <a:gd name="T14" fmla="*/ 33 w 344"/>
                <a:gd name="T15" fmla="*/ 12 h 348"/>
                <a:gd name="T16" fmla="*/ 30 w 344"/>
                <a:gd name="T17" fmla="*/ 17 h 348"/>
                <a:gd name="T18" fmla="*/ 29 w 344"/>
                <a:gd name="T19" fmla="*/ 18 h 348"/>
                <a:gd name="T20" fmla="*/ 26 w 344"/>
                <a:gd name="T21" fmla="*/ 22 h 348"/>
                <a:gd name="T22" fmla="*/ 25 w 344"/>
                <a:gd name="T23" fmla="*/ 23 h 348"/>
                <a:gd name="T24" fmla="*/ 23 w 344"/>
                <a:gd name="T25" fmla="*/ 26 h 348"/>
                <a:gd name="T26" fmla="*/ 22 w 344"/>
                <a:gd name="T27" fmla="*/ 28 h 348"/>
                <a:gd name="T28" fmla="*/ 20 w 344"/>
                <a:gd name="T29" fmla="*/ 31 h 348"/>
                <a:gd name="T30" fmla="*/ 19 w 344"/>
                <a:gd name="T31" fmla="*/ 33 h 348"/>
                <a:gd name="T32" fmla="*/ 18 w 344"/>
                <a:gd name="T33" fmla="*/ 35 h 348"/>
                <a:gd name="T34" fmla="*/ 16 w 344"/>
                <a:gd name="T35" fmla="*/ 39 h 348"/>
                <a:gd name="T36" fmla="*/ 16 w 344"/>
                <a:gd name="T37" fmla="*/ 40 h 348"/>
                <a:gd name="T38" fmla="*/ 13 w 344"/>
                <a:gd name="T39" fmla="*/ 44 h 348"/>
                <a:gd name="T40" fmla="*/ 13 w 344"/>
                <a:gd name="T41" fmla="*/ 45 h 348"/>
                <a:gd name="T42" fmla="*/ 10 w 344"/>
                <a:gd name="T43" fmla="*/ 51 h 348"/>
                <a:gd name="T44" fmla="*/ 10 w 344"/>
                <a:gd name="T45" fmla="*/ 51 h 348"/>
                <a:gd name="T46" fmla="*/ 8 w 344"/>
                <a:gd name="T47" fmla="*/ 57 h 348"/>
                <a:gd name="T48" fmla="*/ 7 w 344"/>
                <a:gd name="T49" fmla="*/ 58 h 348"/>
                <a:gd name="T50" fmla="*/ 5 w 344"/>
                <a:gd name="T51" fmla="*/ 63 h 348"/>
                <a:gd name="T52" fmla="*/ 4 w 344"/>
                <a:gd name="T53" fmla="*/ 65 h 348"/>
                <a:gd name="T54" fmla="*/ 2 w 344"/>
                <a:gd name="T55" fmla="*/ 71 h 348"/>
                <a:gd name="T56" fmla="*/ 3 w 344"/>
                <a:gd name="T57" fmla="*/ 95 h 348"/>
                <a:gd name="T58" fmla="*/ 169 w 344"/>
                <a:gd name="T59" fmla="*/ 296 h 348"/>
                <a:gd name="T60" fmla="*/ 273 w 344"/>
                <a:gd name="T61" fmla="*/ 342 h 348"/>
                <a:gd name="T62" fmla="*/ 279 w 344"/>
                <a:gd name="T63" fmla="*/ 340 h 348"/>
                <a:gd name="T64" fmla="*/ 281 w 344"/>
                <a:gd name="T65" fmla="*/ 339 h 348"/>
                <a:gd name="T66" fmla="*/ 286 w 344"/>
                <a:gd name="T67" fmla="*/ 337 h 348"/>
                <a:gd name="T68" fmla="*/ 287 w 344"/>
                <a:gd name="T69" fmla="*/ 337 h 348"/>
                <a:gd name="T70" fmla="*/ 293 w 344"/>
                <a:gd name="T71" fmla="*/ 334 h 348"/>
                <a:gd name="T72" fmla="*/ 293 w 344"/>
                <a:gd name="T73" fmla="*/ 334 h 348"/>
                <a:gd name="T74" fmla="*/ 299 w 344"/>
                <a:gd name="T75" fmla="*/ 332 h 348"/>
                <a:gd name="T76" fmla="*/ 299 w 344"/>
                <a:gd name="T77" fmla="*/ 331 h 348"/>
                <a:gd name="T78" fmla="*/ 304 w 344"/>
                <a:gd name="T79" fmla="*/ 329 h 348"/>
                <a:gd name="T80" fmla="*/ 305 w 344"/>
                <a:gd name="T81" fmla="*/ 329 h 348"/>
                <a:gd name="T82" fmla="*/ 309 w 344"/>
                <a:gd name="T83" fmla="*/ 327 h 348"/>
                <a:gd name="T84" fmla="*/ 310 w 344"/>
                <a:gd name="T85" fmla="*/ 326 h 348"/>
                <a:gd name="T86" fmla="*/ 313 w 344"/>
                <a:gd name="T87" fmla="*/ 324 h 348"/>
                <a:gd name="T88" fmla="*/ 315 w 344"/>
                <a:gd name="T89" fmla="*/ 323 h 348"/>
                <a:gd name="T90" fmla="*/ 317 w 344"/>
                <a:gd name="T91" fmla="*/ 322 h 348"/>
                <a:gd name="T92" fmla="*/ 321 w 344"/>
                <a:gd name="T93" fmla="*/ 319 h 348"/>
                <a:gd name="T94" fmla="*/ 322 w 344"/>
                <a:gd name="T95" fmla="*/ 318 h 348"/>
                <a:gd name="T96" fmla="*/ 326 w 344"/>
                <a:gd name="T97" fmla="*/ 316 h 348"/>
                <a:gd name="T98" fmla="*/ 327 w 344"/>
                <a:gd name="T99" fmla="*/ 315 h 348"/>
                <a:gd name="T100" fmla="*/ 332 w 344"/>
                <a:gd name="T101" fmla="*/ 312 h 348"/>
                <a:gd name="T102" fmla="*/ 333 w 344"/>
                <a:gd name="T103" fmla="*/ 311 h 348"/>
                <a:gd name="T104" fmla="*/ 337 w 344"/>
                <a:gd name="T105" fmla="*/ 308 h 348"/>
                <a:gd name="T106" fmla="*/ 339 w 344"/>
                <a:gd name="T107" fmla="*/ 306 h 348"/>
                <a:gd name="T108" fmla="*/ 344 w 344"/>
                <a:gd name="T109" fmla="*/ 302 h 348"/>
                <a:gd name="T110" fmla="*/ 338 w 344"/>
                <a:gd name="T111" fmla="*/ 306 h 348"/>
                <a:gd name="T112" fmla="*/ 223 w 344"/>
                <a:gd name="T113" fmla="*/ 254 h 3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44" h="348">
                  <a:moveTo>
                    <a:pt x="223" y="254"/>
                  </a:moveTo>
                  <a:cubicBezTo>
                    <a:pt x="138" y="190"/>
                    <a:pt x="56" y="90"/>
                    <a:pt x="40" y="33"/>
                  </a:cubicBezTo>
                  <a:cubicBezTo>
                    <a:pt x="37" y="22"/>
                    <a:pt x="37" y="13"/>
                    <a:pt x="39" y="6"/>
                  </a:cubicBezTo>
                  <a:cubicBezTo>
                    <a:pt x="40" y="4"/>
                    <a:pt x="41" y="2"/>
                    <a:pt x="43" y="0"/>
                  </a:cubicBezTo>
                  <a:cubicBezTo>
                    <a:pt x="41" y="1"/>
                    <a:pt x="40" y="3"/>
                    <a:pt x="39" y="5"/>
                  </a:cubicBezTo>
                  <a:cubicBezTo>
                    <a:pt x="38" y="5"/>
                    <a:pt x="38" y="6"/>
                    <a:pt x="37" y="6"/>
                  </a:cubicBezTo>
                  <a:cubicBezTo>
                    <a:pt x="36" y="8"/>
                    <a:pt x="35" y="9"/>
                    <a:pt x="34" y="11"/>
                  </a:cubicBezTo>
                  <a:cubicBezTo>
                    <a:pt x="34" y="11"/>
                    <a:pt x="33" y="11"/>
                    <a:pt x="33" y="12"/>
                  </a:cubicBezTo>
                  <a:cubicBezTo>
                    <a:pt x="32" y="13"/>
                    <a:pt x="31" y="15"/>
                    <a:pt x="30" y="17"/>
                  </a:cubicBezTo>
                  <a:cubicBezTo>
                    <a:pt x="29" y="17"/>
                    <a:pt x="29" y="17"/>
                    <a:pt x="29" y="18"/>
                  </a:cubicBezTo>
                  <a:cubicBezTo>
                    <a:pt x="28" y="19"/>
                    <a:pt x="27" y="20"/>
                    <a:pt x="26" y="22"/>
                  </a:cubicBezTo>
                  <a:cubicBezTo>
                    <a:pt x="26" y="22"/>
                    <a:pt x="26" y="23"/>
                    <a:pt x="25" y="23"/>
                  </a:cubicBezTo>
                  <a:cubicBezTo>
                    <a:pt x="25" y="24"/>
                    <a:pt x="24" y="25"/>
                    <a:pt x="23" y="26"/>
                  </a:cubicBezTo>
                  <a:cubicBezTo>
                    <a:pt x="23" y="27"/>
                    <a:pt x="22" y="28"/>
                    <a:pt x="22" y="28"/>
                  </a:cubicBezTo>
                  <a:cubicBezTo>
                    <a:pt x="21" y="29"/>
                    <a:pt x="21" y="30"/>
                    <a:pt x="20" y="31"/>
                  </a:cubicBezTo>
                  <a:cubicBezTo>
                    <a:pt x="20" y="32"/>
                    <a:pt x="19" y="33"/>
                    <a:pt x="19" y="33"/>
                  </a:cubicBezTo>
                  <a:cubicBezTo>
                    <a:pt x="19" y="34"/>
                    <a:pt x="18" y="34"/>
                    <a:pt x="18" y="35"/>
                  </a:cubicBezTo>
                  <a:cubicBezTo>
                    <a:pt x="17" y="36"/>
                    <a:pt x="17" y="38"/>
                    <a:pt x="16" y="39"/>
                  </a:cubicBezTo>
                  <a:cubicBezTo>
                    <a:pt x="16" y="39"/>
                    <a:pt x="16" y="39"/>
                    <a:pt x="16" y="40"/>
                  </a:cubicBezTo>
                  <a:cubicBezTo>
                    <a:pt x="15" y="41"/>
                    <a:pt x="14" y="43"/>
                    <a:pt x="13" y="44"/>
                  </a:cubicBezTo>
                  <a:cubicBezTo>
                    <a:pt x="13" y="45"/>
                    <a:pt x="13" y="45"/>
                    <a:pt x="13" y="45"/>
                  </a:cubicBezTo>
                  <a:cubicBezTo>
                    <a:pt x="12" y="47"/>
                    <a:pt x="11" y="49"/>
                    <a:pt x="10" y="51"/>
                  </a:cubicBezTo>
                  <a:cubicBezTo>
                    <a:pt x="10" y="51"/>
                    <a:pt x="10" y="51"/>
                    <a:pt x="10" y="51"/>
                  </a:cubicBezTo>
                  <a:cubicBezTo>
                    <a:pt x="9" y="53"/>
                    <a:pt x="8" y="55"/>
                    <a:pt x="8" y="57"/>
                  </a:cubicBezTo>
                  <a:cubicBezTo>
                    <a:pt x="7" y="57"/>
                    <a:pt x="7" y="57"/>
                    <a:pt x="7" y="58"/>
                  </a:cubicBezTo>
                  <a:cubicBezTo>
                    <a:pt x="6" y="59"/>
                    <a:pt x="6" y="61"/>
                    <a:pt x="5" y="63"/>
                  </a:cubicBezTo>
                  <a:cubicBezTo>
                    <a:pt x="5" y="63"/>
                    <a:pt x="5" y="64"/>
                    <a:pt x="4" y="65"/>
                  </a:cubicBezTo>
                  <a:cubicBezTo>
                    <a:pt x="3" y="67"/>
                    <a:pt x="3" y="69"/>
                    <a:pt x="2" y="71"/>
                  </a:cubicBezTo>
                  <a:cubicBezTo>
                    <a:pt x="0" y="76"/>
                    <a:pt x="1" y="85"/>
                    <a:pt x="3" y="95"/>
                  </a:cubicBezTo>
                  <a:cubicBezTo>
                    <a:pt x="18" y="147"/>
                    <a:pt x="92" y="237"/>
                    <a:pt x="169" y="296"/>
                  </a:cubicBezTo>
                  <a:cubicBezTo>
                    <a:pt x="217" y="332"/>
                    <a:pt x="255" y="348"/>
                    <a:pt x="273" y="342"/>
                  </a:cubicBezTo>
                  <a:cubicBezTo>
                    <a:pt x="275" y="342"/>
                    <a:pt x="276" y="341"/>
                    <a:pt x="279" y="340"/>
                  </a:cubicBezTo>
                  <a:cubicBezTo>
                    <a:pt x="279" y="340"/>
                    <a:pt x="280" y="340"/>
                    <a:pt x="281" y="339"/>
                  </a:cubicBezTo>
                  <a:cubicBezTo>
                    <a:pt x="282" y="339"/>
                    <a:pt x="284" y="338"/>
                    <a:pt x="286" y="337"/>
                  </a:cubicBezTo>
                  <a:cubicBezTo>
                    <a:pt x="286" y="337"/>
                    <a:pt x="287" y="337"/>
                    <a:pt x="287" y="337"/>
                  </a:cubicBezTo>
                  <a:cubicBezTo>
                    <a:pt x="289" y="336"/>
                    <a:pt x="291" y="335"/>
                    <a:pt x="293" y="334"/>
                  </a:cubicBezTo>
                  <a:cubicBezTo>
                    <a:pt x="293" y="334"/>
                    <a:pt x="293" y="334"/>
                    <a:pt x="293" y="334"/>
                  </a:cubicBezTo>
                  <a:cubicBezTo>
                    <a:pt x="295" y="334"/>
                    <a:pt x="297" y="333"/>
                    <a:pt x="299" y="332"/>
                  </a:cubicBezTo>
                  <a:cubicBezTo>
                    <a:pt x="299" y="332"/>
                    <a:pt x="299" y="332"/>
                    <a:pt x="299" y="331"/>
                  </a:cubicBezTo>
                  <a:cubicBezTo>
                    <a:pt x="301" y="331"/>
                    <a:pt x="302" y="330"/>
                    <a:pt x="304" y="329"/>
                  </a:cubicBezTo>
                  <a:cubicBezTo>
                    <a:pt x="304" y="329"/>
                    <a:pt x="305" y="329"/>
                    <a:pt x="305" y="329"/>
                  </a:cubicBezTo>
                  <a:cubicBezTo>
                    <a:pt x="306" y="328"/>
                    <a:pt x="307" y="327"/>
                    <a:pt x="309" y="327"/>
                  </a:cubicBezTo>
                  <a:cubicBezTo>
                    <a:pt x="309" y="326"/>
                    <a:pt x="310" y="326"/>
                    <a:pt x="310" y="326"/>
                  </a:cubicBezTo>
                  <a:cubicBezTo>
                    <a:pt x="311" y="325"/>
                    <a:pt x="312" y="325"/>
                    <a:pt x="313" y="324"/>
                  </a:cubicBezTo>
                  <a:cubicBezTo>
                    <a:pt x="314" y="324"/>
                    <a:pt x="315" y="323"/>
                    <a:pt x="315" y="323"/>
                  </a:cubicBezTo>
                  <a:cubicBezTo>
                    <a:pt x="316" y="322"/>
                    <a:pt x="317" y="322"/>
                    <a:pt x="317" y="322"/>
                  </a:cubicBezTo>
                  <a:cubicBezTo>
                    <a:pt x="318" y="321"/>
                    <a:pt x="319" y="320"/>
                    <a:pt x="321" y="319"/>
                  </a:cubicBezTo>
                  <a:cubicBezTo>
                    <a:pt x="321" y="319"/>
                    <a:pt x="322" y="319"/>
                    <a:pt x="322" y="318"/>
                  </a:cubicBezTo>
                  <a:cubicBezTo>
                    <a:pt x="323" y="318"/>
                    <a:pt x="325" y="317"/>
                    <a:pt x="326" y="316"/>
                  </a:cubicBezTo>
                  <a:cubicBezTo>
                    <a:pt x="326" y="316"/>
                    <a:pt x="327" y="315"/>
                    <a:pt x="327" y="315"/>
                  </a:cubicBezTo>
                  <a:cubicBezTo>
                    <a:pt x="329" y="314"/>
                    <a:pt x="330" y="313"/>
                    <a:pt x="332" y="312"/>
                  </a:cubicBezTo>
                  <a:cubicBezTo>
                    <a:pt x="332" y="311"/>
                    <a:pt x="333" y="311"/>
                    <a:pt x="333" y="311"/>
                  </a:cubicBezTo>
                  <a:cubicBezTo>
                    <a:pt x="335" y="310"/>
                    <a:pt x="336" y="308"/>
                    <a:pt x="337" y="308"/>
                  </a:cubicBezTo>
                  <a:cubicBezTo>
                    <a:pt x="338" y="307"/>
                    <a:pt x="339" y="307"/>
                    <a:pt x="339" y="306"/>
                  </a:cubicBezTo>
                  <a:cubicBezTo>
                    <a:pt x="341" y="305"/>
                    <a:pt x="343" y="303"/>
                    <a:pt x="344" y="302"/>
                  </a:cubicBezTo>
                  <a:cubicBezTo>
                    <a:pt x="342" y="304"/>
                    <a:pt x="340" y="305"/>
                    <a:pt x="338" y="306"/>
                  </a:cubicBezTo>
                  <a:cubicBezTo>
                    <a:pt x="318" y="312"/>
                    <a:pt x="276" y="295"/>
                    <a:pt x="223" y="2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4434207D-93F3-41F1-9EC2-956732160AD4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9B9844CC-FD9F-4C6E-B3F6-9BF896F74472}"/>
                </a:ext>
              </a:extLst>
            </p:cNvPr>
            <p:cNvSpPr/>
            <p:nvPr/>
          </p:nvSpPr>
          <p:spPr bwMode="auto">
            <a:xfrm rot="19847212">
              <a:off x="7120791" y="4238242"/>
              <a:ext cx="0" cy="0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9425100B-7D48-4D42-908B-011B6366A1F2}"/>
                </a:ext>
              </a:extLst>
            </p:cNvPr>
            <p:cNvSpPr/>
            <p:nvPr/>
          </p:nvSpPr>
          <p:spPr bwMode="auto">
            <a:xfrm rot="19847212">
              <a:off x="4790063" y="2388975"/>
              <a:ext cx="2239759" cy="2448574"/>
            </a:xfrm>
            <a:custGeom>
              <a:avLst/>
              <a:gdLst>
                <a:gd name="T0" fmla="*/ 292 w 316"/>
                <a:gd name="T1" fmla="*/ 314 h 314"/>
                <a:gd name="T2" fmla="*/ 186 w 316"/>
                <a:gd name="T3" fmla="*/ 262 h 314"/>
                <a:gd name="T4" fmla="*/ 4 w 316"/>
                <a:gd name="T5" fmla="*/ 40 h 314"/>
                <a:gd name="T6" fmla="*/ 6 w 316"/>
                <a:gd name="T7" fmla="*/ 7 h 314"/>
                <a:gd name="T8" fmla="*/ 24 w 316"/>
                <a:gd name="T9" fmla="*/ 0 h 314"/>
                <a:gd name="T10" fmla="*/ 130 w 316"/>
                <a:gd name="T11" fmla="*/ 53 h 314"/>
                <a:gd name="T12" fmla="*/ 312 w 316"/>
                <a:gd name="T13" fmla="*/ 274 h 314"/>
                <a:gd name="T14" fmla="*/ 311 w 316"/>
                <a:gd name="T15" fmla="*/ 307 h 314"/>
                <a:gd name="T16" fmla="*/ 292 w 316"/>
                <a:gd name="T17" fmla="*/ 314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6" h="314">
                  <a:moveTo>
                    <a:pt x="292" y="314"/>
                  </a:moveTo>
                  <a:cubicBezTo>
                    <a:pt x="269" y="314"/>
                    <a:pt x="230" y="295"/>
                    <a:pt x="186" y="262"/>
                  </a:cubicBezTo>
                  <a:cubicBezTo>
                    <a:pt x="102" y="197"/>
                    <a:pt x="20" y="98"/>
                    <a:pt x="4" y="40"/>
                  </a:cubicBezTo>
                  <a:cubicBezTo>
                    <a:pt x="0" y="25"/>
                    <a:pt x="0" y="14"/>
                    <a:pt x="6" y="7"/>
                  </a:cubicBezTo>
                  <a:cubicBezTo>
                    <a:pt x="9" y="2"/>
                    <a:pt x="16" y="0"/>
                    <a:pt x="24" y="0"/>
                  </a:cubicBezTo>
                  <a:cubicBezTo>
                    <a:pt x="47" y="0"/>
                    <a:pt x="86" y="19"/>
                    <a:pt x="130" y="53"/>
                  </a:cubicBezTo>
                  <a:cubicBezTo>
                    <a:pt x="214" y="117"/>
                    <a:pt x="296" y="217"/>
                    <a:pt x="312" y="274"/>
                  </a:cubicBezTo>
                  <a:cubicBezTo>
                    <a:pt x="316" y="289"/>
                    <a:pt x="316" y="300"/>
                    <a:pt x="311" y="307"/>
                  </a:cubicBezTo>
                  <a:cubicBezTo>
                    <a:pt x="307" y="312"/>
                    <a:pt x="300" y="314"/>
                    <a:pt x="292" y="314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6621E19-A5DA-46D6-A682-E4816665C753}"/>
                </a:ext>
              </a:extLst>
            </p:cNvPr>
            <p:cNvSpPr/>
            <p:nvPr/>
          </p:nvSpPr>
          <p:spPr bwMode="auto">
            <a:xfrm rot="19847212">
              <a:off x="4651651" y="3476833"/>
              <a:ext cx="1737383" cy="1919418"/>
            </a:xfrm>
            <a:custGeom>
              <a:avLst/>
              <a:gdLst>
                <a:gd name="T0" fmla="*/ 245 w 245"/>
                <a:gd name="T1" fmla="*/ 243 h 246"/>
                <a:gd name="T2" fmla="*/ 154 w 245"/>
                <a:gd name="T3" fmla="*/ 200 h 246"/>
                <a:gd name="T4" fmla="*/ 3 w 245"/>
                <a:gd name="T5" fmla="*/ 0 h 246"/>
                <a:gd name="T6" fmla="*/ 3 w 245"/>
                <a:gd name="T7" fmla="*/ 0 h 246"/>
                <a:gd name="T8" fmla="*/ 1 w 245"/>
                <a:gd name="T9" fmla="*/ 21 h 246"/>
                <a:gd name="T10" fmla="*/ 1 w 245"/>
                <a:gd name="T11" fmla="*/ 23 h 246"/>
                <a:gd name="T12" fmla="*/ 1 w 245"/>
                <a:gd name="T13" fmla="*/ 31 h 246"/>
                <a:gd name="T14" fmla="*/ 1 w 245"/>
                <a:gd name="T15" fmla="*/ 43 h 246"/>
                <a:gd name="T16" fmla="*/ 2 w 245"/>
                <a:gd name="T17" fmla="*/ 53 h 246"/>
                <a:gd name="T18" fmla="*/ 6 w 245"/>
                <a:gd name="T19" fmla="*/ 79 h 246"/>
                <a:gd name="T20" fmla="*/ 7 w 245"/>
                <a:gd name="T21" fmla="*/ 84 h 246"/>
                <a:gd name="T22" fmla="*/ 8 w 245"/>
                <a:gd name="T23" fmla="*/ 86 h 246"/>
                <a:gd name="T24" fmla="*/ 10 w 245"/>
                <a:gd name="T25" fmla="*/ 93 h 246"/>
                <a:gd name="T26" fmla="*/ 11 w 245"/>
                <a:gd name="T27" fmla="*/ 97 h 246"/>
                <a:gd name="T28" fmla="*/ 12 w 245"/>
                <a:gd name="T29" fmla="*/ 101 h 246"/>
                <a:gd name="T30" fmla="*/ 12 w 245"/>
                <a:gd name="T31" fmla="*/ 102 h 246"/>
                <a:gd name="T32" fmla="*/ 15 w 245"/>
                <a:gd name="T33" fmla="*/ 110 h 246"/>
                <a:gd name="T34" fmla="*/ 24 w 245"/>
                <a:gd name="T35" fmla="*/ 129 h 246"/>
                <a:gd name="T36" fmla="*/ 26 w 245"/>
                <a:gd name="T37" fmla="*/ 132 h 246"/>
                <a:gd name="T38" fmla="*/ 30 w 245"/>
                <a:gd name="T39" fmla="*/ 139 h 246"/>
                <a:gd name="T40" fmla="*/ 32 w 245"/>
                <a:gd name="T41" fmla="*/ 143 h 246"/>
                <a:gd name="T42" fmla="*/ 34 w 245"/>
                <a:gd name="T43" fmla="*/ 147 h 246"/>
                <a:gd name="T44" fmla="*/ 36 w 245"/>
                <a:gd name="T45" fmla="*/ 150 h 246"/>
                <a:gd name="T46" fmla="*/ 42 w 245"/>
                <a:gd name="T47" fmla="*/ 158 h 246"/>
                <a:gd name="T48" fmla="*/ 54 w 245"/>
                <a:gd name="T49" fmla="*/ 173 h 246"/>
                <a:gd name="T50" fmla="*/ 56 w 245"/>
                <a:gd name="T51" fmla="*/ 176 h 246"/>
                <a:gd name="T52" fmla="*/ 63 w 245"/>
                <a:gd name="T53" fmla="*/ 183 h 246"/>
                <a:gd name="T54" fmla="*/ 67 w 245"/>
                <a:gd name="T55" fmla="*/ 186 h 246"/>
                <a:gd name="T56" fmla="*/ 80 w 245"/>
                <a:gd name="T57" fmla="*/ 198 h 246"/>
                <a:gd name="T58" fmla="*/ 85 w 245"/>
                <a:gd name="T59" fmla="*/ 202 h 246"/>
                <a:gd name="T60" fmla="*/ 90 w 245"/>
                <a:gd name="T61" fmla="*/ 206 h 246"/>
                <a:gd name="T62" fmla="*/ 98 w 245"/>
                <a:gd name="T63" fmla="*/ 211 h 246"/>
                <a:gd name="T64" fmla="*/ 109 w 245"/>
                <a:gd name="T65" fmla="*/ 218 h 246"/>
                <a:gd name="T66" fmla="*/ 112 w 245"/>
                <a:gd name="T67" fmla="*/ 219 h 246"/>
                <a:gd name="T68" fmla="*/ 116 w 245"/>
                <a:gd name="T69" fmla="*/ 221 h 246"/>
                <a:gd name="T70" fmla="*/ 120 w 245"/>
                <a:gd name="T71" fmla="*/ 223 h 246"/>
                <a:gd name="T72" fmla="*/ 123 w 245"/>
                <a:gd name="T73" fmla="*/ 225 h 246"/>
                <a:gd name="T74" fmla="*/ 137 w 245"/>
                <a:gd name="T75" fmla="*/ 231 h 246"/>
                <a:gd name="T76" fmla="*/ 149 w 245"/>
                <a:gd name="T77" fmla="*/ 235 h 246"/>
                <a:gd name="T78" fmla="*/ 163 w 245"/>
                <a:gd name="T79" fmla="*/ 239 h 246"/>
                <a:gd name="T80" fmla="*/ 166 w 245"/>
                <a:gd name="T81" fmla="*/ 240 h 246"/>
                <a:gd name="T82" fmla="*/ 172 w 245"/>
                <a:gd name="T83" fmla="*/ 241 h 246"/>
                <a:gd name="T84" fmla="*/ 182 w 245"/>
                <a:gd name="T85" fmla="*/ 243 h 246"/>
                <a:gd name="T86" fmla="*/ 190 w 245"/>
                <a:gd name="T87" fmla="*/ 244 h 246"/>
                <a:gd name="T88" fmla="*/ 197 w 245"/>
                <a:gd name="T89" fmla="*/ 245 h 246"/>
                <a:gd name="T90" fmla="*/ 203 w 245"/>
                <a:gd name="T91" fmla="*/ 245 h 246"/>
                <a:gd name="T92" fmla="*/ 222 w 245"/>
                <a:gd name="T93" fmla="*/ 245 h 246"/>
                <a:gd name="T94" fmla="*/ 239 w 245"/>
                <a:gd name="T95" fmla="*/ 244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45" h="246">
                  <a:moveTo>
                    <a:pt x="245" y="243"/>
                  </a:moveTo>
                  <a:cubicBezTo>
                    <a:pt x="245" y="243"/>
                    <a:pt x="245" y="243"/>
                    <a:pt x="245" y="243"/>
                  </a:cubicBezTo>
                  <a:cubicBezTo>
                    <a:pt x="245" y="243"/>
                    <a:pt x="245" y="243"/>
                    <a:pt x="245" y="243"/>
                  </a:cubicBezTo>
                  <a:cubicBezTo>
                    <a:pt x="227" y="246"/>
                    <a:pt x="195" y="231"/>
                    <a:pt x="154" y="200"/>
                  </a:cubicBezTo>
                  <a:cubicBezTo>
                    <a:pt x="85" y="147"/>
                    <a:pt x="18" y="66"/>
                    <a:pt x="5" y="18"/>
                  </a:cubicBezTo>
                  <a:cubicBezTo>
                    <a:pt x="3" y="11"/>
                    <a:pt x="2" y="5"/>
                    <a:pt x="3" y="0"/>
                  </a:cubicBezTo>
                  <a:cubicBezTo>
                    <a:pt x="2" y="5"/>
                    <a:pt x="2" y="11"/>
                    <a:pt x="1" y="16"/>
                  </a:cubicBezTo>
                  <a:cubicBezTo>
                    <a:pt x="2" y="11"/>
                    <a:pt x="2" y="5"/>
                    <a:pt x="3" y="0"/>
                  </a:cubicBezTo>
                  <a:cubicBezTo>
                    <a:pt x="2" y="7"/>
                    <a:pt x="1" y="14"/>
                    <a:pt x="1" y="21"/>
                  </a:cubicBezTo>
                  <a:cubicBezTo>
                    <a:pt x="1" y="21"/>
                    <a:pt x="1" y="21"/>
                    <a:pt x="1" y="21"/>
                  </a:cubicBezTo>
                  <a:cubicBezTo>
                    <a:pt x="1" y="21"/>
                    <a:pt x="1" y="21"/>
                    <a:pt x="1" y="22"/>
                  </a:cubicBezTo>
                  <a:cubicBezTo>
                    <a:pt x="1" y="22"/>
                    <a:pt x="1" y="22"/>
                    <a:pt x="1" y="23"/>
                  </a:cubicBezTo>
                  <a:cubicBezTo>
                    <a:pt x="1" y="24"/>
                    <a:pt x="1" y="25"/>
                    <a:pt x="1" y="26"/>
                  </a:cubicBezTo>
                  <a:cubicBezTo>
                    <a:pt x="1" y="28"/>
                    <a:pt x="1" y="29"/>
                    <a:pt x="1" y="31"/>
                  </a:cubicBezTo>
                  <a:cubicBezTo>
                    <a:pt x="1" y="31"/>
                    <a:pt x="1" y="32"/>
                    <a:pt x="1" y="32"/>
                  </a:cubicBezTo>
                  <a:cubicBezTo>
                    <a:pt x="0" y="36"/>
                    <a:pt x="1" y="39"/>
                    <a:pt x="1" y="43"/>
                  </a:cubicBezTo>
                  <a:cubicBezTo>
                    <a:pt x="1" y="44"/>
                    <a:pt x="1" y="44"/>
                    <a:pt x="1" y="45"/>
                  </a:cubicBezTo>
                  <a:cubicBezTo>
                    <a:pt x="1" y="47"/>
                    <a:pt x="1" y="50"/>
                    <a:pt x="2" y="53"/>
                  </a:cubicBezTo>
                  <a:cubicBezTo>
                    <a:pt x="2" y="53"/>
                    <a:pt x="2" y="53"/>
                    <a:pt x="2" y="54"/>
                  </a:cubicBezTo>
                  <a:cubicBezTo>
                    <a:pt x="2" y="55"/>
                    <a:pt x="3" y="65"/>
                    <a:pt x="6" y="79"/>
                  </a:cubicBezTo>
                  <a:cubicBezTo>
                    <a:pt x="6" y="79"/>
                    <a:pt x="6" y="80"/>
                    <a:pt x="6" y="80"/>
                  </a:cubicBezTo>
                  <a:cubicBezTo>
                    <a:pt x="6" y="81"/>
                    <a:pt x="7" y="82"/>
                    <a:pt x="7" y="84"/>
                  </a:cubicBezTo>
                  <a:cubicBezTo>
                    <a:pt x="7" y="84"/>
                    <a:pt x="7" y="84"/>
                    <a:pt x="7" y="84"/>
                  </a:cubicBezTo>
                  <a:cubicBezTo>
                    <a:pt x="7" y="85"/>
                    <a:pt x="8" y="86"/>
                    <a:pt x="8" y="86"/>
                  </a:cubicBezTo>
                  <a:cubicBezTo>
                    <a:pt x="8" y="87"/>
                    <a:pt x="8" y="88"/>
                    <a:pt x="8" y="88"/>
                  </a:cubicBezTo>
                  <a:cubicBezTo>
                    <a:pt x="8" y="89"/>
                    <a:pt x="9" y="90"/>
                    <a:pt x="10" y="93"/>
                  </a:cubicBezTo>
                  <a:cubicBezTo>
                    <a:pt x="10" y="94"/>
                    <a:pt x="10" y="94"/>
                    <a:pt x="10" y="95"/>
                  </a:cubicBezTo>
                  <a:cubicBezTo>
                    <a:pt x="10" y="95"/>
                    <a:pt x="10" y="96"/>
                    <a:pt x="11" y="97"/>
                  </a:cubicBezTo>
                  <a:cubicBezTo>
                    <a:pt x="11" y="97"/>
                    <a:pt x="11" y="97"/>
                    <a:pt x="11" y="98"/>
                  </a:cubicBezTo>
                  <a:cubicBezTo>
                    <a:pt x="11" y="99"/>
                    <a:pt x="12" y="100"/>
                    <a:pt x="12" y="101"/>
                  </a:cubicBezTo>
                  <a:cubicBezTo>
                    <a:pt x="12" y="101"/>
                    <a:pt x="12" y="101"/>
                    <a:pt x="12" y="101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3" y="104"/>
                    <a:pt x="14" y="106"/>
                    <a:pt x="15" y="109"/>
                  </a:cubicBezTo>
                  <a:cubicBezTo>
                    <a:pt x="15" y="109"/>
                    <a:pt x="15" y="110"/>
                    <a:pt x="15" y="110"/>
                  </a:cubicBezTo>
                  <a:cubicBezTo>
                    <a:pt x="15" y="110"/>
                    <a:pt x="16" y="110"/>
                    <a:pt x="16" y="110"/>
                  </a:cubicBezTo>
                  <a:cubicBezTo>
                    <a:pt x="18" y="117"/>
                    <a:pt x="20" y="120"/>
                    <a:pt x="24" y="129"/>
                  </a:cubicBezTo>
                  <a:cubicBezTo>
                    <a:pt x="24" y="129"/>
                    <a:pt x="24" y="130"/>
                    <a:pt x="26" y="132"/>
                  </a:cubicBezTo>
                  <a:cubicBezTo>
                    <a:pt x="26" y="132"/>
                    <a:pt x="26" y="132"/>
                    <a:pt x="26" y="132"/>
                  </a:cubicBezTo>
                  <a:cubicBezTo>
                    <a:pt x="27" y="134"/>
                    <a:pt x="28" y="137"/>
                    <a:pt x="30" y="139"/>
                  </a:cubicBezTo>
                  <a:cubicBezTo>
                    <a:pt x="30" y="139"/>
                    <a:pt x="30" y="139"/>
                    <a:pt x="30" y="139"/>
                  </a:cubicBezTo>
                  <a:cubicBezTo>
                    <a:pt x="30" y="139"/>
                    <a:pt x="30" y="140"/>
                    <a:pt x="30" y="140"/>
                  </a:cubicBezTo>
                  <a:cubicBezTo>
                    <a:pt x="31" y="141"/>
                    <a:pt x="31" y="142"/>
                    <a:pt x="32" y="143"/>
                  </a:cubicBezTo>
                  <a:cubicBezTo>
                    <a:pt x="33" y="144"/>
                    <a:pt x="33" y="145"/>
                    <a:pt x="34" y="147"/>
                  </a:cubicBezTo>
                  <a:cubicBezTo>
                    <a:pt x="34" y="147"/>
                    <a:pt x="34" y="147"/>
                    <a:pt x="34" y="147"/>
                  </a:cubicBezTo>
                  <a:cubicBezTo>
                    <a:pt x="35" y="148"/>
                    <a:pt x="35" y="148"/>
                    <a:pt x="36" y="149"/>
                  </a:cubicBezTo>
                  <a:cubicBezTo>
                    <a:pt x="36" y="149"/>
                    <a:pt x="36" y="149"/>
                    <a:pt x="36" y="150"/>
                  </a:cubicBezTo>
                  <a:cubicBezTo>
                    <a:pt x="36" y="150"/>
                    <a:pt x="36" y="150"/>
                    <a:pt x="37" y="150"/>
                  </a:cubicBezTo>
                  <a:cubicBezTo>
                    <a:pt x="38" y="153"/>
                    <a:pt x="40" y="155"/>
                    <a:pt x="42" y="158"/>
                  </a:cubicBezTo>
                  <a:cubicBezTo>
                    <a:pt x="42" y="158"/>
                    <a:pt x="42" y="159"/>
                    <a:pt x="43" y="159"/>
                  </a:cubicBezTo>
                  <a:cubicBezTo>
                    <a:pt x="45" y="163"/>
                    <a:pt x="49" y="168"/>
                    <a:pt x="54" y="173"/>
                  </a:cubicBezTo>
                  <a:cubicBezTo>
                    <a:pt x="55" y="174"/>
                    <a:pt x="55" y="175"/>
                    <a:pt x="56" y="176"/>
                  </a:cubicBezTo>
                  <a:cubicBezTo>
                    <a:pt x="56" y="176"/>
                    <a:pt x="56" y="176"/>
                    <a:pt x="56" y="176"/>
                  </a:cubicBezTo>
                  <a:cubicBezTo>
                    <a:pt x="58" y="178"/>
                    <a:pt x="60" y="180"/>
                    <a:pt x="62" y="182"/>
                  </a:cubicBezTo>
                  <a:cubicBezTo>
                    <a:pt x="62" y="182"/>
                    <a:pt x="63" y="182"/>
                    <a:pt x="63" y="183"/>
                  </a:cubicBezTo>
                  <a:cubicBezTo>
                    <a:pt x="64" y="184"/>
                    <a:pt x="65" y="185"/>
                    <a:pt x="66" y="185"/>
                  </a:cubicBezTo>
                  <a:cubicBezTo>
                    <a:pt x="66" y="186"/>
                    <a:pt x="67" y="186"/>
                    <a:pt x="67" y="186"/>
                  </a:cubicBezTo>
                  <a:cubicBezTo>
                    <a:pt x="67" y="187"/>
                    <a:pt x="68" y="188"/>
                    <a:pt x="69" y="188"/>
                  </a:cubicBezTo>
                  <a:cubicBezTo>
                    <a:pt x="73" y="192"/>
                    <a:pt x="76" y="195"/>
                    <a:pt x="80" y="198"/>
                  </a:cubicBezTo>
                  <a:cubicBezTo>
                    <a:pt x="80" y="198"/>
                    <a:pt x="80" y="198"/>
                    <a:pt x="81" y="199"/>
                  </a:cubicBezTo>
                  <a:cubicBezTo>
                    <a:pt x="82" y="200"/>
                    <a:pt x="83" y="201"/>
                    <a:pt x="85" y="202"/>
                  </a:cubicBezTo>
                  <a:cubicBezTo>
                    <a:pt x="85" y="202"/>
                    <a:pt x="85" y="202"/>
                    <a:pt x="86" y="202"/>
                  </a:cubicBezTo>
                  <a:cubicBezTo>
                    <a:pt x="87" y="204"/>
                    <a:pt x="89" y="205"/>
                    <a:pt x="90" y="206"/>
                  </a:cubicBezTo>
                  <a:cubicBezTo>
                    <a:pt x="90" y="206"/>
                    <a:pt x="90" y="206"/>
                    <a:pt x="90" y="206"/>
                  </a:cubicBezTo>
                  <a:cubicBezTo>
                    <a:pt x="94" y="208"/>
                    <a:pt x="97" y="210"/>
                    <a:pt x="98" y="211"/>
                  </a:cubicBezTo>
                  <a:cubicBezTo>
                    <a:pt x="102" y="213"/>
                    <a:pt x="105" y="215"/>
                    <a:pt x="108" y="217"/>
                  </a:cubicBezTo>
                  <a:cubicBezTo>
                    <a:pt x="108" y="217"/>
                    <a:pt x="108" y="217"/>
                    <a:pt x="109" y="218"/>
                  </a:cubicBezTo>
                  <a:cubicBezTo>
                    <a:pt x="110" y="218"/>
                    <a:pt x="110" y="218"/>
                    <a:pt x="111" y="219"/>
                  </a:cubicBezTo>
                  <a:cubicBezTo>
                    <a:pt x="112" y="219"/>
                    <a:pt x="112" y="219"/>
                    <a:pt x="112" y="219"/>
                  </a:cubicBezTo>
                  <a:cubicBezTo>
                    <a:pt x="113" y="220"/>
                    <a:pt x="114" y="221"/>
                    <a:pt x="115" y="221"/>
                  </a:cubicBezTo>
                  <a:cubicBezTo>
                    <a:pt x="116" y="221"/>
                    <a:pt x="116" y="221"/>
                    <a:pt x="116" y="221"/>
                  </a:cubicBezTo>
                  <a:cubicBezTo>
                    <a:pt x="117" y="222"/>
                    <a:pt x="118" y="222"/>
                    <a:pt x="119" y="223"/>
                  </a:cubicBezTo>
                  <a:cubicBezTo>
                    <a:pt x="119" y="223"/>
                    <a:pt x="119" y="223"/>
                    <a:pt x="120" y="223"/>
                  </a:cubicBezTo>
                  <a:cubicBezTo>
                    <a:pt x="120" y="224"/>
                    <a:pt x="121" y="224"/>
                    <a:pt x="122" y="224"/>
                  </a:cubicBezTo>
                  <a:cubicBezTo>
                    <a:pt x="122" y="225"/>
                    <a:pt x="123" y="225"/>
                    <a:pt x="123" y="225"/>
                  </a:cubicBezTo>
                  <a:cubicBezTo>
                    <a:pt x="124" y="225"/>
                    <a:pt x="124" y="226"/>
                    <a:pt x="125" y="226"/>
                  </a:cubicBezTo>
                  <a:cubicBezTo>
                    <a:pt x="129" y="228"/>
                    <a:pt x="134" y="230"/>
                    <a:pt x="137" y="231"/>
                  </a:cubicBezTo>
                  <a:cubicBezTo>
                    <a:pt x="140" y="232"/>
                    <a:pt x="145" y="234"/>
                    <a:pt x="148" y="235"/>
                  </a:cubicBezTo>
                  <a:cubicBezTo>
                    <a:pt x="148" y="235"/>
                    <a:pt x="149" y="235"/>
                    <a:pt x="149" y="235"/>
                  </a:cubicBezTo>
                  <a:cubicBezTo>
                    <a:pt x="153" y="236"/>
                    <a:pt x="156" y="237"/>
                    <a:pt x="161" y="239"/>
                  </a:cubicBezTo>
                  <a:cubicBezTo>
                    <a:pt x="162" y="239"/>
                    <a:pt x="162" y="239"/>
                    <a:pt x="163" y="239"/>
                  </a:cubicBezTo>
                  <a:cubicBezTo>
                    <a:pt x="163" y="239"/>
                    <a:pt x="163" y="239"/>
                    <a:pt x="164" y="239"/>
                  </a:cubicBezTo>
                  <a:cubicBezTo>
                    <a:pt x="164" y="239"/>
                    <a:pt x="165" y="240"/>
                    <a:pt x="166" y="240"/>
                  </a:cubicBezTo>
                  <a:cubicBezTo>
                    <a:pt x="166" y="240"/>
                    <a:pt x="166" y="240"/>
                    <a:pt x="167" y="240"/>
                  </a:cubicBezTo>
                  <a:cubicBezTo>
                    <a:pt x="169" y="240"/>
                    <a:pt x="170" y="241"/>
                    <a:pt x="172" y="241"/>
                  </a:cubicBezTo>
                  <a:cubicBezTo>
                    <a:pt x="175" y="242"/>
                    <a:pt x="177" y="242"/>
                    <a:pt x="180" y="243"/>
                  </a:cubicBezTo>
                  <a:cubicBezTo>
                    <a:pt x="180" y="243"/>
                    <a:pt x="181" y="243"/>
                    <a:pt x="182" y="243"/>
                  </a:cubicBezTo>
                  <a:cubicBezTo>
                    <a:pt x="182" y="243"/>
                    <a:pt x="182" y="243"/>
                    <a:pt x="182" y="243"/>
                  </a:cubicBezTo>
                  <a:cubicBezTo>
                    <a:pt x="186" y="244"/>
                    <a:pt x="190" y="244"/>
                    <a:pt x="190" y="244"/>
                  </a:cubicBezTo>
                  <a:cubicBezTo>
                    <a:pt x="190" y="244"/>
                    <a:pt x="190" y="244"/>
                    <a:pt x="191" y="244"/>
                  </a:cubicBezTo>
                  <a:cubicBezTo>
                    <a:pt x="193" y="244"/>
                    <a:pt x="196" y="245"/>
                    <a:pt x="197" y="245"/>
                  </a:cubicBezTo>
                  <a:cubicBezTo>
                    <a:pt x="198" y="245"/>
                    <a:pt x="199" y="245"/>
                    <a:pt x="200" y="245"/>
                  </a:cubicBezTo>
                  <a:cubicBezTo>
                    <a:pt x="201" y="245"/>
                    <a:pt x="203" y="245"/>
                    <a:pt x="203" y="245"/>
                  </a:cubicBezTo>
                  <a:cubicBezTo>
                    <a:pt x="213" y="245"/>
                    <a:pt x="216" y="245"/>
                    <a:pt x="222" y="245"/>
                  </a:cubicBezTo>
                  <a:cubicBezTo>
                    <a:pt x="222" y="245"/>
                    <a:pt x="222" y="245"/>
                    <a:pt x="222" y="245"/>
                  </a:cubicBezTo>
                  <a:cubicBezTo>
                    <a:pt x="222" y="245"/>
                    <a:pt x="229" y="245"/>
                    <a:pt x="239" y="244"/>
                  </a:cubicBezTo>
                  <a:cubicBezTo>
                    <a:pt x="239" y="244"/>
                    <a:pt x="239" y="244"/>
                    <a:pt x="239" y="244"/>
                  </a:cubicBezTo>
                  <a:cubicBezTo>
                    <a:pt x="241" y="244"/>
                    <a:pt x="243" y="243"/>
                    <a:pt x="245" y="243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7C8D47A3-E49E-4125-8B35-200CA0BDE4A7}"/>
                </a:ext>
              </a:extLst>
            </p:cNvPr>
            <p:cNvSpPr/>
            <p:nvPr/>
          </p:nvSpPr>
          <p:spPr bwMode="auto">
            <a:xfrm rot="19847212">
              <a:off x="4886972" y="1684357"/>
              <a:ext cx="2033425" cy="2225080"/>
            </a:xfrm>
            <a:custGeom>
              <a:avLst/>
              <a:gdLst>
                <a:gd name="T0" fmla="*/ 265 w 287"/>
                <a:gd name="T1" fmla="*/ 285 h 285"/>
                <a:gd name="T2" fmla="*/ 169 w 287"/>
                <a:gd name="T3" fmla="*/ 237 h 285"/>
                <a:gd name="T4" fmla="*/ 4 w 287"/>
                <a:gd name="T5" fmla="*/ 36 h 285"/>
                <a:gd name="T6" fmla="*/ 5 w 287"/>
                <a:gd name="T7" fmla="*/ 6 h 285"/>
                <a:gd name="T8" fmla="*/ 22 w 287"/>
                <a:gd name="T9" fmla="*/ 0 h 285"/>
                <a:gd name="T10" fmla="*/ 118 w 287"/>
                <a:gd name="T11" fmla="*/ 47 h 285"/>
                <a:gd name="T12" fmla="*/ 283 w 287"/>
                <a:gd name="T13" fmla="*/ 248 h 285"/>
                <a:gd name="T14" fmla="*/ 282 w 287"/>
                <a:gd name="T15" fmla="*/ 278 h 285"/>
                <a:gd name="T16" fmla="*/ 265 w 287"/>
                <a:gd name="T17" fmla="*/ 285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7" h="285">
                  <a:moveTo>
                    <a:pt x="265" y="285"/>
                  </a:moveTo>
                  <a:cubicBezTo>
                    <a:pt x="244" y="285"/>
                    <a:pt x="209" y="267"/>
                    <a:pt x="169" y="237"/>
                  </a:cubicBezTo>
                  <a:cubicBezTo>
                    <a:pt x="92" y="178"/>
                    <a:pt x="18" y="88"/>
                    <a:pt x="4" y="36"/>
                  </a:cubicBezTo>
                  <a:cubicBezTo>
                    <a:pt x="0" y="22"/>
                    <a:pt x="0" y="13"/>
                    <a:pt x="5" y="6"/>
                  </a:cubicBezTo>
                  <a:cubicBezTo>
                    <a:pt x="8" y="2"/>
                    <a:pt x="14" y="0"/>
                    <a:pt x="22" y="0"/>
                  </a:cubicBezTo>
                  <a:cubicBezTo>
                    <a:pt x="43" y="0"/>
                    <a:pt x="78" y="17"/>
                    <a:pt x="118" y="47"/>
                  </a:cubicBezTo>
                  <a:cubicBezTo>
                    <a:pt x="194" y="106"/>
                    <a:pt x="269" y="196"/>
                    <a:pt x="283" y="248"/>
                  </a:cubicBezTo>
                  <a:cubicBezTo>
                    <a:pt x="287" y="262"/>
                    <a:pt x="286" y="272"/>
                    <a:pt x="282" y="278"/>
                  </a:cubicBezTo>
                  <a:cubicBezTo>
                    <a:pt x="278" y="283"/>
                    <a:pt x="273" y="285"/>
                    <a:pt x="265" y="285"/>
                  </a:cubicBez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5617A1F4-3C0F-4E3A-9351-F8B5A3D030D6}"/>
                </a:ext>
              </a:extLst>
            </p:cNvPr>
            <p:cNvSpPr/>
            <p:nvPr/>
          </p:nvSpPr>
          <p:spPr bwMode="auto">
            <a:xfrm rot="19847212">
              <a:off x="4593047" y="1772982"/>
              <a:ext cx="2481975" cy="2803535"/>
            </a:xfrm>
            <a:custGeom>
              <a:avLst/>
              <a:gdLst>
                <a:gd name="T0" fmla="*/ 310 w 350"/>
                <a:gd name="T1" fmla="*/ 342 h 359"/>
                <a:gd name="T2" fmla="*/ 350 w 350"/>
                <a:gd name="T3" fmla="*/ 272 h 359"/>
                <a:gd name="T4" fmla="*/ 235 w 350"/>
                <a:gd name="T5" fmla="*/ 236 h 359"/>
                <a:gd name="T6" fmla="*/ 70 w 350"/>
                <a:gd name="T7" fmla="*/ 35 h 359"/>
                <a:gd name="T8" fmla="*/ 79 w 350"/>
                <a:gd name="T9" fmla="*/ 0 h 359"/>
                <a:gd name="T10" fmla="*/ 8 w 350"/>
                <a:gd name="T11" fmla="*/ 40 h 359"/>
                <a:gd name="T12" fmla="*/ 4 w 350"/>
                <a:gd name="T13" fmla="*/ 75 h 359"/>
                <a:gd name="T14" fmla="*/ 187 w 350"/>
                <a:gd name="T15" fmla="*/ 296 h 359"/>
                <a:gd name="T16" fmla="*/ 310 w 350"/>
                <a:gd name="T17" fmla="*/ 342 h 3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0" h="359">
                  <a:moveTo>
                    <a:pt x="310" y="342"/>
                  </a:moveTo>
                  <a:cubicBezTo>
                    <a:pt x="336" y="312"/>
                    <a:pt x="346" y="283"/>
                    <a:pt x="350" y="272"/>
                  </a:cubicBezTo>
                  <a:cubicBezTo>
                    <a:pt x="342" y="296"/>
                    <a:pt x="297" y="283"/>
                    <a:pt x="235" y="236"/>
                  </a:cubicBezTo>
                  <a:cubicBezTo>
                    <a:pt x="158" y="177"/>
                    <a:pt x="84" y="87"/>
                    <a:pt x="70" y="35"/>
                  </a:cubicBezTo>
                  <a:cubicBezTo>
                    <a:pt x="65" y="15"/>
                    <a:pt x="68" y="4"/>
                    <a:pt x="79" y="0"/>
                  </a:cubicBezTo>
                  <a:cubicBezTo>
                    <a:pt x="41" y="13"/>
                    <a:pt x="17" y="33"/>
                    <a:pt x="8" y="40"/>
                  </a:cubicBezTo>
                  <a:cubicBezTo>
                    <a:pt x="1" y="46"/>
                    <a:pt x="0" y="58"/>
                    <a:pt x="4" y="75"/>
                  </a:cubicBezTo>
                  <a:cubicBezTo>
                    <a:pt x="20" y="133"/>
                    <a:pt x="102" y="232"/>
                    <a:pt x="187" y="296"/>
                  </a:cubicBezTo>
                  <a:cubicBezTo>
                    <a:pt x="249" y="344"/>
                    <a:pt x="295" y="359"/>
                    <a:pt x="310" y="34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D1305AD0-4478-4727-906E-89D48E95E6BE}"/>
                </a:ext>
              </a:extLst>
            </p:cNvPr>
            <p:cNvSpPr/>
            <p:nvPr/>
          </p:nvSpPr>
          <p:spPr bwMode="auto">
            <a:xfrm rot="19847212">
              <a:off x="5469673" y="1659533"/>
              <a:ext cx="1856997" cy="2113333"/>
            </a:xfrm>
            <a:custGeom>
              <a:avLst/>
              <a:gdLst>
                <a:gd name="T0" fmla="*/ 259 w 262"/>
                <a:gd name="T1" fmla="*/ 245 h 271"/>
                <a:gd name="T2" fmla="*/ 261 w 262"/>
                <a:gd name="T3" fmla="*/ 200 h 271"/>
                <a:gd name="T4" fmla="*/ 259 w 262"/>
                <a:gd name="T5" fmla="*/ 180 h 271"/>
                <a:gd name="T6" fmla="*/ 256 w 262"/>
                <a:gd name="T7" fmla="*/ 167 h 271"/>
                <a:gd name="T8" fmla="*/ 254 w 262"/>
                <a:gd name="T9" fmla="*/ 157 h 271"/>
                <a:gd name="T10" fmla="*/ 242 w 262"/>
                <a:gd name="T11" fmla="*/ 124 h 271"/>
                <a:gd name="T12" fmla="*/ 226 w 262"/>
                <a:gd name="T13" fmla="*/ 96 h 271"/>
                <a:gd name="T14" fmla="*/ 203 w 262"/>
                <a:gd name="T15" fmla="*/ 67 h 271"/>
                <a:gd name="T16" fmla="*/ 178 w 262"/>
                <a:gd name="T17" fmla="*/ 44 h 271"/>
                <a:gd name="T18" fmla="*/ 102 w 262"/>
                <a:gd name="T19" fmla="*/ 7 h 271"/>
                <a:gd name="T20" fmla="*/ 60 w 262"/>
                <a:gd name="T21" fmla="*/ 0 h 271"/>
                <a:gd name="T22" fmla="*/ 39 w 262"/>
                <a:gd name="T23" fmla="*/ 0 h 271"/>
                <a:gd name="T24" fmla="*/ 28 w 262"/>
                <a:gd name="T25" fmla="*/ 1 h 271"/>
                <a:gd name="T26" fmla="*/ 17 w 262"/>
                <a:gd name="T27" fmla="*/ 2 h 271"/>
                <a:gd name="T28" fmla="*/ 5 w 262"/>
                <a:gd name="T29" fmla="*/ 34 h 271"/>
                <a:gd name="T30" fmla="*/ 155 w 262"/>
                <a:gd name="T31" fmla="*/ 216 h 271"/>
                <a:gd name="T32" fmla="*/ 259 w 262"/>
                <a:gd name="T33" fmla="*/ 245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62" h="271">
                  <a:moveTo>
                    <a:pt x="259" y="245"/>
                  </a:moveTo>
                  <a:cubicBezTo>
                    <a:pt x="261" y="232"/>
                    <a:pt x="262" y="217"/>
                    <a:pt x="261" y="200"/>
                  </a:cubicBezTo>
                  <a:cubicBezTo>
                    <a:pt x="261" y="194"/>
                    <a:pt x="260" y="186"/>
                    <a:pt x="259" y="180"/>
                  </a:cubicBezTo>
                  <a:cubicBezTo>
                    <a:pt x="258" y="176"/>
                    <a:pt x="257" y="171"/>
                    <a:pt x="256" y="167"/>
                  </a:cubicBezTo>
                  <a:cubicBezTo>
                    <a:pt x="256" y="164"/>
                    <a:pt x="255" y="160"/>
                    <a:pt x="254" y="157"/>
                  </a:cubicBezTo>
                  <a:cubicBezTo>
                    <a:pt x="251" y="145"/>
                    <a:pt x="247" y="136"/>
                    <a:pt x="242" y="124"/>
                  </a:cubicBezTo>
                  <a:cubicBezTo>
                    <a:pt x="237" y="113"/>
                    <a:pt x="230" y="102"/>
                    <a:pt x="226" y="96"/>
                  </a:cubicBezTo>
                  <a:cubicBezTo>
                    <a:pt x="222" y="90"/>
                    <a:pt x="216" y="80"/>
                    <a:pt x="203" y="67"/>
                  </a:cubicBezTo>
                  <a:cubicBezTo>
                    <a:pt x="196" y="59"/>
                    <a:pt x="187" y="51"/>
                    <a:pt x="178" y="44"/>
                  </a:cubicBezTo>
                  <a:cubicBezTo>
                    <a:pt x="162" y="32"/>
                    <a:pt x="136" y="16"/>
                    <a:pt x="102" y="7"/>
                  </a:cubicBezTo>
                  <a:cubicBezTo>
                    <a:pt x="97" y="6"/>
                    <a:pt x="81" y="2"/>
                    <a:pt x="60" y="0"/>
                  </a:cubicBezTo>
                  <a:cubicBezTo>
                    <a:pt x="57" y="0"/>
                    <a:pt x="49" y="0"/>
                    <a:pt x="39" y="0"/>
                  </a:cubicBezTo>
                  <a:cubicBezTo>
                    <a:pt x="35" y="0"/>
                    <a:pt x="31" y="1"/>
                    <a:pt x="28" y="1"/>
                  </a:cubicBezTo>
                  <a:cubicBezTo>
                    <a:pt x="24" y="1"/>
                    <a:pt x="20" y="2"/>
                    <a:pt x="17" y="2"/>
                  </a:cubicBezTo>
                  <a:cubicBezTo>
                    <a:pt x="5" y="4"/>
                    <a:pt x="0" y="15"/>
                    <a:pt x="5" y="34"/>
                  </a:cubicBezTo>
                  <a:cubicBezTo>
                    <a:pt x="18" y="82"/>
                    <a:pt x="85" y="163"/>
                    <a:pt x="155" y="216"/>
                  </a:cubicBezTo>
                  <a:cubicBezTo>
                    <a:pt x="214" y="261"/>
                    <a:pt x="256" y="271"/>
                    <a:pt x="259" y="24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ECC6A9C9-4C13-441E-809C-A908122B76A3}"/>
                </a:ext>
              </a:extLst>
            </p:cNvPr>
            <p:cNvSpPr/>
            <p:nvPr/>
          </p:nvSpPr>
          <p:spPr>
            <a:xfrm>
              <a:off x="6938772" y="1976734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8FB64A9-B3DA-4028-AECC-6DB22C109EB8}"/>
                </a:ext>
              </a:extLst>
            </p:cNvPr>
            <p:cNvSpPr/>
            <p:nvPr/>
          </p:nvSpPr>
          <p:spPr>
            <a:xfrm>
              <a:off x="4041778" y="228610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2510687A-E33D-4431-9337-68C08D679C58}"/>
                </a:ext>
              </a:extLst>
            </p:cNvPr>
            <p:cNvSpPr/>
            <p:nvPr/>
          </p:nvSpPr>
          <p:spPr>
            <a:xfrm>
              <a:off x="6938772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D85D3F90-1389-4472-80BA-1A6F3E6D6D3E}"/>
                </a:ext>
              </a:extLst>
            </p:cNvPr>
            <p:cNvSpPr/>
            <p:nvPr/>
          </p:nvSpPr>
          <p:spPr bwMode="auto">
            <a:xfrm>
              <a:off x="7086639" y="2112471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4C202F7-9F6D-4B36-8361-FEC9A58A3756}"/>
                </a:ext>
              </a:extLst>
            </p:cNvPr>
            <p:cNvSpPr/>
            <p:nvPr/>
          </p:nvSpPr>
          <p:spPr>
            <a:xfrm>
              <a:off x="4213475" y="4073175"/>
              <a:ext cx="617120" cy="617120"/>
            </a:xfrm>
            <a:custGeom>
              <a:avLst/>
              <a:gdLst>
                <a:gd name="connsiteX0" fmla="*/ 0 w 670873"/>
                <a:gd name="connsiteY0" fmla="*/ 335437 h 670873"/>
                <a:gd name="connsiteX1" fmla="*/ 335437 w 670873"/>
                <a:gd name="connsiteY1" fmla="*/ 0 h 670873"/>
                <a:gd name="connsiteX2" fmla="*/ 670874 w 670873"/>
                <a:gd name="connsiteY2" fmla="*/ 335437 h 670873"/>
                <a:gd name="connsiteX3" fmla="*/ 335437 w 670873"/>
                <a:gd name="connsiteY3" fmla="*/ 670874 h 670873"/>
                <a:gd name="connsiteX4" fmla="*/ 0 w 670873"/>
                <a:gd name="connsiteY4" fmla="*/ 335437 h 6708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70873" h="670873">
                  <a:moveTo>
                    <a:pt x="0" y="335437"/>
                  </a:moveTo>
                  <a:cubicBezTo>
                    <a:pt x="0" y="150180"/>
                    <a:pt x="150180" y="0"/>
                    <a:pt x="335437" y="0"/>
                  </a:cubicBezTo>
                  <a:cubicBezTo>
                    <a:pt x="520694" y="0"/>
                    <a:pt x="670874" y="150180"/>
                    <a:pt x="670874" y="335437"/>
                  </a:cubicBezTo>
                  <a:cubicBezTo>
                    <a:pt x="670874" y="520694"/>
                    <a:pt x="520694" y="670874"/>
                    <a:pt x="335437" y="670874"/>
                  </a:cubicBezTo>
                  <a:cubicBezTo>
                    <a:pt x="150180" y="670874"/>
                    <a:pt x="0" y="520694"/>
                    <a:pt x="0" y="335437"/>
                  </a:cubicBezTo>
                  <a:close/>
                </a:path>
              </a:pathLst>
            </a:cu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C63368F-5F0D-4D48-8869-45451B2C5C1F}"/>
                </a:ext>
              </a:extLst>
            </p:cNvPr>
            <p:cNvSpPr/>
            <p:nvPr/>
          </p:nvSpPr>
          <p:spPr bwMode="auto">
            <a:xfrm>
              <a:off x="7086639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34B4142B-28CE-4F5D-BADE-8EFBA632FFCC}"/>
                </a:ext>
              </a:extLst>
            </p:cNvPr>
            <p:cNvSpPr/>
            <p:nvPr/>
          </p:nvSpPr>
          <p:spPr bwMode="auto">
            <a:xfrm>
              <a:off x="687663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AB57507C-73C7-422F-826B-F8C6E4D40498}"/>
                </a:ext>
              </a:extLst>
            </p:cNvPr>
            <p:cNvSpPr/>
            <p:nvPr/>
          </p:nvSpPr>
          <p:spPr bwMode="auto">
            <a:xfrm>
              <a:off x="4361343" y="420891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2ABA4AD-269F-4579-BED5-4B90FA304531}"/>
                </a:ext>
              </a:extLst>
            </p:cNvPr>
            <p:cNvSpPr/>
            <p:nvPr/>
          </p:nvSpPr>
          <p:spPr bwMode="auto">
            <a:xfrm>
              <a:off x="4189646" y="2421842"/>
              <a:ext cx="321386" cy="345643"/>
            </a:xfrm>
            <a:custGeom>
              <a:avLst/>
              <a:gdLst>
                <a:gd name="connsiteX0" fmla="*/ 321179 w 564656"/>
                <a:gd name="connsiteY0" fmla="*/ 256496 h 607273"/>
                <a:gd name="connsiteX1" fmla="*/ 361871 w 564656"/>
                <a:gd name="connsiteY1" fmla="*/ 266542 h 607273"/>
                <a:gd name="connsiteX2" fmla="*/ 363621 w 564656"/>
                <a:gd name="connsiteY2" fmla="*/ 269381 h 607273"/>
                <a:gd name="connsiteX3" fmla="*/ 363074 w 564656"/>
                <a:gd name="connsiteY3" fmla="*/ 272111 h 607273"/>
                <a:gd name="connsiteX4" fmla="*/ 359793 w 564656"/>
                <a:gd name="connsiteY4" fmla="*/ 274295 h 607273"/>
                <a:gd name="connsiteX5" fmla="*/ 359355 w 564656"/>
                <a:gd name="connsiteY5" fmla="*/ 274295 h 607273"/>
                <a:gd name="connsiteX6" fmla="*/ 358480 w 564656"/>
                <a:gd name="connsiteY6" fmla="*/ 431648 h 607273"/>
                <a:gd name="connsiteX7" fmla="*/ 354980 w 564656"/>
                <a:gd name="connsiteY7" fmla="*/ 444206 h 607273"/>
                <a:gd name="connsiteX8" fmla="*/ 354542 w 564656"/>
                <a:gd name="connsiteY8" fmla="*/ 444097 h 607273"/>
                <a:gd name="connsiteX9" fmla="*/ 306958 w 564656"/>
                <a:gd name="connsiteY9" fmla="*/ 446936 h 607273"/>
                <a:gd name="connsiteX10" fmla="*/ 306302 w 564656"/>
                <a:gd name="connsiteY10" fmla="*/ 446608 h 607273"/>
                <a:gd name="connsiteX11" fmla="*/ 308818 w 564656"/>
                <a:gd name="connsiteY11" fmla="*/ 519224 h 607273"/>
                <a:gd name="connsiteX12" fmla="*/ 302692 w 564656"/>
                <a:gd name="connsiteY12" fmla="*/ 525667 h 607273"/>
                <a:gd name="connsiteX13" fmla="*/ 296238 w 564656"/>
                <a:gd name="connsiteY13" fmla="*/ 531673 h 607273"/>
                <a:gd name="connsiteX14" fmla="*/ 2206 w 564656"/>
                <a:gd name="connsiteY14" fmla="*/ 497712 h 607273"/>
                <a:gd name="connsiteX15" fmla="*/ 1987 w 564656"/>
                <a:gd name="connsiteY15" fmla="*/ 489741 h 607273"/>
                <a:gd name="connsiteX16" fmla="*/ 34585 w 564656"/>
                <a:gd name="connsiteY16" fmla="*/ 326710 h 607273"/>
                <a:gd name="connsiteX17" fmla="*/ 142112 w 564656"/>
                <a:gd name="connsiteY17" fmla="*/ 260755 h 607273"/>
                <a:gd name="connsiteX18" fmla="*/ 150316 w 564656"/>
                <a:gd name="connsiteY18" fmla="*/ 263048 h 607273"/>
                <a:gd name="connsiteX19" fmla="*/ 207197 w 564656"/>
                <a:gd name="connsiteY19" fmla="*/ 359360 h 607273"/>
                <a:gd name="connsiteX20" fmla="*/ 210698 w 564656"/>
                <a:gd name="connsiteY20" fmla="*/ 344837 h 607273"/>
                <a:gd name="connsiteX21" fmla="*/ 217917 w 564656"/>
                <a:gd name="connsiteY21" fmla="*/ 315790 h 607273"/>
                <a:gd name="connsiteX22" fmla="*/ 209276 w 564656"/>
                <a:gd name="connsiteY22" fmla="*/ 305635 h 607273"/>
                <a:gd name="connsiteX23" fmla="*/ 202384 w 564656"/>
                <a:gd name="connsiteY23" fmla="*/ 293842 h 607273"/>
                <a:gd name="connsiteX24" fmla="*/ 205010 w 564656"/>
                <a:gd name="connsiteY24" fmla="*/ 283905 h 607273"/>
                <a:gd name="connsiteX25" fmla="*/ 228309 w 564656"/>
                <a:gd name="connsiteY25" fmla="*/ 283359 h 607273"/>
                <a:gd name="connsiteX26" fmla="*/ 252812 w 564656"/>
                <a:gd name="connsiteY26" fmla="*/ 281284 h 607273"/>
                <a:gd name="connsiteX27" fmla="*/ 256203 w 564656"/>
                <a:gd name="connsiteY27" fmla="*/ 287290 h 607273"/>
                <a:gd name="connsiteX28" fmla="*/ 256640 w 564656"/>
                <a:gd name="connsiteY28" fmla="*/ 290566 h 607273"/>
                <a:gd name="connsiteX29" fmla="*/ 250624 w 564656"/>
                <a:gd name="connsiteY29" fmla="*/ 308037 h 607273"/>
                <a:gd name="connsiteX30" fmla="*/ 244170 w 564656"/>
                <a:gd name="connsiteY30" fmla="*/ 320704 h 607273"/>
                <a:gd name="connsiteX31" fmla="*/ 249530 w 564656"/>
                <a:gd name="connsiteY31" fmla="*/ 346911 h 607273"/>
                <a:gd name="connsiteX32" fmla="*/ 252265 w 564656"/>
                <a:gd name="connsiteY32" fmla="*/ 358377 h 607273"/>
                <a:gd name="connsiteX33" fmla="*/ 312866 w 564656"/>
                <a:gd name="connsiteY33" fmla="*/ 258899 h 607273"/>
                <a:gd name="connsiteX34" fmla="*/ 318882 w 564656"/>
                <a:gd name="connsiteY34" fmla="*/ 257042 h 607273"/>
                <a:gd name="connsiteX35" fmla="*/ 321179 w 564656"/>
                <a:gd name="connsiteY35" fmla="*/ 256496 h 607273"/>
                <a:gd name="connsiteX36" fmla="*/ 424854 w 564656"/>
                <a:gd name="connsiteY36" fmla="*/ 248274 h 607273"/>
                <a:gd name="connsiteX37" fmla="*/ 464444 w 564656"/>
                <a:gd name="connsiteY37" fmla="*/ 250240 h 607273"/>
                <a:gd name="connsiteX38" fmla="*/ 466194 w 564656"/>
                <a:gd name="connsiteY38" fmla="*/ 251332 h 607273"/>
                <a:gd name="connsiteX39" fmla="*/ 470569 w 564656"/>
                <a:gd name="connsiteY39" fmla="*/ 254609 h 607273"/>
                <a:gd name="connsiteX40" fmla="*/ 471662 w 564656"/>
                <a:gd name="connsiteY40" fmla="*/ 276016 h 607273"/>
                <a:gd name="connsiteX41" fmla="*/ 536516 w 564656"/>
                <a:gd name="connsiteY41" fmla="*/ 294364 h 607273"/>
                <a:gd name="connsiteX42" fmla="*/ 556093 w 564656"/>
                <a:gd name="connsiteY42" fmla="*/ 361096 h 607273"/>
                <a:gd name="connsiteX43" fmla="*/ 553249 w 564656"/>
                <a:gd name="connsiteY43" fmla="*/ 363935 h 607273"/>
                <a:gd name="connsiteX44" fmla="*/ 550078 w 564656"/>
                <a:gd name="connsiteY44" fmla="*/ 367212 h 607273"/>
                <a:gd name="connsiteX45" fmla="*/ 505128 w 564656"/>
                <a:gd name="connsiteY45" fmla="*/ 367103 h 607273"/>
                <a:gd name="connsiteX46" fmla="*/ 465975 w 564656"/>
                <a:gd name="connsiteY46" fmla="*/ 361314 h 607273"/>
                <a:gd name="connsiteX47" fmla="*/ 464444 w 564656"/>
                <a:gd name="connsiteY47" fmla="*/ 358038 h 607273"/>
                <a:gd name="connsiteX48" fmla="*/ 459632 w 564656"/>
                <a:gd name="connsiteY48" fmla="*/ 355307 h 607273"/>
                <a:gd name="connsiteX49" fmla="*/ 459632 w 564656"/>
                <a:gd name="connsiteY49" fmla="*/ 338925 h 607273"/>
                <a:gd name="connsiteX50" fmla="*/ 447055 w 564656"/>
                <a:gd name="connsiteY50" fmla="*/ 324289 h 607273"/>
                <a:gd name="connsiteX51" fmla="*/ 426275 w 564656"/>
                <a:gd name="connsiteY51" fmla="*/ 333573 h 607273"/>
                <a:gd name="connsiteX52" fmla="*/ 426932 w 564656"/>
                <a:gd name="connsiteY52" fmla="*/ 335102 h 607273"/>
                <a:gd name="connsiteX53" fmla="*/ 531485 w 564656"/>
                <a:gd name="connsiteY53" fmla="*/ 420400 h 607273"/>
                <a:gd name="connsiteX54" fmla="*/ 564514 w 564656"/>
                <a:gd name="connsiteY54" fmla="*/ 479814 h 607273"/>
                <a:gd name="connsiteX55" fmla="*/ 472209 w 564656"/>
                <a:gd name="connsiteY55" fmla="*/ 573960 h 607273"/>
                <a:gd name="connsiteX56" fmla="*/ 472537 w 564656"/>
                <a:gd name="connsiteY56" fmla="*/ 600718 h 607273"/>
                <a:gd name="connsiteX57" fmla="*/ 466085 w 564656"/>
                <a:gd name="connsiteY57" fmla="*/ 607271 h 607273"/>
                <a:gd name="connsiteX58" fmla="*/ 434587 w 564656"/>
                <a:gd name="connsiteY58" fmla="*/ 605523 h 607273"/>
                <a:gd name="connsiteX59" fmla="*/ 420260 w 564656"/>
                <a:gd name="connsiteY59" fmla="*/ 601045 h 607273"/>
                <a:gd name="connsiteX60" fmla="*/ 417964 w 564656"/>
                <a:gd name="connsiteY60" fmla="*/ 598206 h 607273"/>
                <a:gd name="connsiteX61" fmla="*/ 416214 w 564656"/>
                <a:gd name="connsiteY61" fmla="*/ 571884 h 607273"/>
                <a:gd name="connsiteX62" fmla="*/ 325002 w 564656"/>
                <a:gd name="connsiteY62" fmla="*/ 465507 h 607273"/>
                <a:gd name="connsiteX63" fmla="*/ 329486 w 564656"/>
                <a:gd name="connsiteY63" fmla="*/ 460374 h 607273"/>
                <a:gd name="connsiteX64" fmla="*/ 410417 w 564656"/>
                <a:gd name="connsiteY64" fmla="*/ 459391 h 607273"/>
                <a:gd name="connsiteX65" fmla="*/ 416432 w 564656"/>
                <a:gd name="connsiteY65" fmla="*/ 463214 h 607273"/>
                <a:gd name="connsiteX66" fmla="*/ 419495 w 564656"/>
                <a:gd name="connsiteY66" fmla="*/ 467255 h 607273"/>
                <a:gd name="connsiteX67" fmla="*/ 444868 w 564656"/>
                <a:gd name="connsiteY67" fmla="*/ 520116 h 607273"/>
                <a:gd name="connsiteX68" fmla="*/ 454929 w 564656"/>
                <a:gd name="connsiteY68" fmla="*/ 471623 h 607273"/>
                <a:gd name="connsiteX69" fmla="*/ 373123 w 564656"/>
                <a:gd name="connsiteY69" fmla="*/ 417779 h 607273"/>
                <a:gd name="connsiteX70" fmla="*/ 326971 w 564656"/>
                <a:gd name="connsiteY70" fmla="*/ 366556 h 607273"/>
                <a:gd name="connsiteX71" fmla="*/ 415667 w 564656"/>
                <a:gd name="connsiteY71" fmla="*/ 277326 h 607273"/>
                <a:gd name="connsiteX72" fmla="*/ 417198 w 564656"/>
                <a:gd name="connsiteY72" fmla="*/ 254172 h 607273"/>
                <a:gd name="connsiteX73" fmla="*/ 422119 w 564656"/>
                <a:gd name="connsiteY73" fmla="*/ 249476 h 607273"/>
                <a:gd name="connsiteX74" fmla="*/ 424854 w 564656"/>
                <a:gd name="connsiteY74" fmla="*/ 248274 h 607273"/>
                <a:gd name="connsiteX75" fmla="*/ 215096 w 564656"/>
                <a:gd name="connsiteY75" fmla="*/ 1184 h 607273"/>
                <a:gd name="connsiteX76" fmla="*/ 313856 w 564656"/>
                <a:gd name="connsiteY76" fmla="*/ 177884 h 607273"/>
                <a:gd name="connsiteX77" fmla="*/ 218486 w 564656"/>
                <a:gd name="connsiteY77" fmla="*/ 264268 h 607273"/>
                <a:gd name="connsiteX78" fmla="*/ 141053 w 564656"/>
                <a:gd name="connsiteY78" fmla="*/ 135292 h 607273"/>
                <a:gd name="connsiteX79" fmla="*/ 215096 w 564656"/>
                <a:gd name="connsiteY79" fmla="*/ 1184 h 6072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</a:cxnLst>
              <a:rect l="l" t="t" r="r" b="b"/>
              <a:pathLst>
                <a:path w="564656" h="607273">
                  <a:moveTo>
                    <a:pt x="321179" y="256496"/>
                  </a:moveTo>
                  <a:cubicBezTo>
                    <a:pt x="334305" y="258680"/>
                    <a:pt x="350167" y="259772"/>
                    <a:pt x="361871" y="266542"/>
                  </a:cubicBezTo>
                  <a:cubicBezTo>
                    <a:pt x="363074" y="267198"/>
                    <a:pt x="363512" y="268289"/>
                    <a:pt x="363621" y="269381"/>
                  </a:cubicBezTo>
                  <a:cubicBezTo>
                    <a:pt x="364168" y="270364"/>
                    <a:pt x="363949" y="271347"/>
                    <a:pt x="363074" y="272111"/>
                  </a:cubicBezTo>
                  <a:cubicBezTo>
                    <a:pt x="362309" y="273203"/>
                    <a:pt x="361324" y="274186"/>
                    <a:pt x="359793" y="274295"/>
                  </a:cubicBezTo>
                  <a:cubicBezTo>
                    <a:pt x="359574" y="274295"/>
                    <a:pt x="359464" y="274295"/>
                    <a:pt x="359355" y="274295"/>
                  </a:cubicBezTo>
                  <a:cubicBezTo>
                    <a:pt x="300176" y="303123"/>
                    <a:pt x="286722" y="410136"/>
                    <a:pt x="358480" y="431648"/>
                  </a:cubicBezTo>
                  <a:cubicBezTo>
                    <a:pt x="366465" y="434160"/>
                    <a:pt x="363184" y="446390"/>
                    <a:pt x="354980" y="444206"/>
                  </a:cubicBezTo>
                  <a:cubicBezTo>
                    <a:pt x="354870" y="444206"/>
                    <a:pt x="354761" y="444097"/>
                    <a:pt x="354542" y="444097"/>
                  </a:cubicBezTo>
                  <a:cubicBezTo>
                    <a:pt x="339884" y="450976"/>
                    <a:pt x="322492" y="451413"/>
                    <a:pt x="306958" y="446936"/>
                  </a:cubicBezTo>
                  <a:cubicBezTo>
                    <a:pt x="306630" y="446827"/>
                    <a:pt x="306521" y="446717"/>
                    <a:pt x="306302" y="446608"/>
                  </a:cubicBezTo>
                  <a:cubicBezTo>
                    <a:pt x="305427" y="450103"/>
                    <a:pt x="308709" y="513109"/>
                    <a:pt x="308818" y="519224"/>
                  </a:cubicBezTo>
                  <a:cubicBezTo>
                    <a:pt x="308928" y="523483"/>
                    <a:pt x="305864" y="525667"/>
                    <a:pt x="302692" y="525667"/>
                  </a:cubicBezTo>
                  <a:cubicBezTo>
                    <a:pt x="302364" y="528834"/>
                    <a:pt x="300286" y="531673"/>
                    <a:pt x="296238" y="531673"/>
                  </a:cubicBezTo>
                  <a:cubicBezTo>
                    <a:pt x="201728" y="530472"/>
                    <a:pt x="88294" y="544012"/>
                    <a:pt x="2206" y="497712"/>
                  </a:cubicBezTo>
                  <a:cubicBezTo>
                    <a:pt x="-1075" y="495965"/>
                    <a:pt x="-310" y="491707"/>
                    <a:pt x="1987" y="489741"/>
                  </a:cubicBezTo>
                  <a:cubicBezTo>
                    <a:pt x="-2169" y="433832"/>
                    <a:pt x="2972" y="374757"/>
                    <a:pt x="34585" y="326710"/>
                  </a:cubicBezTo>
                  <a:cubicBezTo>
                    <a:pt x="57228" y="292531"/>
                    <a:pt x="98576" y="257042"/>
                    <a:pt x="142112" y="260755"/>
                  </a:cubicBezTo>
                  <a:cubicBezTo>
                    <a:pt x="144847" y="259554"/>
                    <a:pt x="148238" y="259881"/>
                    <a:pt x="150316" y="263048"/>
                  </a:cubicBezTo>
                  <a:cubicBezTo>
                    <a:pt x="170553" y="294278"/>
                    <a:pt x="189695" y="326492"/>
                    <a:pt x="207197" y="359360"/>
                  </a:cubicBezTo>
                  <a:cubicBezTo>
                    <a:pt x="208291" y="354446"/>
                    <a:pt x="209713" y="349641"/>
                    <a:pt x="210698" y="344837"/>
                  </a:cubicBezTo>
                  <a:cubicBezTo>
                    <a:pt x="212885" y="335118"/>
                    <a:pt x="214964" y="325290"/>
                    <a:pt x="217917" y="315790"/>
                  </a:cubicBezTo>
                  <a:cubicBezTo>
                    <a:pt x="214854" y="312623"/>
                    <a:pt x="212010" y="309129"/>
                    <a:pt x="209276" y="305635"/>
                  </a:cubicBezTo>
                  <a:cubicBezTo>
                    <a:pt x="206760" y="302141"/>
                    <a:pt x="203150" y="298209"/>
                    <a:pt x="202384" y="293842"/>
                  </a:cubicBezTo>
                  <a:cubicBezTo>
                    <a:pt x="199540" y="290456"/>
                    <a:pt x="199540" y="284887"/>
                    <a:pt x="205010" y="283905"/>
                  </a:cubicBezTo>
                  <a:cubicBezTo>
                    <a:pt x="212557" y="282594"/>
                    <a:pt x="220652" y="283905"/>
                    <a:pt x="228309" y="283359"/>
                  </a:cubicBezTo>
                  <a:cubicBezTo>
                    <a:pt x="236622" y="282813"/>
                    <a:pt x="244608" y="279864"/>
                    <a:pt x="252812" y="281284"/>
                  </a:cubicBezTo>
                  <a:cubicBezTo>
                    <a:pt x="256093" y="281830"/>
                    <a:pt x="256750" y="284669"/>
                    <a:pt x="256203" y="287290"/>
                  </a:cubicBezTo>
                  <a:cubicBezTo>
                    <a:pt x="256640" y="288273"/>
                    <a:pt x="256859" y="289474"/>
                    <a:pt x="256640" y="290566"/>
                  </a:cubicBezTo>
                  <a:cubicBezTo>
                    <a:pt x="255218" y="296572"/>
                    <a:pt x="252702" y="302250"/>
                    <a:pt x="250624" y="308037"/>
                  </a:cubicBezTo>
                  <a:cubicBezTo>
                    <a:pt x="248874" y="313169"/>
                    <a:pt x="247999" y="317210"/>
                    <a:pt x="244170" y="320704"/>
                  </a:cubicBezTo>
                  <a:cubicBezTo>
                    <a:pt x="245920" y="329440"/>
                    <a:pt x="247671" y="338176"/>
                    <a:pt x="249530" y="346911"/>
                  </a:cubicBezTo>
                  <a:cubicBezTo>
                    <a:pt x="250405" y="350733"/>
                    <a:pt x="251390" y="354555"/>
                    <a:pt x="252265" y="358377"/>
                  </a:cubicBezTo>
                  <a:cubicBezTo>
                    <a:pt x="269110" y="324089"/>
                    <a:pt x="290331" y="288709"/>
                    <a:pt x="312866" y="258899"/>
                  </a:cubicBezTo>
                  <a:cubicBezTo>
                    <a:pt x="314506" y="256715"/>
                    <a:pt x="316804" y="256496"/>
                    <a:pt x="318882" y="257042"/>
                  </a:cubicBezTo>
                  <a:cubicBezTo>
                    <a:pt x="319538" y="256715"/>
                    <a:pt x="320195" y="256387"/>
                    <a:pt x="321179" y="256496"/>
                  </a:cubicBezTo>
                  <a:close/>
                  <a:moveTo>
                    <a:pt x="424854" y="248274"/>
                  </a:moveTo>
                  <a:cubicBezTo>
                    <a:pt x="437868" y="247073"/>
                    <a:pt x="451539" y="248165"/>
                    <a:pt x="464444" y="250240"/>
                  </a:cubicBezTo>
                  <a:cubicBezTo>
                    <a:pt x="465319" y="250350"/>
                    <a:pt x="465647" y="251005"/>
                    <a:pt x="466194" y="251332"/>
                  </a:cubicBezTo>
                  <a:cubicBezTo>
                    <a:pt x="468272" y="251223"/>
                    <a:pt x="470240" y="252097"/>
                    <a:pt x="470569" y="254609"/>
                  </a:cubicBezTo>
                  <a:cubicBezTo>
                    <a:pt x="471553" y="261708"/>
                    <a:pt x="472647" y="269026"/>
                    <a:pt x="471662" y="276016"/>
                  </a:cubicBezTo>
                  <a:cubicBezTo>
                    <a:pt x="495613" y="273613"/>
                    <a:pt x="519127" y="275142"/>
                    <a:pt x="536516" y="294364"/>
                  </a:cubicBezTo>
                  <a:cubicBezTo>
                    <a:pt x="551609" y="311183"/>
                    <a:pt x="561670" y="338597"/>
                    <a:pt x="556093" y="361096"/>
                  </a:cubicBezTo>
                  <a:cubicBezTo>
                    <a:pt x="555765" y="362625"/>
                    <a:pt x="554562" y="363389"/>
                    <a:pt x="553249" y="363935"/>
                  </a:cubicBezTo>
                  <a:cubicBezTo>
                    <a:pt x="552812" y="365355"/>
                    <a:pt x="551937" y="366775"/>
                    <a:pt x="550078" y="367212"/>
                  </a:cubicBezTo>
                  <a:cubicBezTo>
                    <a:pt x="535641" y="370597"/>
                    <a:pt x="519783" y="367867"/>
                    <a:pt x="505128" y="367103"/>
                  </a:cubicBezTo>
                  <a:cubicBezTo>
                    <a:pt x="492114" y="366447"/>
                    <a:pt x="477459" y="368085"/>
                    <a:pt x="465975" y="361314"/>
                  </a:cubicBezTo>
                  <a:cubicBezTo>
                    <a:pt x="464882" y="360659"/>
                    <a:pt x="464444" y="359348"/>
                    <a:pt x="464444" y="358038"/>
                  </a:cubicBezTo>
                  <a:cubicBezTo>
                    <a:pt x="462366" y="358256"/>
                    <a:pt x="460398" y="357491"/>
                    <a:pt x="459632" y="355307"/>
                  </a:cubicBezTo>
                  <a:cubicBezTo>
                    <a:pt x="457882" y="349846"/>
                    <a:pt x="460726" y="344604"/>
                    <a:pt x="459632" y="338925"/>
                  </a:cubicBezTo>
                  <a:cubicBezTo>
                    <a:pt x="458429" y="331935"/>
                    <a:pt x="453945" y="326255"/>
                    <a:pt x="447055" y="324289"/>
                  </a:cubicBezTo>
                  <a:cubicBezTo>
                    <a:pt x="437978" y="321668"/>
                    <a:pt x="429884" y="326474"/>
                    <a:pt x="426275" y="333573"/>
                  </a:cubicBezTo>
                  <a:cubicBezTo>
                    <a:pt x="426494" y="334119"/>
                    <a:pt x="426932" y="334447"/>
                    <a:pt x="426932" y="335102"/>
                  </a:cubicBezTo>
                  <a:cubicBezTo>
                    <a:pt x="429119" y="376386"/>
                    <a:pt x="504472" y="397793"/>
                    <a:pt x="531485" y="420400"/>
                  </a:cubicBezTo>
                  <a:cubicBezTo>
                    <a:pt x="550296" y="436018"/>
                    <a:pt x="563202" y="454695"/>
                    <a:pt x="564514" y="479814"/>
                  </a:cubicBezTo>
                  <a:cubicBezTo>
                    <a:pt x="567576" y="533877"/>
                    <a:pt x="520658" y="567953"/>
                    <a:pt x="472209" y="573960"/>
                  </a:cubicBezTo>
                  <a:cubicBezTo>
                    <a:pt x="472756" y="582915"/>
                    <a:pt x="472537" y="591871"/>
                    <a:pt x="472537" y="600718"/>
                  </a:cubicBezTo>
                  <a:cubicBezTo>
                    <a:pt x="472647" y="604213"/>
                    <a:pt x="469584" y="607380"/>
                    <a:pt x="466085" y="607271"/>
                  </a:cubicBezTo>
                  <a:cubicBezTo>
                    <a:pt x="455585" y="606943"/>
                    <a:pt x="445086" y="606615"/>
                    <a:pt x="434587" y="605523"/>
                  </a:cubicBezTo>
                  <a:cubicBezTo>
                    <a:pt x="429775" y="605086"/>
                    <a:pt x="423322" y="605196"/>
                    <a:pt x="420260" y="601045"/>
                  </a:cubicBezTo>
                  <a:cubicBezTo>
                    <a:pt x="419276" y="600390"/>
                    <a:pt x="418401" y="599516"/>
                    <a:pt x="417964" y="598206"/>
                  </a:cubicBezTo>
                  <a:cubicBezTo>
                    <a:pt x="414901" y="590124"/>
                    <a:pt x="415011" y="580731"/>
                    <a:pt x="416214" y="571884"/>
                  </a:cubicBezTo>
                  <a:cubicBezTo>
                    <a:pt x="363827" y="572758"/>
                    <a:pt x="307613" y="520662"/>
                    <a:pt x="325002" y="465507"/>
                  </a:cubicBezTo>
                  <a:cubicBezTo>
                    <a:pt x="325002" y="462886"/>
                    <a:pt x="326534" y="460265"/>
                    <a:pt x="329486" y="460374"/>
                  </a:cubicBezTo>
                  <a:cubicBezTo>
                    <a:pt x="356719" y="461903"/>
                    <a:pt x="383404" y="462121"/>
                    <a:pt x="410417" y="459391"/>
                  </a:cubicBezTo>
                  <a:cubicBezTo>
                    <a:pt x="413808" y="459063"/>
                    <a:pt x="415776" y="460811"/>
                    <a:pt x="416432" y="463214"/>
                  </a:cubicBezTo>
                  <a:cubicBezTo>
                    <a:pt x="418182" y="463869"/>
                    <a:pt x="419604" y="465179"/>
                    <a:pt x="419495" y="467255"/>
                  </a:cubicBezTo>
                  <a:cubicBezTo>
                    <a:pt x="419276" y="483637"/>
                    <a:pt x="418401" y="522628"/>
                    <a:pt x="444868" y="520116"/>
                  </a:cubicBezTo>
                  <a:cubicBezTo>
                    <a:pt x="467288" y="518040"/>
                    <a:pt x="459851" y="487569"/>
                    <a:pt x="454929" y="471623"/>
                  </a:cubicBezTo>
                  <a:cubicBezTo>
                    <a:pt x="431087" y="446503"/>
                    <a:pt x="403199" y="435691"/>
                    <a:pt x="373123" y="417779"/>
                  </a:cubicBezTo>
                  <a:cubicBezTo>
                    <a:pt x="353110" y="405765"/>
                    <a:pt x="333533" y="389929"/>
                    <a:pt x="326971" y="366556"/>
                  </a:cubicBezTo>
                  <a:cubicBezTo>
                    <a:pt x="311441" y="310637"/>
                    <a:pt x="368093" y="278091"/>
                    <a:pt x="415667" y="277326"/>
                  </a:cubicBezTo>
                  <a:cubicBezTo>
                    <a:pt x="413917" y="269899"/>
                    <a:pt x="415448" y="261162"/>
                    <a:pt x="417198" y="254172"/>
                  </a:cubicBezTo>
                  <a:cubicBezTo>
                    <a:pt x="417964" y="251223"/>
                    <a:pt x="419932" y="249803"/>
                    <a:pt x="422119" y="249476"/>
                  </a:cubicBezTo>
                  <a:cubicBezTo>
                    <a:pt x="422885" y="248930"/>
                    <a:pt x="423760" y="248274"/>
                    <a:pt x="424854" y="248274"/>
                  </a:cubicBezTo>
                  <a:close/>
                  <a:moveTo>
                    <a:pt x="215096" y="1184"/>
                  </a:moveTo>
                  <a:cubicBezTo>
                    <a:pt x="316918" y="-12467"/>
                    <a:pt x="342401" y="94667"/>
                    <a:pt x="313856" y="177884"/>
                  </a:cubicBezTo>
                  <a:cubicBezTo>
                    <a:pt x="300841" y="226918"/>
                    <a:pt x="266171" y="276499"/>
                    <a:pt x="218486" y="264268"/>
                  </a:cubicBezTo>
                  <a:cubicBezTo>
                    <a:pt x="165770" y="256623"/>
                    <a:pt x="146521" y="182907"/>
                    <a:pt x="141053" y="135292"/>
                  </a:cubicBezTo>
                  <a:cubicBezTo>
                    <a:pt x="134163" y="75118"/>
                    <a:pt x="144553" y="10576"/>
                    <a:pt x="215096" y="118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8B6AA00D-5B2D-4632-8DE9-ABCB7BA511A2}"/>
                </a:ext>
              </a:extLst>
            </p:cNvPr>
            <p:cNvSpPr txBox="1"/>
            <p:nvPr/>
          </p:nvSpPr>
          <p:spPr bwMode="auto">
            <a:xfrm>
              <a:off x="687663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E55EB4C0-A038-4C35-8000-CC6BB38040E4}"/>
                </a:ext>
              </a:extLst>
            </p:cNvPr>
            <p:cNvSpPr/>
            <p:nvPr/>
          </p:nvSpPr>
          <p:spPr bwMode="auto">
            <a:xfrm>
              <a:off x="687663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2A501870-089C-43D4-9641-E3DA7A400B5F}"/>
                </a:ext>
              </a:extLst>
            </p:cNvPr>
            <p:cNvSpPr txBox="1"/>
            <p:nvPr/>
          </p:nvSpPr>
          <p:spPr bwMode="auto">
            <a:xfrm>
              <a:off x="687663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2CE1822C-5C9C-4BA8-B721-C9141ABB528F}"/>
                </a:ext>
              </a:extLst>
            </p:cNvPr>
            <p:cNvSpPr/>
            <p:nvPr/>
          </p:nvSpPr>
          <p:spPr bwMode="auto">
            <a:xfrm>
              <a:off x="8438288" y="2803472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0EB0075A-751F-4F6C-A626-197A47FFFEDD}"/>
                </a:ext>
              </a:extLst>
            </p:cNvPr>
            <p:cNvSpPr txBox="1"/>
            <p:nvPr/>
          </p:nvSpPr>
          <p:spPr bwMode="auto">
            <a:xfrm>
              <a:off x="8438288" y="2384237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79B7C85-E96C-45D5-BF4A-10AA53A567BE}"/>
                </a:ext>
              </a:extLst>
            </p:cNvPr>
            <p:cNvSpPr/>
            <p:nvPr/>
          </p:nvSpPr>
          <p:spPr bwMode="auto">
            <a:xfrm>
              <a:off x="8438288" y="4510867"/>
              <a:ext cx="3082200" cy="7184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145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  <a:tabLst>
                  <a:tab pos="228594" algn="l"/>
                </a:tabLst>
                <a:defRPr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B27DF7C9-66A4-4619-9C5E-3652C1759A7F}"/>
                </a:ext>
              </a:extLst>
            </p:cNvPr>
            <p:cNvSpPr txBox="1"/>
            <p:nvPr/>
          </p:nvSpPr>
          <p:spPr bwMode="auto">
            <a:xfrm>
              <a:off x="8438288" y="4091632"/>
              <a:ext cx="3082200" cy="4192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090876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38F3DCDB-6372-4983-98F0-C8085CB948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8C6D8C8C-807C-4477-8312-04B5950DF2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1793C249-5440-46F5-80D3-C7B4F102C8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5AED2C0-1433-44A9-9660-F30486D9ED25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217303"/>
            <a:ext cx="12192000" cy="4926322"/>
            <a:chOff x="0" y="1217303"/>
            <a:chExt cx="12192000" cy="492632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6F20322E-FA52-45E4-9ECA-A008DD2A14A0}"/>
                </a:ext>
              </a:extLst>
            </p:cNvPr>
            <p:cNvSpPr/>
            <p:nvPr/>
          </p:nvSpPr>
          <p:spPr bwMode="auto">
            <a:xfrm>
              <a:off x="0" y="2372111"/>
              <a:ext cx="12192000" cy="3529060"/>
            </a:xfrm>
            <a:custGeom>
              <a:avLst/>
              <a:gdLst>
                <a:gd name="T0" fmla="*/ 6336 w 6336"/>
                <a:gd name="T1" fmla="*/ 0 h 1834"/>
                <a:gd name="T2" fmla="*/ 3168 w 6336"/>
                <a:gd name="T3" fmla="*/ 1763 h 1834"/>
                <a:gd name="T4" fmla="*/ 0 w 6336"/>
                <a:gd name="T5" fmla="*/ 0 h 1834"/>
                <a:gd name="T6" fmla="*/ 0 w 6336"/>
                <a:gd name="T7" fmla="*/ 70 h 1834"/>
                <a:gd name="T8" fmla="*/ 3168 w 6336"/>
                <a:gd name="T9" fmla="*/ 1834 h 1834"/>
                <a:gd name="T10" fmla="*/ 6336 w 6336"/>
                <a:gd name="T11" fmla="*/ 70 h 1834"/>
                <a:gd name="T12" fmla="*/ 6336 w 6336"/>
                <a:gd name="T13" fmla="*/ 0 h 1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4">
                  <a:moveTo>
                    <a:pt x="6336" y="0"/>
                  </a:moveTo>
                  <a:lnTo>
                    <a:pt x="3168" y="1763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4"/>
                  </a:lnTo>
                  <a:lnTo>
                    <a:pt x="6336" y="70"/>
                  </a:lnTo>
                  <a:lnTo>
                    <a:pt x="633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2D9C7D00-BFF1-4B87-AE84-8F44A16E7DBB}"/>
                </a:ext>
              </a:extLst>
            </p:cNvPr>
            <p:cNvSpPr/>
            <p:nvPr/>
          </p:nvSpPr>
          <p:spPr bwMode="auto">
            <a:xfrm>
              <a:off x="0" y="1908368"/>
              <a:ext cx="12192000" cy="3530984"/>
            </a:xfrm>
            <a:custGeom>
              <a:avLst/>
              <a:gdLst>
                <a:gd name="T0" fmla="*/ 6336 w 6336"/>
                <a:gd name="T1" fmla="*/ 0 h 1835"/>
                <a:gd name="T2" fmla="*/ 3168 w 6336"/>
                <a:gd name="T3" fmla="*/ 1764 h 1835"/>
                <a:gd name="T4" fmla="*/ 0 w 6336"/>
                <a:gd name="T5" fmla="*/ 0 h 1835"/>
                <a:gd name="T6" fmla="*/ 0 w 6336"/>
                <a:gd name="T7" fmla="*/ 71 h 1835"/>
                <a:gd name="T8" fmla="*/ 3168 w 6336"/>
                <a:gd name="T9" fmla="*/ 1835 h 1835"/>
                <a:gd name="T10" fmla="*/ 6336 w 6336"/>
                <a:gd name="T11" fmla="*/ 71 h 1835"/>
                <a:gd name="T12" fmla="*/ 6336 w 6336"/>
                <a:gd name="T13" fmla="*/ 0 h 1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5">
                  <a:moveTo>
                    <a:pt x="6336" y="0"/>
                  </a:moveTo>
                  <a:lnTo>
                    <a:pt x="3168" y="1764"/>
                  </a:lnTo>
                  <a:lnTo>
                    <a:pt x="0" y="0"/>
                  </a:lnTo>
                  <a:lnTo>
                    <a:pt x="0" y="71"/>
                  </a:lnTo>
                  <a:lnTo>
                    <a:pt x="3168" y="1835"/>
                  </a:lnTo>
                  <a:lnTo>
                    <a:pt x="6336" y="71"/>
                  </a:lnTo>
                  <a:lnTo>
                    <a:pt x="633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63944544-C37B-46C0-A6A4-C330C11C5377}"/>
                </a:ext>
              </a:extLst>
            </p:cNvPr>
            <p:cNvSpPr/>
            <p:nvPr/>
          </p:nvSpPr>
          <p:spPr bwMode="auto">
            <a:xfrm>
              <a:off x="0" y="2372111"/>
              <a:ext cx="12192000" cy="3529059"/>
            </a:xfrm>
            <a:custGeom>
              <a:avLst/>
              <a:gdLst>
                <a:gd name="T0" fmla="*/ 6336 w 6336"/>
                <a:gd name="T1" fmla="*/ 0 h 1834"/>
                <a:gd name="T2" fmla="*/ 3168 w 6336"/>
                <a:gd name="T3" fmla="*/ 1763 h 1834"/>
                <a:gd name="T4" fmla="*/ 0 w 6336"/>
                <a:gd name="T5" fmla="*/ 0 h 1834"/>
                <a:gd name="T6" fmla="*/ 0 w 6336"/>
                <a:gd name="T7" fmla="*/ 70 h 1834"/>
                <a:gd name="T8" fmla="*/ 3168 w 6336"/>
                <a:gd name="T9" fmla="*/ 1834 h 1834"/>
                <a:gd name="T10" fmla="*/ 6336 w 6336"/>
                <a:gd name="T11" fmla="*/ 70 h 1834"/>
                <a:gd name="T12" fmla="*/ 6336 w 6336"/>
                <a:gd name="T13" fmla="*/ 0 h 18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4">
                  <a:moveTo>
                    <a:pt x="6336" y="0"/>
                  </a:moveTo>
                  <a:lnTo>
                    <a:pt x="3168" y="1763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4"/>
                  </a:lnTo>
                  <a:lnTo>
                    <a:pt x="6336" y="70"/>
                  </a:lnTo>
                  <a:lnTo>
                    <a:pt x="63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E9EE4745-0423-4476-94E1-FBD5991BF636}"/>
                </a:ext>
              </a:extLst>
            </p:cNvPr>
            <p:cNvSpPr/>
            <p:nvPr/>
          </p:nvSpPr>
          <p:spPr bwMode="auto">
            <a:xfrm>
              <a:off x="0" y="1908368"/>
              <a:ext cx="12192000" cy="3530984"/>
            </a:xfrm>
            <a:custGeom>
              <a:avLst/>
              <a:gdLst>
                <a:gd name="T0" fmla="*/ 6336 w 6336"/>
                <a:gd name="T1" fmla="*/ 0 h 1835"/>
                <a:gd name="T2" fmla="*/ 3168 w 6336"/>
                <a:gd name="T3" fmla="*/ 1764 h 1835"/>
                <a:gd name="T4" fmla="*/ 0 w 6336"/>
                <a:gd name="T5" fmla="*/ 0 h 1835"/>
                <a:gd name="T6" fmla="*/ 0 w 6336"/>
                <a:gd name="T7" fmla="*/ 71 h 1835"/>
                <a:gd name="T8" fmla="*/ 3168 w 6336"/>
                <a:gd name="T9" fmla="*/ 1835 h 1835"/>
                <a:gd name="T10" fmla="*/ 6336 w 6336"/>
                <a:gd name="T11" fmla="*/ 71 h 1835"/>
                <a:gd name="T12" fmla="*/ 6336 w 6336"/>
                <a:gd name="T13" fmla="*/ 0 h 18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5">
                  <a:moveTo>
                    <a:pt x="6336" y="0"/>
                  </a:moveTo>
                  <a:lnTo>
                    <a:pt x="3168" y="1764"/>
                  </a:lnTo>
                  <a:lnTo>
                    <a:pt x="0" y="0"/>
                  </a:lnTo>
                  <a:lnTo>
                    <a:pt x="0" y="71"/>
                  </a:lnTo>
                  <a:lnTo>
                    <a:pt x="3168" y="1835"/>
                  </a:lnTo>
                  <a:lnTo>
                    <a:pt x="6336" y="71"/>
                  </a:lnTo>
                  <a:lnTo>
                    <a:pt x="6336" y="0"/>
                  </a:lnTo>
                  <a:close/>
                </a:path>
              </a:pathLst>
            </a:custGeom>
            <a:solidFill>
              <a:schemeClr val="bg1">
                <a:lumMod val="95000"/>
                <a:alpha val="40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8BB796B0-447F-4934-961A-F5FC5F561622}"/>
                </a:ext>
              </a:extLst>
            </p:cNvPr>
            <p:cNvSpPr/>
            <p:nvPr/>
          </p:nvSpPr>
          <p:spPr bwMode="auto">
            <a:xfrm>
              <a:off x="0" y="2143126"/>
              <a:ext cx="12192000" cy="3525211"/>
            </a:xfrm>
            <a:custGeom>
              <a:avLst/>
              <a:gdLst>
                <a:gd name="T0" fmla="*/ 6336 w 6336"/>
                <a:gd name="T1" fmla="*/ 0 h 1832"/>
                <a:gd name="T2" fmla="*/ 3168 w 6336"/>
                <a:gd name="T3" fmla="*/ 1761 h 1832"/>
                <a:gd name="T4" fmla="*/ 0 w 6336"/>
                <a:gd name="T5" fmla="*/ 0 h 1832"/>
                <a:gd name="T6" fmla="*/ 0 w 6336"/>
                <a:gd name="T7" fmla="*/ 70 h 1832"/>
                <a:gd name="T8" fmla="*/ 3168 w 6336"/>
                <a:gd name="T9" fmla="*/ 1832 h 1832"/>
                <a:gd name="T10" fmla="*/ 6336 w 6336"/>
                <a:gd name="T11" fmla="*/ 70 h 1832"/>
                <a:gd name="T12" fmla="*/ 6336 w 6336"/>
                <a:gd name="T1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2">
                  <a:moveTo>
                    <a:pt x="6336" y="0"/>
                  </a:moveTo>
                  <a:lnTo>
                    <a:pt x="3168" y="1761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2"/>
                  </a:lnTo>
                  <a:lnTo>
                    <a:pt x="6336" y="70"/>
                  </a:lnTo>
                  <a:lnTo>
                    <a:pt x="6336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E317CC08-8D23-4A23-A201-9A4E86344F86}"/>
                </a:ext>
              </a:extLst>
            </p:cNvPr>
            <p:cNvSpPr/>
            <p:nvPr/>
          </p:nvSpPr>
          <p:spPr bwMode="auto">
            <a:xfrm>
              <a:off x="0" y="2143126"/>
              <a:ext cx="12192000" cy="3525212"/>
            </a:xfrm>
            <a:custGeom>
              <a:avLst/>
              <a:gdLst>
                <a:gd name="T0" fmla="*/ 6336 w 6336"/>
                <a:gd name="T1" fmla="*/ 0 h 1832"/>
                <a:gd name="T2" fmla="*/ 3168 w 6336"/>
                <a:gd name="T3" fmla="*/ 1761 h 1832"/>
                <a:gd name="T4" fmla="*/ 0 w 6336"/>
                <a:gd name="T5" fmla="*/ 0 h 1832"/>
                <a:gd name="T6" fmla="*/ 0 w 6336"/>
                <a:gd name="T7" fmla="*/ 70 h 1832"/>
                <a:gd name="T8" fmla="*/ 3168 w 6336"/>
                <a:gd name="T9" fmla="*/ 1832 h 1832"/>
                <a:gd name="T10" fmla="*/ 6336 w 6336"/>
                <a:gd name="T11" fmla="*/ 70 h 1832"/>
                <a:gd name="T12" fmla="*/ 6336 w 6336"/>
                <a:gd name="T13" fmla="*/ 0 h 18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336" h="1832">
                  <a:moveTo>
                    <a:pt x="6336" y="0"/>
                  </a:moveTo>
                  <a:lnTo>
                    <a:pt x="3168" y="1761"/>
                  </a:lnTo>
                  <a:lnTo>
                    <a:pt x="0" y="0"/>
                  </a:lnTo>
                  <a:lnTo>
                    <a:pt x="0" y="70"/>
                  </a:lnTo>
                  <a:lnTo>
                    <a:pt x="3168" y="1832"/>
                  </a:lnTo>
                  <a:lnTo>
                    <a:pt x="6336" y="70"/>
                  </a:lnTo>
                  <a:lnTo>
                    <a:pt x="6336" y="0"/>
                  </a:lnTo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BF8853C8-8132-4FBD-A051-6882706CDDE2}"/>
                </a:ext>
              </a:extLst>
            </p:cNvPr>
            <p:cNvSpPr/>
            <p:nvPr/>
          </p:nvSpPr>
          <p:spPr bwMode="auto">
            <a:xfrm>
              <a:off x="779318" y="2495262"/>
              <a:ext cx="2053167" cy="1141075"/>
            </a:xfrm>
            <a:custGeom>
              <a:avLst/>
              <a:gdLst>
                <a:gd name="T0" fmla="*/ 468 w 485"/>
                <a:gd name="T1" fmla="*/ 118 h 269"/>
                <a:gd name="T2" fmla="*/ 468 w 485"/>
                <a:gd name="T3" fmla="*/ 151 h 269"/>
                <a:gd name="T4" fmla="*/ 272 w 485"/>
                <a:gd name="T5" fmla="*/ 260 h 269"/>
                <a:gd name="T6" fmla="*/ 213 w 485"/>
                <a:gd name="T7" fmla="*/ 260 h 269"/>
                <a:gd name="T8" fmla="*/ 17 w 485"/>
                <a:gd name="T9" fmla="*/ 151 h 269"/>
                <a:gd name="T10" fmla="*/ 17 w 485"/>
                <a:gd name="T11" fmla="*/ 118 h 269"/>
                <a:gd name="T12" fmla="*/ 213 w 485"/>
                <a:gd name="T13" fmla="*/ 9 h 269"/>
                <a:gd name="T14" fmla="*/ 272 w 485"/>
                <a:gd name="T15" fmla="*/ 9 h 269"/>
                <a:gd name="T16" fmla="*/ 468 w 485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5" h="269">
                  <a:moveTo>
                    <a:pt x="468" y="118"/>
                  </a:moveTo>
                  <a:cubicBezTo>
                    <a:pt x="485" y="127"/>
                    <a:pt x="485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3" y="260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0" y="142"/>
                    <a:pt x="0" y="127"/>
                    <a:pt x="17" y="118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C0C2B629-B83C-4BA9-A5AA-8EEEC0002572}"/>
                </a:ext>
              </a:extLst>
            </p:cNvPr>
            <p:cNvSpPr/>
            <p:nvPr/>
          </p:nvSpPr>
          <p:spPr bwMode="auto">
            <a:xfrm>
              <a:off x="796637" y="3066762"/>
              <a:ext cx="2018530" cy="713893"/>
            </a:xfrm>
            <a:custGeom>
              <a:avLst/>
              <a:gdLst>
                <a:gd name="T0" fmla="*/ 477 w 477"/>
                <a:gd name="T1" fmla="*/ 0 h 168"/>
                <a:gd name="T2" fmla="*/ 464 w 477"/>
                <a:gd name="T3" fmla="*/ 16 h 168"/>
                <a:gd name="T4" fmla="*/ 268 w 477"/>
                <a:gd name="T5" fmla="*/ 125 h 168"/>
                <a:gd name="T6" fmla="*/ 209 w 477"/>
                <a:gd name="T7" fmla="*/ 125 h 168"/>
                <a:gd name="T8" fmla="*/ 13 w 477"/>
                <a:gd name="T9" fmla="*/ 16 h 168"/>
                <a:gd name="T10" fmla="*/ 0 w 477"/>
                <a:gd name="T11" fmla="*/ 0 h 168"/>
                <a:gd name="T12" fmla="*/ 0 w 477"/>
                <a:gd name="T13" fmla="*/ 34 h 168"/>
                <a:gd name="T14" fmla="*/ 13 w 477"/>
                <a:gd name="T15" fmla="*/ 50 h 168"/>
                <a:gd name="T16" fmla="*/ 209 w 477"/>
                <a:gd name="T17" fmla="*/ 159 h 168"/>
                <a:gd name="T18" fmla="*/ 268 w 477"/>
                <a:gd name="T19" fmla="*/ 159 h 168"/>
                <a:gd name="T20" fmla="*/ 464 w 477"/>
                <a:gd name="T21" fmla="*/ 50 h 168"/>
                <a:gd name="T22" fmla="*/ 477 w 477"/>
                <a:gd name="T23" fmla="*/ 34 h 168"/>
                <a:gd name="T24" fmla="*/ 477 w 477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7" h="168">
                  <a:moveTo>
                    <a:pt x="477" y="0"/>
                  </a:moveTo>
                  <a:cubicBezTo>
                    <a:pt x="477" y="6"/>
                    <a:pt x="473" y="12"/>
                    <a:pt x="464" y="16"/>
                  </a:cubicBezTo>
                  <a:cubicBezTo>
                    <a:pt x="268" y="125"/>
                    <a:pt x="268" y="125"/>
                    <a:pt x="268" y="125"/>
                  </a:cubicBezTo>
                  <a:cubicBezTo>
                    <a:pt x="252" y="134"/>
                    <a:pt x="225" y="134"/>
                    <a:pt x="209" y="1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5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5" y="46"/>
                    <a:pt x="13" y="50"/>
                  </a:cubicBezTo>
                  <a:cubicBezTo>
                    <a:pt x="209" y="159"/>
                    <a:pt x="209" y="159"/>
                    <a:pt x="209" y="159"/>
                  </a:cubicBezTo>
                  <a:cubicBezTo>
                    <a:pt x="225" y="168"/>
                    <a:pt x="252" y="168"/>
                    <a:pt x="268" y="159"/>
                  </a:cubicBezTo>
                  <a:cubicBezTo>
                    <a:pt x="464" y="50"/>
                    <a:pt x="464" y="50"/>
                    <a:pt x="464" y="50"/>
                  </a:cubicBezTo>
                  <a:cubicBezTo>
                    <a:pt x="473" y="46"/>
                    <a:pt x="477" y="40"/>
                    <a:pt x="477" y="34"/>
                  </a:cubicBezTo>
                  <a:lnTo>
                    <a:pt x="47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91ED0B9E-8746-464C-8B5B-43CB189EABC9}"/>
                </a:ext>
              </a:extLst>
            </p:cNvPr>
            <p:cNvSpPr/>
            <p:nvPr/>
          </p:nvSpPr>
          <p:spPr bwMode="auto">
            <a:xfrm>
              <a:off x="2924849" y="3678671"/>
              <a:ext cx="2049318" cy="1141075"/>
            </a:xfrm>
            <a:custGeom>
              <a:avLst/>
              <a:gdLst>
                <a:gd name="T0" fmla="*/ 468 w 484"/>
                <a:gd name="T1" fmla="*/ 118 h 269"/>
                <a:gd name="T2" fmla="*/ 468 w 484"/>
                <a:gd name="T3" fmla="*/ 151 h 269"/>
                <a:gd name="T4" fmla="*/ 272 w 484"/>
                <a:gd name="T5" fmla="*/ 260 h 269"/>
                <a:gd name="T6" fmla="*/ 212 w 484"/>
                <a:gd name="T7" fmla="*/ 260 h 269"/>
                <a:gd name="T8" fmla="*/ 16 w 484"/>
                <a:gd name="T9" fmla="*/ 151 h 269"/>
                <a:gd name="T10" fmla="*/ 16 w 484"/>
                <a:gd name="T11" fmla="*/ 118 h 269"/>
                <a:gd name="T12" fmla="*/ 212 w 484"/>
                <a:gd name="T13" fmla="*/ 9 h 269"/>
                <a:gd name="T14" fmla="*/ 272 w 484"/>
                <a:gd name="T15" fmla="*/ 9 h 269"/>
                <a:gd name="T16" fmla="*/ 468 w 484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4" h="269">
                  <a:moveTo>
                    <a:pt x="468" y="118"/>
                  </a:moveTo>
                  <a:cubicBezTo>
                    <a:pt x="484" y="127"/>
                    <a:pt x="484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2" y="260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42"/>
                    <a:pt x="0" y="127"/>
                    <a:pt x="16" y="118"/>
                  </a:cubicBezTo>
                  <a:cubicBezTo>
                    <a:pt x="212" y="9"/>
                    <a:pt x="212" y="9"/>
                    <a:pt x="212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6F4A15F9-8CED-4C20-B5D3-4916B0DAF8DF}"/>
                </a:ext>
              </a:extLst>
            </p:cNvPr>
            <p:cNvSpPr/>
            <p:nvPr/>
          </p:nvSpPr>
          <p:spPr bwMode="auto">
            <a:xfrm>
              <a:off x="2942167" y="4246323"/>
              <a:ext cx="2014682" cy="717742"/>
            </a:xfrm>
            <a:custGeom>
              <a:avLst/>
              <a:gdLst>
                <a:gd name="T0" fmla="*/ 476 w 476"/>
                <a:gd name="T1" fmla="*/ 0 h 169"/>
                <a:gd name="T2" fmla="*/ 464 w 476"/>
                <a:gd name="T3" fmla="*/ 17 h 169"/>
                <a:gd name="T4" fmla="*/ 268 w 476"/>
                <a:gd name="T5" fmla="*/ 126 h 169"/>
                <a:gd name="T6" fmla="*/ 208 w 476"/>
                <a:gd name="T7" fmla="*/ 126 h 169"/>
                <a:gd name="T8" fmla="*/ 12 w 476"/>
                <a:gd name="T9" fmla="*/ 17 h 169"/>
                <a:gd name="T10" fmla="*/ 0 w 476"/>
                <a:gd name="T11" fmla="*/ 0 h 169"/>
                <a:gd name="T12" fmla="*/ 0 w 476"/>
                <a:gd name="T13" fmla="*/ 34 h 169"/>
                <a:gd name="T14" fmla="*/ 12 w 476"/>
                <a:gd name="T15" fmla="*/ 51 h 169"/>
                <a:gd name="T16" fmla="*/ 208 w 476"/>
                <a:gd name="T17" fmla="*/ 160 h 169"/>
                <a:gd name="T18" fmla="*/ 268 w 476"/>
                <a:gd name="T19" fmla="*/ 160 h 169"/>
                <a:gd name="T20" fmla="*/ 464 w 476"/>
                <a:gd name="T21" fmla="*/ 51 h 169"/>
                <a:gd name="T22" fmla="*/ 476 w 476"/>
                <a:gd name="T23" fmla="*/ 34 h 169"/>
                <a:gd name="T24" fmla="*/ 476 w 476"/>
                <a:gd name="T2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6" h="169">
                  <a:moveTo>
                    <a:pt x="476" y="0"/>
                  </a:moveTo>
                  <a:cubicBezTo>
                    <a:pt x="476" y="6"/>
                    <a:pt x="472" y="12"/>
                    <a:pt x="464" y="17"/>
                  </a:cubicBezTo>
                  <a:cubicBezTo>
                    <a:pt x="268" y="126"/>
                    <a:pt x="268" y="126"/>
                    <a:pt x="268" y="126"/>
                  </a:cubicBezTo>
                  <a:cubicBezTo>
                    <a:pt x="252" y="135"/>
                    <a:pt x="225" y="135"/>
                    <a:pt x="208" y="12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2" y="51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25" y="169"/>
                    <a:pt x="252" y="169"/>
                    <a:pt x="268" y="160"/>
                  </a:cubicBezTo>
                  <a:cubicBezTo>
                    <a:pt x="464" y="51"/>
                    <a:pt x="464" y="51"/>
                    <a:pt x="464" y="51"/>
                  </a:cubicBezTo>
                  <a:cubicBezTo>
                    <a:pt x="472" y="46"/>
                    <a:pt x="476" y="40"/>
                    <a:pt x="476" y="34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10ADDC72-EA75-480D-B542-EC39AB77AA07}"/>
                </a:ext>
              </a:extLst>
            </p:cNvPr>
            <p:cNvSpPr/>
            <p:nvPr/>
          </p:nvSpPr>
          <p:spPr bwMode="auto">
            <a:xfrm>
              <a:off x="5072303" y="4858232"/>
              <a:ext cx="2047394" cy="1141075"/>
            </a:xfrm>
            <a:custGeom>
              <a:avLst/>
              <a:gdLst>
                <a:gd name="T0" fmla="*/ 468 w 484"/>
                <a:gd name="T1" fmla="*/ 118 h 269"/>
                <a:gd name="T2" fmla="*/ 468 w 484"/>
                <a:gd name="T3" fmla="*/ 151 h 269"/>
                <a:gd name="T4" fmla="*/ 272 w 484"/>
                <a:gd name="T5" fmla="*/ 260 h 269"/>
                <a:gd name="T6" fmla="*/ 212 w 484"/>
                <a:gd name="T7" fmla="*/ 260 h 269"/>
                <a:gd name="T8" fmla="*/ 16 w 484"/>
                <a:gd name="T9" fmla="*/ 151 h 269"/>
                <a:gd name="T10" fmla="*/ 16 w 484"/>
                <a:gd name="T11" fmla="*/ 118 h 269"/>
                <a:gd name="T12" fmla="*/ 212 w 484"/>
                <a:gd name="T13" fmla="*/ 9 h 269"/>
                <a:gd name="T14" fmla="*/ 272 w 484"/>
                <a:gd name="T15" fmla="*/ 9 h 269"/>
                <a:gd name="T16" fmla="*/ 468 w 484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4" h="269">
                  <a:moveTo>
                    <a:pt x="468" y="118"/>
                  </a:moveTo>
                  <a:cubicBezTo>
                    <a:pt x="484" y="127"/>
                    <a:pt x="484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5" y="269"/>
                    <a:pt x="229" y="269"/>
                    <a:pt x="212" y="260"/>
                  </a:cubicBezTo>
                  <a:cubicBezTo>
                    <a:pt x="16" y="151"/>
                    <a:pt x="16" y="151"/>
                    <a:pt x="16" y="151"/>
                  </a:cubicBezTo>
                  <a:cubicBezTo>
                    <a:pt x="0" y="142"/>
                    <a:pt x="0" y="127"/>
                    <a:pt x="16" y="118"/>
                  </a:cubicBezTo>
                  <a:cubicBezTo>
                    <a:pt x="212" y="9"/>
                    <a:pt x="212" y="9"/>
                    <a:pt x="212" y="9"/>
                  </a:cubicBezTo>
                  <a:cubicBezTo>
                    <a:pt x="229" y="0"/>
                    <a:pt x="255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F3FE78CF-6D1D-4DE2-A682-490EB478E681}"/>
                </a:ext>
              </a:extLst>
            </p:cNvPr>
            <p:cNvSpPr/>
            <p:nvPr/>
          </p:nvSpPr>
          <p:spPr bwMode="auto">
            <a:xfrm>
              <a:off x="5087697" y="5429732"/>
              <a:ext cx="2016606" cy="713893"/>
            </a:xfrm>
            <a:custGeom>
              <a:avLst/>
              <a:gdLst>
                <a:gd name="T0" fmla="*/ 476 w 476"/>
                <a:gd name="T1" fmla="*/ 0 h 168"/>
                <a:gd name="T2" fmla="*/ 464 w 476"/>
                <a:gd name="T3" fmla="*/ 16 h 168"/>
                <a:gd name="T4" fmla="*/ 268 w 476"/>
                <a:gd name="T5" fmla="*/ 125 h 168"/>
                <a:gd name="T6" fmla="*/ 208 w 476"/>
                <a:gd name="T7" fmla="*/ 125 h 168"/>
                <a:gd name="T8" fmla="*/ 12 w 476"/>
                <a:gd name="T9" fmla="*/ 16 h 168"/>
                <a:gd name="T10" fmla="*/ 0 w 476"/>
                <a:gd name="T11" fmla="*/ 0 h 168"/>
                <a:gd name="T12" fmla="*/ 0 w 476"/>
                <a:gd name="T13" fmla="*/ 34 h 168"/>
                <a:gd name="T14" fmla="*/ 12 w 476"/>
                <a:gd name="T15" fmla="*/ 50 h 168"/>
                <a:gd name="T16" fmla="*/ 208 w 476"/>
                <a:gd name="T17" fmla="*/ 159 h 168"/>
                <a:gd name="T18" fmla="*/ 268 w 476"/>
                <a:gd name="T19" fmla="*/ 159 h 168"/>
                <a:gd name="T20" fmla="*/ 464 w 476"/>
                <a:gd name="T21" fmla="*/ 50 h 168"/>
                <a:gd name="T22" fmla="*/ 476 w 476"/>
                <a:gd name="T23" fmla="*/ 34 h 168"/>
                <a:gd name="T24" fmla="*/ 476 w 476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6" h="168">
                  <a:moveTo>
                    <a:pt x="476" y="0"/>
                  </a:moveTo>
                  <a:cubicBezTo>
                    <a:pt x="476" y="6"/>
                    <a:pt x="472" y="12"/>
                    <a:pt x="464" y="16"/>
                  </a:cubicBezTo>
                  <a:cubicBezTo>
                    <a:pt x="268" y="125"/>
                    <a:pt x="268" y="125"/>
                    <a:pt x="268" y="125"/>
                  </a:cubicBezTo>
                  <a:cubicBezTo>
                    <a:pt x="251" y="134"/>
                    <a:pt x="225" y="134"/>
                    <a:pt x="208" y="125"/>
                  </a:cubicBezTo>
                  <a:cubicBezTo>
                    <a:pt x="12" y="16"/>
                    <a:pt x="12" y="16"/>
                    <a:pt x="12" y="16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2" y="50"/>
                  </a:cubicBezTo>
                  <a:cubicBezTo>
                    <a:pt x="208" y="159"/>
                    <a:pt x="208" y="159"/>
                    <a:pt x="208" y="159"/>
                  </a:cubicBezTo>
                  <a:cubicBezTo>
                    <a:pt x="225" y="168"/>
                    <a:pt x="251" y="168"/>
                    <a:pt x="268" y="159"/>
                  </a:cubicBezTo>
                  <a:cubicBezTo>
                    <a:pt x="464" y="50"/>
                    <a:pt x="464" y="50"/>
                    <a:pt x="464" y="50"/>
                  </a:cubicBezTo>
                  <a:cubicBezTo>
                    <a:pt x="472" y="46"/>
                    <a:pt x="476" y="40"/>
                    <a:pt x="476" y="34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969EF6B8-4837-4137-AEF1-F3A13BAE76C9}"/>
                </a:ext>
              </a:extLst>
            </p:cNvPr>
            <p:cNvSpPr/>
            <p:nvPr/>
          </p:nvSpPr>
          <p:spPr bwMode="auto">
            <a:xfrm>
              <a:off x="7213985" y="3678671"/>
              <a:ext cx="2053167" cy="1141075"/>
            </a:xfrm>
            <a:custGeom>
              <a:avLst/>
              <a:gdLst>
                <a:gd name="T0" fmla="*/ 469 w 485"/>
                <a:gd name="T1" fmla="*/ 118 h 269"/>
                <a:gd name="T2" fmla="*/ 469 w 485"/>
                <a:gd name="T3" fmla="*/ 151 h 269"/>
                <a:gd name="T4" fmla="*/ 272 w 485"/>
                <a:gd name="T5" fmla="*/ 260 h 269"/>
                <a:gd name="T6" fmla="*/ 213 w 485"/>
                <a:gd name="T7" fmla="*/ 260 h 269"/>
                <a:gd name="T8" fmla="*/ 17 w 485"/>
                <a:gd name="T9" fmla="*/ 151 h 269"/>
                <a:gd name="T10" fmla="*/ 17 w 485"/>
                <a:gd name="T11" fmla="*/ 118 h 269"/>
                <a:gd name="T12" fmla="*/ 213 w 485"/>
                <a:gd name="T13" fmla="*/ 9 h 269"/>
                <a:gd name="T14" fmla="*/ 272 w 485"/>
                <a:gd name="T15" fmla="*/ 9 h 269"/>
                <a:gd name="T16" fmla="*/ 469 w 485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5" h="269">
                  <a:moveTo>
                    <a:pt x="469" y="118"/>
                  </a:moveTo>
                  <a:cubicBezTo>
                    <a:pt x="485" y="127"/>
                    <a:pt x="485" y="142"/>
                    <a:pt x="469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3" y="260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1" y="142"/>
                    <a:pt x="0" y="127"/>
                    <a:pt x="17" y="118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9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F486B61-A7AD-4E89-96E7-26EC12F2C4E8}"/>
                </a:ext>
              </a:extLst>
            </p:cNvPr>
            <p:cNvSpPr/>
            <p:nvPr/>
          </p:nvSpPr>
          <p:spPr bwMode="auto">
            <a:xfrm>
              <a:off x="7235152" y="4246323"/>
              <a:ext cx="2014682" cy="717742"/>
            </a:xfrm>
            <a:custGeom>
              <a:avLst/>
              <a:gdLst>
                <a:gd name="T0" fmla="*/ 476 w 476"/>
                <a:gd name="T1" fmla="*/ 0 h 169"/>
                <a:gd name="T2" fmla="*/ 464 w 476"/>
                <a:gd name="T3" fmla="*/ 17 h 169"/>
                <a:gd name="T4" fmla="*/ 267 w 476"/>
                <a:gd name="T5" fmla="*/ 126 h 169"/>
                <a:gd name="T6" fmla="*/ 208 w 476"/>
                <a:gd name="T7" fmla="*/ 126 h 169"/>
                <a:gd name="T8" fmla="*/ 12 w 476"/>
                <a:gd name="T9" fmla="*/ 17 h 169"/>
                <a:gd name="T10" fmla="*/ 0 w 476"/>
                <a:gd name="T11" fmla="*/ 0 h 169"/>
                <a:gd name="T12" fmla="*/ 0 w 476"/>
                <a:gd name="T13" fmla="*/ 34 h 169"/>
                <a:gd name="T14" fmla="*/ 12 w 476"/>
                <a:gd name="T15" fmla="*/ 51 h 169"/>
                <a:gd name="T16" fmla="*/ 208 w 476"/>
                <a:gd name="T17" fmla="*/ 160 h 169"/>
                <a:gd name="T18" fmla="*/ 267 w 476"/>
                <a:gd name="T19" fmla="*/ 160 h 169"/>
                <a:gd name="T20" fmla="*/ 464 w 476"/>
                <a:gd name="T21" fmla="*/ 51 h 169"/>
                <a:gd name="T22" fmla="*/ 476 w 476"/>
                <a:gd name="T23" fmla="*/ 34 h 169"/>
                <a:gd name="T24" fmla="*/ 476 w 476"/>
                <a:gd name="T25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6" h="169">
                  <a:moveTo>
                    <a:pt x="476" y="0"/>
                  </a:moveTo>
                  <a:cubicBezTo>
                    <a:pt x="476" y="6"/>
                    <a:pt x="472" y="12"/>
                    <a:pt x="464" y="17"/>
                  </a:cubicBezTo>
                  <a:cubicBezTo>
                    <a:pt x="267" y="126"/>
                    <a:pt x="267" y="126"/>
                    <a:pt x="267" y="126"/>
                  </a:cubicBezTo>
                  <a:cubicBezTo>
                    <a:pt x="251" y="135"/>
                    <a:pt x="224" y="135"/>
                    <a:pt x="208" y="126"/>
                  </a:cubicBezTo>
                  <a:cubicBezTo>
                    <a:pt x="12" y="17"/>
                    <a:pt x="12" y="17"/>
                    <a:pt x="12" y="17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2" y="51"/>
                  </a:cubicBezTo>
                  <a:cubicBezTo>
                    <a:pt x="208" y="160"/>
                    <a:pt x="208" y="160"/>
                    <a:pt x="208" y="160"/>
                  </a:cubicBezTo>
                  <a:cubicBezTo>
                    <a:pt x="224" y="169"/>
                    <a:pt x="251" y="169"/>
                    <a:pt x="267" y="160"/>
                  </a:cubicBezTo>
                  <a:cubicBezTo>
                    <a:pt x="464" y="51"/>
                    <a:pt x="464" y="51"/>
                    <a:pt x="464" y="51"/>
                  </a:cubicBezTo>
                  <a:cubicBezTo>
                    <a:pt x="472" y="46"/>
                    <a:pt x="476" y="40"/>
                    <a:pt x="476" y="34"/>
                  </a:cubicBezTo>
                  <a:lnTo>
                    <a:pt x="476" y="0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6F0177DC-C754-4211-81C5-FF3FA1186869}"/>
                </a:ext>
              </a:extLst>
            </p:cNvPr>
            <p:cNvSpPr/>
            <p:nvPr/>
          </p:nvSpPr>
          <p:spPr bwMode="auto">
            <a:xfrm>
              <a:off x="9359515" y="2495262"/>
              <a:ext cx="2053167" cy="1141075"/>
            </a:xfrm>
            <a:custGeom>
              <a:avLst/>
              <a:gdLst>
                <a:gd name="T0" fmla="*/ 468 w 485"/>
                <a:gd name="T1" fmla="*/ 118 h 269"/>
                <a:gd name="T2" fmla="*/ 468 w 485"/>
                <a:gd name="T3" fmla="*/ 151 h 269"/>
                <a:gd name="T4" fmla="*/ 272 w 485"/>
                <a:gd name="T5" fmla="*/ 260 h 269"/>
                <a:gd name="T6" fmla="*/ 213 w 485"/>
                <a:gd name="T7" fmla="*/ 260 h 269"/>
                <a:gd name="T8" fmla="*/ 17 w 485"/>
                <a:gd name="T9" fmla="*/ 151 h 269"/>
                <a:gd name="T10" fmla="*/ 17 w 485"/>
                <a:gd name="T11" fmla="*/ 118 h 269"/>
                <a:gd name="T12" fmla="*/ 213 w 485"/>
                <a:gd name="T13" fmla="*/ 9 h 269"/>
                <a:gd name="T14" fmla="*/ 272 w 485"/>
                <a:gd name="T15" fmla="*/ 9 h 269"/>
                <a:gd name="T16" fmla="*/ 468 w 485"/>
                <a:gd name="T17" fmla="*/ 118 h 2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85" h="269">
                  <a:moveTo>
                    <a:pt x="468" y="118"/>
                  </a:moveTo>
                  <a:cubicBezTo>
                    <a:pt x="485" y="127"/>
                    <a:pt x="485" y="142"/>
                    <a:pt x="468" y="151"/>
                  </a:cubicBezTo>
                  <a:cubicBezTo>
                    <a:pt x="272" y="260"/>
                    <a:pt x="272" y="260"/>
                    <a:pt x="272" y="260"/>
                  </a:cubicBezTo>
                  <a:cubicBezTo>
                    <a:pt x="256" y="269"/>
                    <a:pt x="229" y="269"/>
                    <a:pt x="213" y="260"/>
                  </a:cubicBezTo>
                  <a:cubicBezTo>
                    <a:pt x="17" y="151"/>
                    <a:pt x="17" y="151"/>
                    <a:pt x="17" y="151"/>
                  </a:cubicBezTo>
                  <a:cubicBezTo>
                    <a:pt x="0" y="142"/>
                    <a:pt x="0" y="127"/>
                    <a:pt x="17" y="118"/>
                  </a:cubicBezTo>
                  <a:cubicBezTo>
                    <a:pt x="213" y="9"/>
                    <a:pt x="213" y="9"/>
                    <a:pt x="213" y="9"/>
                  </a:cubicBezTo>
                  <a:cubicBezTo>
                    <a:pt x="229" y="0"/>
                    <a:pt x="256" y="0"/>
                    <a:pt x="272" y="9"/>
                  </a:cubicBezTo>
                  <a:lnTo>
                    <a:pt x="468" y="118"/>
                  </a:lnTo>
                  <a:close/>
                </a:path>
              </a:pathLst>
            </a:cu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AF4445B0-D7A9-4F41-BE0A-B091E3EEC941}"/>
                </a:ext>
              </a:extLst>
            </p:cNvPr>
            <p:cNvSpPr/>
            <p:nvPr/>
          </p:nvSpPr>
          <p:spPr bwMode="auto">
            <a:xfrm>
              <a:off x="9376834" y="3066762"/>
              <a:ext cx="2018530" cy="713893"/>
            </a:xfrm>
            <a:custGeom>
              <a:avLst/>
              <a:gdLst>
                <a:gd name="T0" fmla="*/ 477 w 477"/>
                <a:gd name="T1" fmla="*/ 0 h 168"/>
                <a:gd name="T2" fmla="*/ 464 w 477"/>
                <a:gd name="T3" fmla="*/ 16 h 168"/>
                <a:gd name="T4" fmla="*/ 268 w 477"/>
                <a:gd name="T5" fmla="*/ 125 h 168"/>
                <a:gd name="T6" fmla="*/ 209 w 477"/>
                <a:gd name="T7" fmla="*/ 125 h 168"/>
                <a:gd name="T8" fmla="*/ 13 w 477"/>
                <a:gd name="T9" fmla="*/ 16 h 168"/>
                <a:gd name="T10" fmla="*/ 0 w 477"/>
                <a:gd name="T11" fmla="*/ 0 h 168"/>
                <a:gd name="T12" fmla="*/ 0 w 477"/>
                <a:gd name="T13" fmla="*/ 34 h 168"/>
                <a:gd name="T14" fmla="*/ 13 w 477"/>
                <a:gd name="T15" fmla="*/ 50 h 168"/>
                <a:gd name="T16" fmla="*/ 209 w 477"/>
                <a:gd name="T17" fmla="*/ 159 h 168"/>
                <a:gd name="T18" fmla="*/ 268 w 477"/>
                <a:gd name="T19" fmla="*/ 159 h 168"/>
                <a:gd name="T20" fmla="*/ 464 w 477"/>
                <a:gd name="T21" fmla="*/ 50 h 168"/>
                <a:gd name="T22" fmla="*/ 477 w 477"/>
                <a:gd name="T23" fmla="*/ 34 h 168"/>
                <a:gd name="T24" fmla="*/ 477 w 477"/>
                <a:gd name="T25" fmla="*/ 0 h 1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77" h="168">
                  <a:moveTo>
                    <a:pt x="477" y="0"/>
                  </a:moveTo>
                  <a:cubicBezTo>
                    <a:pt x="477" y="6"/>
                    <a:pt x="472" y="12"/>
                    <a:pt x="464" y="16"/>
                  </a:cubicBezTo>
                  <a:cubicBezTo>
                    <a:pt x="268" y="125"/>
                    <a:pt x="268" y="125"/>
                    <a:pt x="268" y="125"/>
                  </a:cubicBezTo>
                  <a:cubicBezTo>
                    <a:pt x="252" y="134"/>
                    <a:pt x="225" y="134"/>
                    <a:pt x="209" y="125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4" y="12"/>
                    <a:pt x="0" y="6"/>
                    <a:pt x="0" y="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0" y="40"/>
                    <a:pt x="4" y="46"/>
                    <a:pt x="13" y="50"/>
                  </a:cubicBezTo>
                  <a:cubicBezTo>
                    <a:pt x="209" y="159"/>
                    <a:pt x="209" y="159"/>
                    <a:pt x="209" y="159"/>
                  </a:cubicBezTo>
                  <a:cubicBezTo>
                    <a:pt x="225" y="168"/>
                    <a:pt x="252" y="168"/>
                    <a:pt x="268" y="159"/>
                  </a:cubicBezTo>
                  <a:cubicBezTo>
                    <a:pt x="464" y="50"/>
                    <a:pt x="464" y="50"/>
                    <a:pt x="464" y="50"/>
                  </a:cubicBezTo>
                  <a:cubicBezTo>
                    <a:pt x="472" y="46"/>
                    <a:pt x="477" y="40"/>
                    <a:pt x="477" y="34"/>
                  </a:cubicBezTo>
                  <a:lnTo>
                    <a:pt x="47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CDDA827D-BAF1-44D8-B83E-0A92565DE260}"/>
                </a:ext>
              </a:extLst>
            </p:cNvPr>
            <p:cNvSpPr/>
            <p:nvPr/>
          </p:nvSpPr>
          <p:spPr bwMode="auto">
            <a:xfrm>
              <a:off x="1481050" y="2802862"/>
              <a:ext cx="649702" cy="525874"/>
            </a:xfrm>
            <a:custGeom>
              <a:avLst/>
              <a:gdLst>
                <a:gd name="connsiteX0" fmla="*/ 355420 w 607568"/>
                <a:gd name="connsiteY0" fmla="*/ 250307 h 491771"/>
                <a:gd name="connsiteX1" fmla="*/ 352312 w 607568"/>
                <a:gd name="connsiteY1" fmla="*/ 251812 h 491771"/>
                <a:gd name="connsiteX2" fmla="*/ 321042 w 607568"/>
                <a:gd name="connsiteY2" fmla="*/ 289814 h 491771"/>
                <a:gd name="connsiteX3" fmla="*/ 321513 w 607568"/>
                <a:gd name="connsiteY3" fmla="*/ 295364 h 491771"/>
                <a:gd name="connsiteX4" fmla="*/ 369736 w 607568"/>
                <a:gd name="connsiteY4" fmla="*/ 338257 h 491771"/>
                <a:gd name="connsiteX5" fmla="*/ 371997 w 607568"/>
                <a:gd name="connsiteY5" fmla="*/ 339104 h 491771"/>
                <a:gd name="connsiteX6" fmla="*/ 373127 w 607568"/>
                <a:gd name="connsiteY6" fmla="*/ 338916 h 491771"/>
                <a:gd name="connsiteX7" fmla="*/ 375293 w 607568"/>
                <a:gd name="connsiteY7" fmla="*/ 336282 h 491771"/>
                <a:gd name="connsiteX8" fmla="*/ 383676 w 607568"/>
                <a:gd name="connsiteY8" fmla="*/ 279467 h 491771"/>
                <a:gd name="connsiteX9" fmla="*/ 376424 w 607568"/>
                <a:gd name="connsiteY9" fmla="*/ 263287 h 491771"/>
                <a:gd name="connsiteX10" fmla="*/ 357681 w 607568"/>
                <a:gd name="connsiteY10" fmla="*/ 250965 h 491771"/>
                <a:gd name="connsiteX11" fmla="*/ 355420 w 607568"/>
                <a:gd name="connsiteY11" fmla="*/ 250307 h 491771"/>
                <a:gd name="connsiteX12" fmla="*/ 258879 w 607568"/>
                <a:gd name="connsiteY12" fmla="*/ 250307 h 491771"/>
                <a:gd name="connsiteX13" fmla="*/ 256712 w 607568"/>
                <a:gd name="connsiteY13" fmla="*/ 250965 h 491771"/>
                <a:gd name="connsiteX14" fmla="*/ 237969 w 607568"/>
                <a:gd name="connsiteY14" fmla="*/ 263287 h 491771"/>
                <a:gd name="connsiteX15" fmla="*/ 230717 w 607568"/>
                <a:gd name="connsiteY15" fmla="*/ 279467 h 491771"/>
                <a:gd name="connsiteX16" fmla="*/ 239100 w 607568"/>
                <a:gd name="connsiteY16" fmla="*/ 336282 h 491771"/>
                <a:gd name="connsiteX17" fmla="*/ 241266 w 607568"/>
                <a:gd name="connsiteY17" fmla="*/ 338916 h 491771"/>
                <a:gd name="connsiteX18" fmla="*/ 242396 w 607568"/>
                <a:gd name="connsiteY18" fmla="*/ 339104 h 491771"/>
                <a:gd name="connsiteX19" fmla="*/ 244657 w 607568"/>
                <a:gd name="connsiteY19" fmla="*/ 338257 h 491771"/>
                <a:gd name="connsiteX20" fmla="*/ 292880 w 607568"/>
                <a:gd name="connsiteY20" fmla="*/ 295364 h 491771"/>
                <a:gd name="connsiteX21" fmla="*/ 293351 w 607568"/>
                <a:gd name="connsiteY21" fmla="*/ 289814 h 491771"/>
                <a:gd name="connsiteX22" fmla="*/ 261987 w 607568"/>
                <a:gd name="connsiteY22" fmla="*/ 251812 h 491771"/>
                <a:gd name="connsiteX23" fmla="*/ 258879 w 607568"/>
                <a:gd name="connsiteY23" fmla="*/ 250307 h 491771"/>
                <a:gd name="connsiteX24" fmla="*/ 500465 w 607568"/>
                <a:gd name="connsiteY24" fmla="*/ 66049 h 491771"/>
                <a:gd name="connsiteX25" fmla="*/ 565743 w 607568"/>
                <a:gd name="connsiteY25" fmla="*/ 130673 h 491771"/>
                <a:gd name="connsiteX26" fmla="*/ 566120 w 607568"/>
                <a:gd name="connsiteY26" fmla="*/ 130673 h 491771"/>
                <a:gd name="connsiteX27" fmla="*/ 580250 w 607568"/>
                <a:gd name="connsiteY27" fmla="*/ 160962 h 491771"/>
                <a:gd name="connsiteX28" fmla="*/ 560939 w 607568"/>
                <a:gd name="connsiteY28" fmla="*/ 182503 h 491771"/>
                <a:gd name="connsiteX29" fmla="*/ 531927 w 607568"/>
                <a:gd name="connsiteY29" fmla="*/ 223799 h 491771"/>
                <a:gd name="connsiteX30" fmla="*/ 528253 w 607568"/>
                <a:gd name="connsiteY30" fmla="*/ 234240 h 491771"/>
                <a:gd name="connsiteX31" fmla="*/ 530797 w 607568"/>
                <a:gd name="connsiteY31" fmla="*/ 246281 h 491771"/>
                <a:gd name="connsiteX32" fmla="*/ 545868 w 607568"/>
                <a:gd name="connsiteY32" fmla="*/ 261143 h 491771"/>
                <a:gd name="connsiteX33" fmla="*/ 558961 w 607568"/>
                <a:gd name="connsiteY33" fmla="*/ 263777 h 491771"/>
                <a:gd name="connsiteX34" fmla="*/ 597299 w 607568"/>
                <a:gd name="connsiteY34" fmla="*/ 301968 h 491771"/>
                <a:gd name="connsiteX35" fmla="*/ 607002 w 607568"/>
                <a:gd name="connsiteY35" fmla="*/ 350788 h 491771"/>
                <a:gd name="connsiteX36" fmla="*/ 601256 w 607568"/>
                <a:gd name="connsiteY36" fmla="*/ 373835 h 491771"/>
                <a:gd name="connsiteX37" fmla="*/ 579685 w 607568"/>
                <a:gd name="connsiteY37" fmla="*/ 384088 h 491771"/>
                <a:gd name="connsiteX38" fmla="*/ 490386 w 607568"/>
                <a:gd name="connsiteY38" fmla="*/ 384088 h 491771"/>
                <a:gd name="connsiteX39" fmla="*/ 467685 w 607568"/>
                <a:gd name="connsiteY39" fmla="*/ 310058 h 491771"/>
                <a:gd name="connsiteX40" fmla="*/ 431702 w 607568"/>
                <a:gd name="connsiteY40" fmla="*/ 267445 h 491771"/>
                <a:gd name="connsiteX41" fmla="*/ 441969 w 607568"/>
                <a:gd name="connsiteY41" fmla="*/ 263777 h 491771"/>
                <a:gd name="connsiteX42" fmla="*/ 455157 w 607568"/>
                <a:gd name="connsiteY42" fmla="*/ 261237 h 491771"/>
                <a:gd name="connsiteX43" fmla="*/ 470228 w 607568"/>
                <a:gd name="connsiteY43" fmla="*/ 246281 h 491771"/>
                <a:gd name="connsiteX44" fmla="*/ 472677 w 607568"/>
                <a:gd name="connsiteY44" fmla="*/ 234240 h 491771"/>
                <a:gd name="connsiteX45" fmla="*/ 469098 w 607568"/>
                <a:gd name="connsiteY45" fmla="*/ 223893 h 491771"/>
                <a:gd name="connsiteX46" fmla="*/ 439991 w 607568"/>
                <a:gd name="connsiteY46" fmla="*/ 182503 h 491771"/>
                <a:gd name="connsiteX47" fmla="*/ 426144 w 607568"/>
                <a:gd name="connsiteY47" fmla="*/ 172720 h 491771"/>
                <a:gd name="connsiteX48" fmla="*/ 441404 w 607568"/>
                <a:gd name="connsiteY48" fmla="*/ 143278 h 491771"/>
                <a:gd name="connsiteX49" fmla="*/ 439708 w 607568"/>
                <a:gd name="connsiteY49" fmla="*/ 107438 h 491771"/>
                <a:gd name="connsiteX50" fmla="*/ 500465 w 607568"/>
                <a:gd name="connsiteY50" fmla="*/ 66049 h 491771"/>
                <a:gd name="connsiteX51" fmla="*/ 107100 w 607568"/>
                <a:gd name="connsiteY51" fmla="*/ 66049 h 491771"/>
                <a:gd name="connsiteX52" fmla="*/ 171341 w 607568"/>
                <a:gd name="connsiteY52" fmla="*/ 123618 h 491771"/>
                <a:gd name="connsiteX53" fmla="*/ 172849 w 607568"/>
                <a:gd name="connsiteY53" fmla="*/ 143278 h 491771"/>
                <a:gd name="connsiteX54" fmla="*/ 184246 w 607568"/>
                <a:gd name="connsiteY54" fmla="*/ 168205 h 491771"/>
                <a:gd name="connsiteX55" fmla="*/ 167574 w 607568"/>
                <a:gd name="connsiteY55" fmla="*/ 182503 h 491771"/>
                <a:gd name="connsiteX56" fmla="*/ 138468 w 607568"/>
                <a:gd name="connsiteY56" fmla="*/ 223799 h 491771"/>
                <a:gd name="connsiteX57" fmla="*/ 134794 w 607568"/>
                <a:gd name="connsiteY57" fmla="*/ 234240 h 491771"/>
                <a:gd name="connsiteX58" fmla="*/ 137337 w 607568"/>
                <a:gd name="connsiteY58" fmla="*/ 246281 h 491771"/>
                <a:gd name="connsiteX59" fmla="*/ 152408 w 607568"/>
                <a:gd name="connsiteY59" fmla="*/ 261143 h 491771"/>
                <a:gd name="connsiteX60" fmla="*/ 165596 w 607568"/>
                <a:gd name="connsiteY60" fmla="*/ 263777 h 491771"/>
                <a:gd name="connsiteX61" fmla="*/ 179442 w 607568"/>
                <a:gd name="connsiteY61" fmla="*/ 268856 h 491771"/>
                <a:gd name="connsiteX62" fmla="*/ 146662 w 607568"/>
                <a:gd name="connsiteY62" fmla="*/ 310058 h 491771"/>
                <a:gd name="connsiteX63" fmla="*/ 123867 w 607568"/>
                <a:gd name="connsiteY63" fmla="*/ 384088 h 491771"/>
                <a:gd name="connsiteX64" fmla="*/ 27883 w 607568"/>
                <a:gd name="connsiteY64" fmla="*/ 384088 h 491771"/>
                <a:gd name="connsiteX65" fmla="*/ 6312 w 607568"/>
                <a:gd name="connsiteY65" fmla="*/ 373835 h 491771"/>
                <a:gd name="connsiteX66" fmla="*/ 566 w 607568"/>
                <a:gd name="connsiteY66" fmla="*/ 350788 h 491771"/>
                <a:gd name="connsiteX67" fmla="*/ 10268 w 607568"/>
                <a:gd name="connsiteY67" fmla="*/ 301968 h 491771"/>
                <a:gd name="connsiteX68" fmla="*/ 48606 w 607568"/>
                <a:gd name="connsiteY68" fmla="*/ 263777 h 491771"/>
                <a:gd name="connsiteX69" fmla="*/ 61699 w 607568"/>
                <a:gd name="connsiteY69" fmla="*/ 261237 h 491771"/>
                <a:gd name="connsiteX70" fmla="*/ 76770 w 607568"/>
                <a:gd name="connsiteY70" fmla="*/ 246281 h 491771"/>
                <a:gd name="connsiteX71" fmla="*/ 79313 w 607568"/>
                <a:gd name="connsiteY71" fmla="*/ 234240 h 491771"/>
                <a:gd name="connsiteX72" fmla="*/ 75639 w 607568"/>
                <a:gd name="connsiteY72" fmla="*/ 223893 h 491771"/>
                <a:gd name="connsiteX73" fmla="*/ 46628 w 607568"/>
                <a:gd name="connsiteY73" fmla="*/ 182503 h 491771"/>
                <a:gd name="connsiteX74" fmla="*/ 27318 w 607568"/>
                <a:gd name="connsiteY74" fmla="*/ 160962 h 491771"/>
                <a:gd name="connsiteX75" fmla="*/ 41447 w 607568"/>
                <a:gd name="connsiteY75" fmla="*/ 130673 h 491771"/>
                <a:gd name="connsiteX76" fmla="*/ 41824 w 607568"/>
                <a:gd name="connsiteY76" fmla="*/ 130673 h 491771"/>
                <a:gd name="connsiteX77" fmla="*/ 107100 w 607568"/>
                <a:gd name="connsiteY77" fmla="*/ 66049 h 491771"/>
                <a:gd name="connsiteX78" fmla="*/ 298626 w 607568"/>
                <a:gd name="connsiteY78" fmla="*/ 0 h 491771"/>
                <a:gd name="connsiteX79" fmla="*/ 315956 w 607568"/>
                <a:gd name="connsiteY79" fmla="*/ 0 h 491771"/>
                <a:gd name="connsiteX80" fmla="*/ 401854 w 607568"/>
                <a:gd name="connsiteY80" fmla="*/ 85787 h 491771"/>
                <a:gd name="connsiteX81" fmla="*/ 401854 w 607568"/>
                <a:gd name="connsiteY81" fmla="*/ 95476 h 491771"/>
                <a:gd name="connsiteX82" fmla="*/ 421633 w 607568"/>
                <a:gd name="connsiteY82" fmla="*/ 138840 h 491771"/>
                <a:gd name="connsiteX83" fmla="*/ 417960 w 607568"/>
                <a:gd name="connsiteY83" fmla="*/ 149281 h 491771"/>
                <a:gd name="connsiteX84" fmla="*/ 417112 w 607568"/>
                <a:gd name="connsiteY84" fmla="*/ 151068 h 491771"/>
                <a:gd name="connsiteX85" fmla="*/ 411273 w 607568"/>
                <a:gd name="connsiteY85" fmla="*/ 159534 h 491771"/>
                <a:gd name="connsiteX86" fmla="*/ 410896 w 607568"/>
                <a:gd name="connsiteY86" fmla="*/ 159910 h 491771"/>
                <a:gd name="connsiteX87" fmla="*/ 394037 w 607568"/>
                <a:gd name="connsiteY87" fmla="*/ 169787 h 491771"/>
                <a:gd name="connsiteX88" fmla="*/ 384900 w 607568"/>
                <a:gd name="connsiteY88" fmla="*/ 189541 h 491771"/>
                <a:gd name="connsiteX89" fmla="*/ 384712 w 607568"/>
                <a:gd name="connsiteY89" fmla="*/ 189823 h 491771"/>
                <a:gd name="connsiteX90" fmla="*/ 373316 w 607568"/>
                <a:gd name="connsiteY90" fmla="*/ 207131 h 491771"/>
                <a:gd name="connsiteX91" fmla="*/ 372750 w 607568"/>
                <a:gd name="connsiteY91" fmla="*/ 207789 h 491771"/>
                <a:gd name="connsiteX92" fmla="*/ 359847 w 607568"/>
                <a:gd name="connsiteY92" fmla="*/ 222275 h 491771"/>
                <a:gd name="connsiteX93" fmla="*/ 359188 w 607568"/>
                <a:gd name="connsiteY93" fmla="*/ 222934 h 491771"/>
                <a:gd name="connsiteX94" fmla="*/ 345154 w 607568"/>
                <a:gd name="connsiteY94" fmla="*/ 234598 h 491771"/>
                <a:gd name="connsiteX95" fmla="*/ 345625 w 607568"/>
                <a:gd name="connsiteY95" fmla="*/ 236855 h 491771"/>
                <a:gd name="connsiteX96" fmla="*/ 348639 w 607568"/>
                <a:gd name="connsiteY96" fmla="*/ 235538 h 491771"/>
                <a:gd name="connsiteX97" fmla="*/ 355514 w 607568"/>
                <a:gd name="connsiteY97" fmla="*/ 234033 h 491771"/>
                <a:gd name="connsiteX98" fmla="*/ 366628 w 607568"/>
                <a:gd name="connsiteY98" fmla="*/ 237326 h 491771"/>
                <a:gd name="connsiteX99" fmla="*/ 385371 w 607568"/>
                <a:gd name="connsiteY99" fmla="*/ 249648 h 491771"/>
                <a:gd name="connsiteX100" fmla="*/ 399876 w 607568"/>
                <a:gd name="connsiteY100" fmla="*/ 279373 h 491771"/>
                <a:gd name="connsiteX101" fmla="*/ 430016 w 607568"/>
                <a:gd name="connsiteY101" fmla="*/ 289814 h 491771"/>
                <a:gd name="connsiteX102" fmla="*/ 448382 w 607568"/>
                <a:gd name="connsiteY102" fmla="*/ 316058 h 491771"/>
                <a:gd name="connsiteX103" fmla="*/ 481630 w 607568"/>
                <a:gd name="connsiteY103" fmla="*/ 424515 h 491771"/>
                <a:gd name="connsiteX104" fmla="*/ 483891 w 607568"/>
                <a:gd name="connsiteY104" fmla="*/ 436461 h 491771"/>
                <a:gd name="connsiteX105" fmla="*/ 473718 w 607568"/>
                <a:gd name="connsiteY105" fmla="*/ 470700 h 491771"/>
                <a:gd name="connsiteX106" fmla="*/ 443956 w 607568"/>
                <a:gd name="connsiteY106" fmla="*/ 490360 h 491771"/>
                <a:gd name="connsiteX107" fmla="*/ 431805 w 607568"/>
                <a:gd name="connsiteY107" fmla="*/ 491771 h 491771"/>
                <a:gd name="connsiteX108" fmla="*/ 325375 w 607568"/>
                <a:gd name="connsiteY108" fmla="*/ 491771 h 491771"/>
                <a:gd name="connsiteX109" fmla="*/ 337430 w 607568"/>
                <a:gd name="connsiteY109" fmla="*/ 415296 h 491771"/>
                <a:gd name="connsiteX110" fmla="*/ 334605 w 607568"/>
                <a:gd name="connsiteY110" fmla="*/ 389052 h 491771"/>
                <a:gd name="connsiteX111" fmla="*/ 323962 w 607568"/>
                <a:gd name="connsiteY111" fmla="*/ 360927 h 491771"/>
                <a:gd name="connsiteX112" fmla="*/ 337430 w 607568"/>
                <a:gd name="connsiteY112" fmla="*/ 347476 h 491771"/>
                <a:gd name="connsiteX113" fmla="*/ 307196 w 607568"/>
                <a:gd name="connsiteY113" fmla="*/ 317281 h 491771"/>
                <a:gd name="connsiteX114" fmla="*/ 276868 w 607568"/>
                <a:gd name="connsiteY114" fmla="*/ 347476 h 491771"/>
                <a:gd name="connsiteX115" fmla="*/ 290337 w 607568"/>
                <a:gd name="connsiteY115" fmla="*/ 360927 h 491771"/>
                <a:gd name="connsiteX116" fmla="*/ 279694 w 607568"/>
                <a:gd name="connsiteY116" fmla="*/ 389052 h 491771"/>
                <a:gd name="connsiteX117" fmla="*/ 276963 w 607568"/>
                <a:gd name="connsiteY117" fmla="*/ 415296 h 491771"/>
                <a:gd name="connsiteX118" fmla="*/ 288736 w 607568"/>
                <a:gd name="connsiteY118" fmla="*/ 491771 h 491771"/>
                <a:gd name="connsiteX119" fmla="*/ 182493 w 607568"/>
                <a:gd name="connsiteY119" fmla="*/ 491771 h 491771"/>
                <a:gd name="connsiteX120" fmla="*/ 170437 w 607568"/>
                <a:gd name="connsiteY120" fmla="*/ 490360 h 491771"/>
                <a:gd name="connsiteX121" fmla="*/ 140675 w 607568"/>
                <a:gd name="connsiteY121" fmla="*/ 470700 h 491771"/>
                <a:gd name="connsiteX122" fmla="*/ 132669 w 607568"/>
                <a:gd name="connsiteY122" fmla="*/ 424515 h 491771"/>
                <a:gd name="connsiteX123" fmla="*/ 166011 w 607568"/>
                <a:gd name="connsiteY123" fmla="*/ 316058 h 491771"/>
                <a:gd name="connsiteX124" fmla="*/ 184377 w 607568"/>
                <a:gd name="connsiteY124" fmla="*/ 289814 h 491771"/>
                <a:gd name="connsiteX125" fmla="*/ 214517 w 607568"/>
                <a:gd name="connsiteY125" fmla="*/ 279373 h 491771"/>
                <a:gd name="connsiteX126" fmla="*/ 214517 w 607568"/>
                <a:gd name="connsiteY126" fmla="*/ 279279 h 491771"/>
                <a:gd name="connsiteX127" fmla="*/ 229022 w 607568"/>
                <a:gd name="connsiteY127" fmla="*/ 249648 h 491771"/>
                <a:gd name="connsiteX128" fmla="*/ 247765 w 607568"/>
                <a:gd name="connsiteY128" fmla="*/ 237326 h 491771"/>
                <a:gd name="connsiteX129" fmla="*/ 258879 w 607568"/>
                <a:gd name="connsiteY129" fmla="*/ 234033 h 491771"/>
                <a:gd name="connsiteX130" fmla="*/ 265754 w 607568"/>
                <a:gd name="connsiteY130" fmla="*/ 235538 h 491771"/>
                <a:gd name="connsiteX131" fmla="*/ 268768 w 607568"/>
                <a:gd name="connsiteY131" fmla="*/ 236855 h 491771"/>
                <a:gd name="connsiteX132" fmla="*/ 269239 w 607568"/>
                <a:gd name="connsiteY132" fmla="*/ 234598 h 491771"/>
                <a:gd name="connsiteX133" fmla="*/ 255205 w 607568"/>
                <a:gd name="connsiteY133" fmla="*/ 222934 h 491771"/>
                <a:gd name="connsiteX134" fmla="*/ 254546 w 607568"/>
                <a:gd name="connsiteY134" fmla="*/ 222275 h 491771"/>
                <a:gd name="connsiteX135" fmla="*/ 241548 w 607568"/>
                <a:gd name="connsiteY135" fmla="*/ 207789 h 491771"/>
                <a:gd name="connsiteX136" fmla="*/ 241077 w 607568"/>
                <a:gd name="connsiteY136" fmla="*/ 207225 h 491771"/>
                <a:gd name="connsiteX137" fmla="*/ 229681 w 607568"/>
                <a:gd name="connsiteY137" fmla="*/ 189823 h 491771"/>
                <a:gd name="connsiteX138" fmla="*/ 229493 w 607568"/>
                <a:gd name="connsiteY138" fmla="*/ 189635 h 491771"/>
                <a:gd name="connsiteX139" fmla="*/ 220356 w 607568"/>
                <a:gd name="connsiteY139" fmla="*/ 169787 h 491771"/>
                <a:gd name="connsiteX140" fmla="*/ 203497 w 607568"/>
                <a:gd name="connsiteY140" fmla="*/ 159910 h 491771"/>
                <a:gd name="connsiteX141" fmla="*/ 203120 w 607568"/>
                <a:gd name="connsiteY141" fmla="*/ 159534 h 491771"/>
                <a:gd name="connsiteX142" fmla="*/ 197281 w 607568"/>
                <a:gd name="connsiteY142" fmla="*/ 151068 h 491771"/>
                <a:gd name="connsiteX143" fmla="*/ 196433 w 607568"/>
                <a:gd name="connsiteY143" fmla="*/ 149281 h 491771"/>
                <a:gd name="connsiteX144" fmla="*/ 192666 w 607568"/>
                <a:gd name="connsiteY144" fmla="*/ 138840 h 491771"/>
                <a:gd name="connsiteX145" fmla="*/ 212727 w 607568"/>
                <a:gd name="connsiteY145" fmla="*/ 95476 h 491771"/>
                <a:gd name="connsiteX146" fmla="*/ 212727 w 607568"/>
                <a:gd name="connsiteY146" fmla="*/ 85787 h 491771"/>
                <a:gd name="connsiteX147" fmla="*/ 298626 w 607568"/>
                <a:gd name="connsiteY147" fmla="*/ 0 h 4917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</a:cxnLst>
              <a:rect l="l" t="t" r="r" b="b"/>
              <a:pathLst>
                <a:path w="607568" h="491771">
                  <a:moveTo>
                    <a:pt x="355420" y="250307"/>
                  </a:moveTo>
                  <a:cubicBezTo>
                    <a:pt x="354290" y="250307"/>
                    <a:pt x="353160" y="250871"/>
                    <a:pt x="352312" y="251812"/>
                  </a:cubicBezTo>
                  <a:lnTo>
                    <a:pt x="321042" y="289814"/>
                  </a:lnTo>
                  <a:cubicBezTo>
                    <a:pt x="319723" y="291507"/>
                    <a:pt x="319912" y="293953"/>
                    <a:pt x="321513" y="295364"/>
                  </a:cubicBezTo>
                  <a:lnTo>
                    <a:pt x="369736" y="338257"/>
                  </a:lnTo>
                  <a:cubicBezTo>
                    <a:pt x="370396" y="338822"/>
                    <a:pt x="371149" y="339104"/>
                    <a:pt x="371997" y="339104"/>
                  </a:cubicBezTo>
                  <a:cubicBezTo>
                    <a:pt x="372374" y="339104"/>
                    <a:pt x="372750" y="339010"/>
                    <a:pt x="373127" y="338916"/>
                  </a:cubicBezTo>
                  <a:cubicBezTo>
                    <a:pt x="374257" y="338539"/>
                    <a:pt x="375105" y="337505"/>
                    <a:pt x="375293" y="336282"/>
                  </a:cubicBezTo>
                  <a:lnTo>
                    <a:pt x="383676" y="279467"/>
                  </a:lnTo>
                  <a:cubicBezTo>
                    <a:pt x="384618" y="273164"/>
                    <a:pt x="381792" y="266768"/>
                    <a:pt x="376424" y="263287"/>
                  </a:cubicBezTo>
                  <a:lnTo>
                    <a:pt x="357681" y="250965"/>
                  </a:lnTo>
                  <a:cubicBezTo>
                    <a:pt x="357021" y="250495"/>
                    <a:pt x="356174" y="250307"/>
                    <a:pt x="355420" y="250307"/>
                  </a:cubicBezTo>
                  <a:close/>
                  <a:moveTo>
                    <a:pt x="258879" y="250307"/>
                  </a:moveTo>
                  <a:cubicBezTo>
                    <a:pt x="258125" y="250307"/>
                    <a:pt x="257372" y="250495"/>
                    <a:pt x="256712" y="250965"/>
                  </a:cubicBezTo>
                  <a:lnTo>
                    <a:pt x="237969" y="263287"/>
                  </a:lnTo>
                  <a:cubicBezTo>
                    <a:pt x="232601" y="266768"/>
                    <a:pt x="229775" y="273164"/>
                    <a:pt x="230717" y="279467"/>
                  </a:cubicBezTo>
                  <a:lnTo>
                    <a:pt x="239100" y="336282"/>
                  </a:lnTo>
                  <a:cubicBezTo>
                    <a:pt x="239288" y="337505"/>
                    <a:pt x="240136" y="338539"/>
                    <a:pt x="241266" y="338916"/>
                  </a:cubicBezTo>
                  <a:cubicBezTo>
                    <a:pt x="241643" y="339010"/>
                    <a:pt x="242019" y="339104"/>
                    <a:pt x="242396" y="339104"/>
                  </a:cubicBezTo>
                  <a:cubicBezTo>
                    <a:pt x="243244" y="339104"/>
                    <a:pt x="243997" y="338822"/>
                    <a:pt x="244657" y="338257"/>
                  </a:cubicBezTo>
                  <a:lnTo>
                    <a:pt x="292880" y="295364"/>
                  </a:lnTo>
                  <a:cubicBezTo>
                    <a:pt x="294481" y="293953"/>
                    <a:pt x="294670" y="291507"/>
                    <a:pt x="293351" y="289814"/>
                  </a:cubicBezTo>
                  <a:lnTo>
                    <a:pt x="261987" y="251812"/>
                  </a:lnTo>
                  <a:cubicBezTo>
                    <a:pt x="261233" y="250871"/>
                    <a:pt x="260103" y="250307"/>
                    <a:pt x="258879" y="250307"/>
                  </a:cubicBezTo>
                  <a:close/>
                  <a:moveTo>
                    <a:pt x="500465" y="66049"/>
                  </a:moveTo>
                  <a:cubicBezTo>
                    <a:pt x="548129" y="66049"/>
                    <a:pt x="562447" y="93516"/>
                    <a:pt x="565743" y="130673"/>
                  </a:cubicBezTo>
                  <a:cubicBezTo>
                    <a:pt x="565932" y="130673"/>
                    <a:pt x="566026" y="130673"/>
                    <a:pt x="566120" y="130673"/>
                  </a:cubicBezTo>
                  <a:cubicBezTo>
                    <a:pt x="577141" y="133118"/>
                    <a:pt x="583358" y="146664"/>
                    <a:pt x="580250" y="160962"/>
                  </a:cubicBezTo>
                  <a:cubicBezTo>
                    <a:pt x="577706" y="172532"/>
                    <a:pt x="569700" y="180904"/>
                    <a:pt x="560939" y="182503"/>
                  </a:cubicBezTo>
                  <a:cubicBezTo>
                    <a:pt x="554628" y="199529"/>
                    <a:pt x="543796" y="214016"/>
                    <a:pt x="531927" y="223799"/>
                  </a:cubicBezTo>
                  <a:cubicBezTo>
                    <a:pt x="528913" y="226338"/>
                    <a:pt x="527500" y="230383"/>
                    <a:pt x="528253" y="234240"/>
                  </a:cubicBezTo>
                  <a:lnTo>
                    <a:pt x="530797" y="246281"/>
                  </a:lnTo>
                  <a:cubicBezTo>
                    <a:pt x="532304" y="253806"/>
                    <a:pt x="538238" y="259732"/>
                    <a:pt x="545868" y="261143"/>
                  </a:cubicBezTo>
                  <a:lnTo>
                    <a:pt x="558961" y="263777"/>
                  </a:lnTo>
                  <a:cubicBezTo>
                    <a:pt x="578366" y="267634"/>
                    <a:pt x="593437" y="282684"/>
                    <a:pt x="597299" y="301968"/>
                  </a:cubicBezTo>
                  <a:lnTo>
                    <a:pt x="607002" y="350788"/>
                  </a:lnTo>
                  <a:cubicBezTo>
                    <a:pt x="608697" y="358972"/>
                    <a:pt x="606531" y="367438"/>
                    <a:pt x="601256" y="373835"/>
                  </a:cubicBezTo>
                  <a:cubicBezTo>
                    <a:pt x="595981" y="380325"/>
                    <a:pt x="588068" y="384088"/>
                    <a:pt x="579685" y="384088"/>
                  </a:cubicBezTo>
                  <a:lnTo>
                    <a:pt x="490386" y="384088"/>
                  </a:lnTo>
                  <a:lnTo>
                    <a:pt x="467685" y="310058"/>
                  </a:lnTo>
                  <a:cubicBezTo>
                    <a:pt x="461845" y="291150"/>
                    <a:pt x="448563" y="276194"/>
                    <a:pt x="431702" y="267445"/>
                  </a:cubicBezTo>
                  <a:cubicBezTo>
                    <a:pt x="434999" y="265940"/>
                    <a:pt x="438295" y="264529"/>
                    <a:pt x="441969" y="263777"/>
                  </a:cubicBezTo>
                  <a:lnTo>
                    <a:pt x="455157" y="261237"/>
                  </a:lnTo>
                  <a:cubicBezTo>
                    <a:pt x="462692" y="259732"/>
                    <a:pt x="468627" y="253806"/>
                    <a:pt x="470228" y="246281"/>
                  </a:cubicBezTo>
                  <a:lnTo>
                    <a:pt x="472677" y="234240"/>
                  </a:lnTo>
                  <a:cubicBezTo>
                    <a:pt x="473525" y="230383"/>
                    <a:pt x="472112" y="226338"/>
                    <a:pt x="469098" y="223893"/>
                  </a:cubicBezTo>
                  <a:cubicBezTo>
                    <a:pt x="457229" y="214016"/>
                    <a:pt x="446302" y="199529"/>
                    <a:pt x="439991" y="182503"/>
                  </a:cubicBezTo>
                  <a:cubicBezTo>
                    <a:pt x="434716" y="181563"/>
                    <a:pt x="429818" y="177894"/>
                    <a:pt x="426144" y="172720"/>
                  </a:cubicBezTo>
                  <a:cubicBezTo>
                    <a:pt x="433303" y="164725"/>
                    <a:pt x="438861" y="154754"/>
                    <a:pt x="441404" y="143278"/>
                  </a:cubicBezTo>
                  <a:cubicBezTo>
                    <a:pt x="444324" y="130485"/>
                    <a:pt x="443476" y="118068"/>
                    <a:pt x="439708" y="107438"/>
                  </a:cubicBezTo>
                  <a:cubicBezTo>
                    <a:pt x="447244" y="82699"/>
                    <a:pt x="464200" y="66049"/>
                    <a:pt x="500465" y="66049"/>
                  </a:cubicBezTo>
                  <a:close/>
                  <a:moveTo>
                    <a:pt x="107100" y="66049"/>
                  </a:moveTo>
                  <a:cubicBezTo>
                    <a:pt x="151561" y="66049"/>
                    <a:pt x="166820" y="90130"/>
                    <a:pt x="171341" y="123618"/>
                  </a:cubicBezTo>
                  <a:cubicBezTo>
                    <a:pt x="170965" y="129920"/>
                    <a:pt x="171436" y="136505"/>
                    <a:pt x="172849" y="143278"/>
                  </a:cubicBezTo>
                  <a:cubicBezTo>
                    <a:pt x="174921" y="152590"/>
                    <a:pt x="178971" y="161056"/>
                    <a:pt x="184246" y="168205"/>
                  </a:cubicBezTo>
                  <a:cubicBezTo>
                    <a:pt x="180573" y="175919"/>
                    <a:pt x="174356" y="181281"/>
                    <a:pt x="167574" y="182503"/>
                  </a:cubicBezTo>
                  <a:cubicBezTo>
                    <a:pt x="161263" y="199529"/>
                    <a:pt x="150336" y="214016"/>
                    <a:pt x="138468" y="223799"/>
                  </a:cubicBezTo>
                  <a:cubicBezTo>
                    <a:pt x="135453" y="226338"/>
                    <a:pt x="134040" y="230383"/>
                    <a:pt x="134794" y="234240"/>
                  </a:cubicBezTo>
                  <a:lnTo>
                    <a:pt x="137337" y="246281"/>
                  </a:lnTo>
                  <a:cubicBezTo>
                    <a:pt x="138939" y="253806"/>
                    <a:pt x="144873" y="259732"/>
                    <a:pt x="152408" y="261143"/>
                  </a:cubicBezTo>
                  <a:lnTo>
                    <a:pt x="165596" y="263777"/>
                  </a:lnTo>
                  <a:cubicBezTo>
                    <a:pt x="170494" y="264812"/>
                    <a:pt x="175203" y="266505"/>
                    <a:pt x="179442" y="268856"/>
                  </a:cubicBezTo>
                  <a:cubicBezTo>
                    <a:pt x="164088" y="277793"/>
                    <a:pt x="152126" y="292279"/>
                    <a:pt x="146662" y="310058"/>
                  </a:cubicBezTo>
                  <a:lnTo>
                    <a:pt x="123867" y="384088"/>
                  </a:lnTo>
                  <a:lnTo>
                    <a:pt x="27883" y="384088"/>
                  </a:lnTo>
                  <a:cubicBezTo>
                    <a:pt x="19499" y="384088"/>
                    <a:pt x="11587" y="380325"/>
                    <a:pt x="6312" y="373835"/>
                  </a:cubicBezTo>
                  <a:cubicBezTo>
                    <a:pt x="1037" y="367438"/>
                    <a:pt x="-1129" y="358972"/>
                    <a:pt x="566" y="350788"/>
                  </a:cubicBezTo>
                  <a:lnTo>
                    <a:pt x="10268" y="301968"/>
                  </a:lnTo>
                  <a:cubicBezTo>
                    <a:pt x="14130" y="282684"/>
                    <a:pt x="29202" y="267634"/>
                    <a:pt x="48606" y="263777"/>
                  </a:cubicBezTo>
                  <a:lnTo>
                    <a:pt x="61699" y="261237"/>
                  </a:lnTo>
                  <a:cubicBezTo>
                    <a:pt x="69328" y="259732"/>
                    <a:pt x="75263" y="253806"/>
                    <a:pt x="76770" y="246281"/>
                  </a:cubicBezTo>
                  <a:lnTo>
                    <a:pt x="79313" y="234240"/>
                  </a:lnTo>
                  <a:cubicBezTo>
                    <a:pt x="80067" y="230383"/>
                    <a:pt x="78654" y="226338"/>
                    <a:pt x="75639" y="223893"/>
                  </a:cubicBezTo>
                  <a:cubicBezTo>
                    <a:pt x="63771" y="214016"/>
                    <a:pt x="52939" y="199623"/>
                    <a:pt x="46628" y="182503"/>
                  </a:cubicBezTo>
                  <a:cubicBezTo>
                    <a:pt x="37867" y="180904"/>
                    <a:pt x="29861" y="172532"/>
                    <a:pt x="27318" y="160962"/>
                  </a:cubicBezTo>
                  <a:cubicBezTo>
                    <a:pt x="24115" y="146664"/>
                    <a:pt x="30426" y="133118"/>
                    <a:pt x="41447" y="130673"/>
                  </a:cubicBezTo>
                  <a:cubicBezTo>
                    <a:pt x="41541" y="130673"/>
                    <a:pt x="41729" y="130673"/>
                    <a:pt x="41824" y="130673"/>
                  </a:cubicBezTo>
                  <a:cubicBezTo>
                    <a:pt x="45403" y="93516"/>
                    <a:pt x="60192" y="66049"/>
                    <a:pt x="107100" y="66049"/>
                  </a:cubicBezTo>
                  <a:close/>
                  <a:moveTo>
                    <a:pt x="298626" y="0"/>
                  </a:moveTo>
                  <a:lnTo>
                    <a:pt x="315956" y="0"/>
                  </a:lnTo>
                  <a:cubicBezTo>
                    <a:pt x="363426" y="0"/>
                    <a:pt x="401854" y="38378"/>
                    <a:pt x="401854" y="85787"/>
                  </a:cubicBezTo>
                  <a:lnTo>
                    <a:pt x="401854" y="95476"/>
                  </a:lnTo>
                  <a:cubicBezTo>
                    <a:pt x="417301" y="99238"/>
                    <a:pt x="426154" y="118522"/>
                    <a:pt x="421633" y="138840"/>
                  </a:cubicBezTo>
                  <a:cubicBezTo>
                    <a:pt x="420880" y="142602"/>
                    <a:pt x="419467" y="146083"/>
                    <a:pt x="417960" y="149281"/>
                  </a:cubicBezTo>
                  <a:cubicBezTo>
                    <a:pt x="417677" y="149939"/>
                    <a:pt x="417395" y="150504"/>
                    <a:pt x="417112" y="151068"/>
                  </a:cubicBezTo>
                  <a:cubicBezTo>
                    <a:pt x="415417" y="154172"/>
                    <a:pt x="413533" y="157088"/>
                    <a:pt x="411273" y="159534"/>
                  </a:cubicBezTo>
                  <a:cubicBezTo>
                    <a:pt x="411179" y="159628"/>
                    <a:pt x="410990" y="159816"/>
                    <a:pt x="410896" y="159910"/>
                  </a:cubicBezTo>
                  <a:cubicBezTo>
                    <a:pt x="406092" y="165084"/>
                    <a:pt x="400159" y="168658"/>
                    <a:pt x="394037" y="169787"/>
                  </a:cubicBezTo>
                  <a:cubicBezTo>
                    <a:pt x="391494" y="176654"/>
                    <a:pt x="388385" y="183332"/>
                    <a:pt x="384900" y="189541"/>
                  </a:cubicBezTo>
                  <a:cubicBezTo>
                    <a:pt x="384806" y="189635"/>
                    <a:pt x="384806" y="189729"/>
                    <a:pt x="384712" y="189823"/>
                  </a:cubicBezTo>
                  <a:cubicBezTo>
                    <a:pt x="381227" y="196031"/>
                    <a:pt x="377460" y="201769"/>
                    <a:pt x="373316" y="207131"/>
                  </a:cubicBezTo>
                  <a:cubicBezTo>
                    <a:pt x="373127" y="207413"/>
                    <a:pt x="372939" y="207601"/>
                    <a:pt x="372750" y="207789"/>
                  </a:cubicBezTo>
                  <a:cubicBezTo>
                    <a:pt x="368700" y="213057"/>
                    <a:pt x="364368" y="217948"/>
                    <a:pt x="359847" y="222275"/>
                  </a:cubicBezTo>
                  <a:cubicBezTo>
                    <a:pt x="359658" y="222463"/>
                    <a:pt x="359376" y="222651"/>
                    <a:pt x="359188" y="222934"/>
                  </a:cubicBezTo>
                  <a:cubicBezTo>
                    <a:pt x="354667" y="227261"/>
                    <a:pt x="349957" y="231211"/>
                    <a:pt x="345154" y="234598"/>
                  </a:cubicBezTo>
                  <a:lnTo>
                    <a:pt x="345625" y="236855"/>
                  </a:lnTo>
                  <a:cubicBezTo>
                    <a:pt x="346567" y="236385"/>
                    <a:pt x="347603" y="235915"/>
                    <a:pt x="348639" y="235538"/>
                  </a:cubicBezTo>
                  <a:cubicBezTo>
                    <a:pt x="350899" y="234786"/>
                    <a:pt x="353065" y="234033"/>
                    <a:pt x="355514" y="234033"/>
                  </a:cubicBezTo>
                  <a:cubicBezTo>
                    <a:pt x="359470" y="234033"/>
                    <a:pt x="363238" y="235162"/>
                    <a:pt x="366628" y="237326"/>
                  </a:cubicBezTo>
                  <a:cubicBezTo>
                    <a:pt x="366628" y="237326"/>
                    <a:pt x="380756" y="246450"/>
                    <a:pt x="385371" y="249648"/>
                  </a:cubicBezTo>
                  <a:cubicBezTo>
                    <a:pt x="401854" y="261030"/>
                    <a:pt x="399876" y="279373"/>
                    <a:pt x="399876" y="279373"/>
                  </a:cubicBezTo>
                  <a:cubicBezTo>
                    <a:pt x="410990" y="279655"/>
                    <a:pt x="421822" y="283041"/>
                    <a:pt x="430016" y="289814"/>
                  </a:cubicBezTo>
                  <a:cubicBezTo>
                    <a:pt x="445180" y="302324"/>
                    <a:pt x="447535" y="313330"/>
                    <a:pt x="448382" y="316058"/>
                  </a:cubicBezTo>
                  <a:lnTo>
                    <a:pt x="481630" y="424515"/>
                  </a:lnTo>
                  <a:cubicBezTo>
                    <a:pt x="482855" y="428371"/>
                    <a:pt x="483608" y="432416"/>
                    <a:pt x="483891" y="436461"/>
                  </a:cubicBezTo>
                  <a:cubicBezTo>
                    <a:pt x="484644" y="448595"/>
                    <a:pt x="481159" y="460730"/>
                    <a:pt x="473718" y="470700"/>
                  </a:cubicBezTo>
                  <a:cubicBezTo>
                    <a:pt x="466372" y="480671"/>
                    <a:pt x="455823" y="487538"/>
                    <a:pt x="443956" y="490360"/>
                  </a:cubicBezTo>
                  <a:cubicBezTo>
                    <a:pt x="440000" y="491301"/>
                    <a:pt x="435950" y="491771"/>
                    <a:pt x="431805" y="491771"/>
                  </a:cubicBezTo>
                  <a:lnTo>
                    <a:pt x="325375" y="491771"/>
                  </a:lnTo>
                  <a:lnTo>
                    <a:pt x="337430" y="415296"/>
                  </a:lnTo>
                  <a:cubicBezTo>
                    <a:pt x="338749" y="406454"/>
                    <a:pt x="337807" y="397424"/>
                    <a:pt x="334605" y="389052"/>
                  </a:cubicBezTo>
                  <a:lnTo>
                    <a:pt x="323962" y="360927"/>
                  </a:lnTo>
                  <a:lnTo>
                    <a:pt x="337430" y="347476"/>
                  </a:lnTo>
                  <a:lnTo>
                    <a:pt x="307196" y="317281"/>
                  </a:lnTo>
                  <a:lnTo>
                    <a:pt x="276868" y="347476"/>
                  </a:lnTo>
                  <a:lnTo>
                    <a:pt x="290337" y="360927"/>
                  </a:lnTo>
                  <a:lnTo>
                    <a:pt x="279694" y="389052"/>
                  </a:lnTo>
                  <a:cubicBezTo>
                    <a:pt x="276586" y="397424"/>
                    <a:pt x="275644" y="406454"/>
                    <a:pt x="276963" y="415296"/>
                  </a:cubicBezTo>
                  <a:lnTo>
                    <a:pt x="288736" y="491771"/>
                  </a:lnTo>
                  <a:lnTo>
                    <a:pt x="182493" y="491771"/>
                  </a:lnTo>
                  <a:cubicBezTo>
                    <a:pt x="178443" y="491771"/>
                    <a:pt x="174299" y="491301"/>
                    <a:pt x="170437" y="490360"/>
                  </a:cubicBezTo>
                  <a:cubicBezTo>
                    <a:pt x="158570" y="487538"/>
                    <a:pt x="148021" y="480671"/>
                    <a:pt x="140675" y="470700"/>
                  </a:cubicBezTo>
                  <a:cubicBezTo>
                    <a:pt x="130785" y="457343"/>
                    <a:pt x="127865" y="440223"/>
                    <a:pt x="132669" y="424515"/>
                  </a:cubicBezTo>
                  <a:lnTo>
                    <a:pt x="166011" y="316058"/>
                  </a:lnTo>
                  <a:cubicBezTo>
                    <a:pt x="166858" y="313330"/>
                    <a:pt x="170908" y="300631"/>
                    <a:pt x="184377" y="289814"/>
                  </a:cubicBezTo>
                  <a:cubicBezTo>
                    <a:pt x="192666" y="283229"/>
                    <a:pt x="203403" y="279655"/>
                    <a:pt x="214517" y="279373"/>
                  </a:cubicBezTo>
                  <a:lnTo>
                    <a:pt x="214517" y="279279"/>
                  </a:lnTo>
                  <a:cubicBezTo>
                    <a:pt x="214140" y="273447"/>
                    <a:pt x="211880" y="260654"/>
                    <a:pt x="229022" y="249648"/>
                  </a:cubicBezTo>
                  <a:cubicBezTo>
                    <a:pt x="233731" y="246638"/>
                    <a:pt x="247765" y="237326"/>
                    <a:pt x="247765" y="237326"/>
                  </a:cubicBezTo>
                  <a:cubicBezTo>
                    <a:pt x="251061" y="235162"/>
                    <a:pt x="254923" y="234033"/>
                    <a:pt x="258879" y="234033"/>
                  </a:cubicBezTo>
                  <a:cubicBezTo>
                    <a:pt x="261328" y="234033"/>
                    <a:pt x="263494" y="234786"/>
                    <a:pt x="265754" y="235538"/>
                  </a:cubicBezTo>
                  <a:cubicBezTo>
                    <a:pt x="266790" y="236009"/>
                    <a:pt x="267826" y="236385"/>
                    <a:pt x="268768" y="236855"/>
                  </a:cubicBezTo>
                  <a:lnTo>
                    <a:pt x="269239" y="234598"/>
                  </a:lnTo>
                  <a:cubicBezTo>
                    <a:pt x="264436" y="231211"/>
                    <a:pt x="259726" y="227261"/>
                    <a:pt x="255205" y="222934"/>
                  </a:cubicBezTo>
                  <a:cubicBezTo>
                    <a:pt x="254923" y="222651"/>
                    <a:pt x="254735" y="222463"/>
                    <a:pt x="254546" y="222275"/>
                  </a:cubicBezTo>
                  <a:cubicBezTo>
                    <a:pt x="250025" y="217948"/>
                    <a:pt x="245693" y="213057"/>
                    <a:pt x="241548" y="207789"/>
                  </a:cubicBezTo>
                  <a:cubicBezTo>
                    <a:pt x="241454" y="207601"/>
                    <a:pt x="241266" y="207413"/>
                    <a:pt x="241077" y="207225"/>
                  </a:cubicBezTo>
                  <a:cubicBezTo>
                    <a:pt x="236933" y="201769"/>
                    <a:pt x="233072" y="196031"/>
                    <a:pt x="229681" y="189823"/>
                  </a:cubicBezTo>
                  <a:cubicBezTo>
                    <a:pt x="229587" y="189729"/>
                    <a:pt x="229587" y="189635"/>
                    <a:pt x="229493" y="189635"/>
                  </a:cubicBezTo>
                  <a:cubicBezTo>
                    <a:pt x="226008" y="183332"/>
                    <a:pt x="222899" y="176654"/>
                    <a:pt x="220356" y="169787"/>
                  </a:cubicBezTo>
                  <a:cubicBezTo>
                    <a:pt x="214140" y="168658"/>
                    <a:pt x="208301" y="165084"/>
                    <a:pt x="203497" y="159910"/>
                  </a:cubicBezTo>
                  <a:cubicBezTo>
                    <a:pt x="203309" y="159722"/>
                    <a:pt x="203214" y="159628"/>
                    <a:pt x="203120" y="159534"/>
                  </a:cubicBezTo>
                  <a:cubicBezTo>
                    <a:pt x="200860" y="157088"/>
                    <a:pt x="198976" y="154172"/>
                    <a:pt x="197281" y="151068"/>
                  </a:cubicBezTo>
                  <a:cubicBezTo>
                    <a:pt x="196998" y="150504"/>
                    <a:pt x="196716" y="149939"/>
                    <a:pt x="196433" y="149281"/>
                  </a:cubicBezTo>
                  <a:cubicBezTo>
                    <a:pt x="194832" y="146083"/>
                    <a:pt x="193513" y="142602"/>
                    <a:pt x="192666" y="138840"/>
                  </a:cubicBezTo>
                  <a:cubicBezTo>
                    <a:pt x="188145" y="118428"/>
                    <a:pt x="197092" y="99050"/>
                    <a:pt x="212727" y="95476"/>
                  </a:cubicBezTo>
                  <a:lnTo>
                    <a:pt x="212727" y="85787"/>
                  </a:lnTo>
                  <a:cubicBezTo>
                    <a:pt x="212727" y="38378"/>
                    <a:pt x="251155" y="0"/>
                    <a:pt x="298626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500751F-9E2A-4986-BE62-B355D43C80D6}"/>
                </a:ext>
              </a:extLst>
            </p:cNvPr>
            <p:cNvSpPr/>
            <p:nvPr/>
          </p:nvSpPr>
          <p:spPr bwMode="auto">
            <a:xfrm>
              <a:off x="3690679" y="4000209"/>
              <a:ext cx="517658" cy="497998"/>
            </a:xfrm>
            <a:custGeom>
              <a:avLst/>
              <a:gdLst>
                <a:gd name="connsiteX0" fmla="*/ 195114 w 608814"/>
                <a:gd name="connsiteY0" fmla="*/ 351627 h 585693"/>
                <a:gd name="connsiteX1" fmla="*/ 258290 w 608814"/>
                <a:gd name="connsiteY1" fmla="*/ 351627 h 585693"/>
                <a:gd name="connsiteX2" fmla="*/ 282731 w 608814"/>
                <a:gd name="connsiteY2" fmla="*/ 376018 h 585693"/>
                <a:gd name="connsiteX3" fmla="*/ 282731 w 608814"/>
                <a:gd name="connsiteY3" fmla="*/ 561210 h 585693"/>
                <a:gd name="connsiteX4" fmla="*/ 258290 w 608814"/>
                <a:gd name="connsiteY4" fmla="*/ 585693 h 585693"/>
                <a:gd name="connsiteX5" fmla="*/ 195114 w 608814"/>
                <a:gd name="connsiteY5" fmla="*/ 585693 h 585693"/>
                <a:gd name="connsiteX6" fmla="*/ 170673 w 608814"/>
                <a:gd name="connsiteY6" fmla="*/ 561210 h 585693"/>
                <a:gd name="connsiteX7" fmla="*/ 170673 w 608814"/>
                <a:gd name="connsiteY7" fmla="*/ 376018 h 585693"/>
                <a:gd name="connsiteX8" fmla="*/ 195114 w 608814"/>
                <a:gd name="connsiteY8" fmla="*/ 351627 h 585693"/>
                <a:gd name="connsiteX9" fmla="*/ 358100 w 608814"/>
                <a:gd name="connsiteY9" fmla="*/ 249872 h 585693"/>
                <a:gd name="connsiteX10" fmla="*/ 421316 w 608814"/>
                <a:gd name="connsiteY10" fmla="*/ 249872 h 585693"/>
                <a:gd name="connsiteX11" fmla="*/ 445737 w 608814"/>
                <a:gd name="connsiteY11" fmla="*/ 274267 h 585693"/>
                <a:gd name="connsiteX12" fmla="*/ 445737 w 608814"/>
                <a:gd name="connsiteY12" fmla="*/ 561206 h 585693"/>
                <a:gd name="connsiteX13" fmla="*/ 421316 w 608814"/>
                <a:gd name="connsiteY13" fmla="*/ 585693 h 585693"/>
                <a:gd name="connsiteX14" fmla="*/ 358100 w 608814"/>
                <a:gd name="connsiteY14" fmla="*/ 585693 h 585693"/>
                <a:gd name="connsiteX15" fmla="*/ 333679 w 608814"/>
                <a:gd name="connsiteY15" fmla="*/ 561206 h 585693"/>
                <a:gd name="connsiteX16" fmla="*/ 333679 w 608814"/>
                <a:gd name="connsiteY16" fmla="*/ 274267 h 585693"/>
                <a:gd name="connsiteX17" fmla="*/ 358100 w 608814"/>
                <a:gd name="connsiteY17" fmla="*/ 249872 h 585693"/>
                <a:gd name="connsiteX18" fmla="*/ 140260 w 608814"/>
                <a:gd name="connsiteY18" fmla="*/ 224680 h 585693"/>
                <a:gd name="connsiteX19" fmla="*/ 191844 w 608814"/>
                <a:gd name="connsiteY19" fmla="*/ 276122 h 585693"/>
                <a:gd name="connsiteX20" fmla="*/ 140260 w 608814"/>
                <a:gd name="connsiteY20" fmla="*/ 327564 h 585693"/>
                <a:gd name="connsiteX21" fmla="*/ 88676 w 608814"/>
                <a:gd name="connsiteY21" fmla="*/ 276122 h 585693"/>
                <a:gd name="connsiteX22" fmla="*/ 140260 w 608814"/>
                <a:gd name="connsiteY22" fmla="*/ 224680 h 585693"/>
                <a:gd name="connsiteX23" fmla="*/ 521177 w 608814"/>
                <a:gd name="connsiteY23" fmla="*/ 148117 h 585693"/>
                <a:gd name="connsiteX24" fmla="*/ 584301 w 608814"/>
                <a:gd name="connsiteY24" fmla="*/ 148117 h 585693"/>
                <a:gd name="connsiteX25" fmla="*/ 608814 w 608814"/>
                <a:gd name="connsiteY25" fmla="*/ 172601 h 585693"/>
                <a:gd name="connsiteX26" fmla="*/ 608814 w 608814"/>
                <a:gd name="connsiteY26" fmla="*/ 561209 h 585693"/>
                <a:gd name="connsiteX27" fmla="*/ 584301 w 608814"/>
                <a:gd name="connsiteY27" fmla="*/ 585693 h 585693"/>
                <a:gd name="connsiteX28" fmla="*/ 521177 w 608814"/>
                <a:gd name="connsiteY28" fmla="*/ 585693 h 585693"/>
                <a:gd name="connsiteX29" fmla="*/ 496756 w 608814"/>
                <a:gd name="connsiteY29" fmla="*/ 561209 h 585693"/>
                <a:gd name="connsiteX30" fmla="*/ 496756 w 608814"/>
                <a:gd name="connsiteY30" fmla="*/ 172601 h 585693"/>
                <a:gd name="connsiteX31" fmla="*/ 521177 w 608814"/>
                <a:gd name="connsiteY31" fmla="*/ 148117 h 585693"/>
                <a:gd name="connsiteX32" fmla="*/ 116229 w 608814"/>
                <a:gd name="connsiteY32" fmla="*/ 131322 h 585693"/>
                <a:gd name="connsiteX33" fmla="*/ 164246 w 608814"/>
                <a:gd name="connsiteY33" fmla="*/ 131322 h 585693"/>
                <a:gd name="connsiteX34" fmla="*/ 184061 w 608814"/>
                <a:gd name="connsiteY34" fmla="*/ 151113 h 585693"/>
                <a:gd name="connsiteX35" fmla="*/ 184061 w 608814"/>
                <a:gd name="connsiteY35" fmla="*/ 171457 h 585693"/>
                <a:gd name="connsiteX36" fmla="*/ 208669 w 608814"/>
                <a:gd name="connsiteY36" fmla="*/ 186094 h 585693"/>
                <a:gd name="connsiteX37" fmla="*/ 226641 w 608814"/>
                <a:gd name="connsiteY37" fmla="*/ 175692 h 585693"/>
                <a:gd name="connsiteX38" fmla="*/ 253737 w 608814"/>
                <a:gd name="connsiteY38" fmla="*/ 182964 h 585693"/>
                <a:gd name="connsiteX39" fmla="*/ 277792 w 608814"/>
                <a:gd name="connsiteY39" fmla="*/ 224572 h 585693"/>
                <a:gd name="connsiteX40" fmla="*/ 279727 w 608814"/>
                <a:gd name="connsiteY40" fmla="*/ 239577 h 585693"/>
                <a:gd name="connsiteX41" fmla="*/ 270511 w 608814"/>
                <a:gd name="connsiteY41" fmla="*/ 251544 h 585693"/>
                <a:gd name="connsiteX42" fmla="*/ 252355 w 608814"/>
                <a:gd name="connsiteY42" fmla="*/ 262038 h 585693"/>
                <a:gd name="connsiteX43" fmla="*/ 253829 w 608814"/>
                <a:gd name="connsiteY43" fmla="*/ 276122 h 585693"/>
                <a:gd name="connsiteX44" fmla="*/ 252355 w 608814"/>
                <a:gd name="connsiteY44" fmla="*/ 290206 h 585693"/>
                <a:gd name="connsiteX45" fmla="*/ 270511 w 608814"/>
                <a:gd name="connsiteY45" fmla="*/ 300700 h 585693"/>
                <a:gd name="connsiteX46" fmla="*/ 278714 w 608814"/>
                <a:gd name="connsiteY46" fmla="*/ 325094 h 585693"/>
                <a:gd name="connsiteX47" fmla="*/ 258253 w 608814"/>
                <a:gd name="connsiteY47" fmla="*/ 321136 h 585693"/>
                <a:gd name="connsiteX48" fmla="*/ 195858 w 608814"/>
                <a:gd name="connsiteY48" fmla="*/ 321136 h 585693"/>
                <a:gd name="connsiteX49" fmla="*/ 212171 w 608814"/>
                <a:gd name="connsiteY49" fmla="*/ 276122 h 585693"/>
                <a:gd name="connsiteX50" fmla="*/ 140191 w 608814"/>
                <a:gd name="connsiteY50" fmla="*/ 204320 h 585693"/>
                <a:gd name="connsiteX51" fmla="*/ 68304 w 608814"/>
                <a:gd name="connsiteY51" fmla="*/ 276122 h 585693"/>
                <a:gd name="connsiteX52" fmla="*/ 140191 w 608814"/>
                <a:gd name="connsiteY52" fmla="*/ 348016 h 585693"/>
                <a:gd name="connsiteX53" fmla="*/ 148486 w 608814"/>
                <a:gd name="connsiteY53" fmla="*/ 347095 h 585693"/>
                <a:gd name="connsiteX54" fmla="*/ 140099 w 608814"/>
                <a:gd name="connsiteY54" fmla="*/ 376000 h 585693"/>
                <a:gd name="connsiteX55" fmla="*/ 140099 w 608814"/>
                <a:gd name="connsiteY55" fmla="*/ 420922 h 585693"/>
                <a:gd name="connsiteX56" fmla="*/ 116229 w 608814"/>
                <a:gd name="connsiteY56" fmla="*/ 420922 h 585693"/>
                <a:gd name="connsiteX57" fmla="*/ 96413 w 608814"/>
                <a:gd name="connsiteY57" fmla="*/ 401131 h 585693"/>
                <a:gd name="connsiteX58" fmla="*/ 96413 w 608814"/>
                <a:gd name="connsiteY58" fmla="*/ 380787 h 585693"/>
                <a:gd name="connsiteX59" fmla="*/ 71806 w 608814"/>
                <a:gd name="connsiteY59" fmla="*/ 366150 h 585693"/>
                <a:gd name="connsiteX60" fmla="*/ 53742 w 608814"/>
                <a:gd name="connsiteY60" fmla="*/ 376552 h 585693"/>
                <a:gd name="connsiteX61" fmla="*/ 38719 w 608814"/>
                <a:gd name="connsiteY61" fmla="*/ 378577 h 585693"/>
                <a:gd name="connsiteX62" fmla="*/ 26738 w 608814"/>
                <a:gd name="connsiteY62" fmla="*/ 369372 h 585693"/>
                <a:gd name="connsiteX63" fmla="*/ 2683 w 608814"/>
                <a:gd name="connsiteY63" fmla="*/ 327764 h 585693"/>
                <a:gd name="connsiteX64" fmla="*/ 9872 w 608814"/>
                <a:gd name="connsiteY64" fmla="*/ 300700 h 585693"/>
                <a:gd name="connsiteX65" fmla="*/ 28120 w 608814"/>
                <a:gd name="connsiteY65" fmla="*/ 290206 h 585693"/>
                <a:gd name="connsiteX66" fmla="*/ 26645 w 608814"/>
                <a:gd name="connsiteY66" fmla="*/ 276122 h 585693"/>
                <a:gd name="connsiteX67" fmla="*/ 28120 w 608814"/>
                <a:gd name="connsiteY67" fmla="*/ 262038 h 585693"/>
                <a:gd name="connsiteX68" fmla="*/ 9872 w 608814"/>
                <a:gd name="connsiteY68" fmla="*/ 251544 h 585693"/>
                <a:gd name="connsiteX69" fmla="*/ 2683 w 608814"/>
                <a:gd name="connsiteY69" fmla="*/ 224572 h 585693"/>
                <a:gd name="connsiteX70" fmla="*/ 26738 w 608814"/>
                <a:gd name="connsiteY70" fmla="*/ 182964 h 585693"/>
                <a:gd name="connsiteX71" fmla="*/ 38719 w 608814"/>
                <a:gd name="connsiteY71" fmla="*/ 173759 h 585693"/>
                <a:gd name="connsiteX72" fmla="*/ 53742 w 608814"/>
                <a:gd name="connsiteY72" fmla="*/ 175692 h 585693"/>
                <a:gd name="connsiteX73" fmla="*/ 71806 w 608814"/>
                <a:gd name="connsiteY73" fmla="*/ 186094 h 585693"/>
                <a:gd name="connsiteX74" fmla="*/ 96413 w 608814"/>
                <a:gd name="connsiteY74" fmla="*/ 171457 h 585693"/>
                <a:gd name="connsiteX75" fmla="*/ 96413 w 608814"/>
                <a:gd name="connsiteY75" fmla="*/ 151113 h 585693"/>
                <a:gd name="connsiteX76" fmla="*/ 116229 w 608814"/>
                <a:gd name="connsiteY76" fmla="*/ 131322 h 585693"/>
                <a:gd name="connsiteX77" fmla="*/ 445756 w 608814"/>
                <a:gd name="connsiteY77" fmla="*/ 83476 h 585693"/>
                <a:gd name="connsiteX78" fmla="*/ 414140 w 608814"/>
                <a:gd name="connsiteY78" fmla="*/ 115044 h 585693"/>
                <a:gd name="connsiteX79" fmla="*/ 445756 w 608814"/>
                <a:gd name="connsiteY79" fmla="*/ 146520 h 585693"/>
                <a:gd name="connsiteX80" fmla="*/ 477371 w 608814"/>
                <a:gd name="connsiteY80" fmla="*/ 115044 h 585693"/>
                <a:gd name="connsiteX81" fmla="*/ 445756 w 608814"/>
                <a:gd name="connsiteY81" fmla="*/ 83476 h 585693"/>
                <a:gd name="connsiteX82" fmla="*/ 426676 w 608814"/>
                <a:gd name="connsiteY82" fmla="*/ 0 h 585693"/>
                <a:gd name="connsiteX83" fmla="*/ 464835 w 608814"/>
                <a:gd name="connsiteY83" fmla="*/ 0 h 585693"/>
                <a:gd name="connsiteX84" fmla="*/ 480597 w 608814"/>
                <a:gd name="connsiteY84" fmla="*/ 15738 h 585693"/>
                <a:gd name="connsiteX85" fmla="*/ 480597 w 608814"/>
                <a:gd name="connsiteY85" fmla="*/ 31936 h 585693"/>
                <a:gd name="connsiteX86" fmla="*/ 500138 w 608814"/>
                <a:gd name="connsiteY86" fmla="*/ 43533 h 585693"/>
                <a:gd name="connsiteX87" fmla="*/ 514425 w 608814"/>
                <a:gd name="connsiteY87" fmla="*/ 35249 h 585693"/>
                <a:gd name="connsiteX88" fmla="*/ 535901 w 608814"/>
                <a:gd name="connsiteY88" fmla="*/ 40956 h 585693"/>
                <a:gd name="connsiteX89" fmla="*/ 554981 w 608814"/>
                <a:gd name="connsiteY89" fmla="*/ 73996 h 585693"/>
                <a:gd name="connsiteX90" fmla="*/ 556640 w 608814"/>
                <a:gd name="connsiteY90" fmla="*/ 85961 h 585693"/>
                <a:gd name="connsiteX91" fmla="*/ 549266 w 608814"/>
                <a:gd name="connsiteY91" fmla="*/ 95440 h 585693"/>
                <a:gd name="connsiteX92" fmla="*/ 534887 w 608814"/>
                <a:gd name="connsiteY92" fmla="*/ 103815 h 585693"/>
                <a:gd name="connsiteX93" fmla="*/ 535993 w 608814"/>
                <a:gd name="connsiteY93" fmla="*/ 115044 h 585693"/>
                <a:gd name="connsiteX94" fmla="*/ 535717 w 608814"/>
                <a:gd name="connsiteY94" fmla="*/ 117621 h 585693"/>
                <a:gd name="connsiteX95" fmla="*/ 521153 w 608814"/>
                <a:gd name="connsiteY95" fmla="*/ 117621 h 585693"/>
                <a:gd name="connsiteX96" fmla="*/ 466126 w 608814"/>
                <a:gd name="connsiteY96" fmla="*/ 172565 h 585693"/>
                <a:gd name="connsiteX97" fmla="*/ 466126 w 608814"/>
                <a:gd name="connsiteY97" fmla="*/ 229719 h 585693"/>
                <a:gd name="connsiteX98" fmla="*/ 466126 w 608814"/>
                <a:gd name="connsiteY98" fmla="*/ 242604 h 585693"/>
                <a:gd name="connsiteX99" fmla="*/ 453590 w 608814"/>
                <a:gd name="connsiteY99" fmla="*/ 229995 h 585693"/>
                <a:gd name="connsiteX100" fmla="*/ 421330 w 608814"/>
                <a:gd name="connsiteY100" fmla="*/ 219319 h 585693"/>
                <a:gd name="connsiteX101" fmla="*/ 411928 w 608814"/>
                <a:gd name="connsiteY101" fmla="*/ 219319 h 585693"/>
                <a:gd name="connsiteX102" fmla="*/ 410914 w 608814"/>
                <a:gd name="connsiteY102" fmla="*/ 214257 h 585693"/>
                <a:gd name="connsiteX103" fmla="*/ 410914 w 608814"/>
                <a:gd name="connsiteY103" fmla="*/ 198059 h 585693"/>
                <a:gd name="connsiteX104" fmla="*/ 391373 w 608814"/>
                <a:gd name="connsiteY104" fmla="*/ 186463 h 585693"/>
                <a:gd name="connsiteX105" fmla="*/ 377086 w 608814"/>
                <a:gd name="connsiteY105" fmla="*/ 194746 h 585693"/>
                <a:gd name="connsiteX106" fmla="*/ 365104 w 608814"/>
                <a:gd name="connsiteY106" fmla="*/ 196310 h 585693"/>
                <a:gd name="connsiteX107" fmla="*/ 355610 w 608814"/>
                <a:gd name="connsiteY107" fmla="*/ 189040 h 585693"/>
                <a:gd name="connsiteX108" fmla="*/ 336530 w 608814"/>
                <a:gd name="connsiteY108" fmla="*/ 155999 h 585693"/>
                <a:gd name="connsiteX109" fmla="*/ 342245 w 608814"/>
                <a:gd name="connsiteY109" fmla="*/ 134463 h 585693"/>
                <a:gd name="connsiteX110" fmla="*/ 356716 w 608814"/>
                <a:gd name="connsiteY110" fmla="*/ 126180 h 585693"/>
                <a:gd name="connsiteX111" fmla="*/ 355518 w 608814"/>
                <a:gd name="connsiteY111" fmla="*/ 115044 h 585693"/>
                <a:gd name="connsiteX112" fmla="*/ 356716 w 608814"/>
                <a:gd name="connsiteY112" fmla="*/ 103815 h 585693"/>
                <a:gd name="connsiteX113" fmla="*/ 342245 w 608814"/>
                <a:gd name="connsiteY113" fmla="*/ 95440 h 585693"/>
                <a:gd name="connsiteX114" fmla="*/ 336530 w 608814"/>
                <a:gd name="connsiteY114" fmla="*/ 73996 h 585693"/>
                <a:gd name="connsiteX115" fmla="*/ 355610 w 608814"/>
                <a:gd name="connsiteY115" fmla="*/ 40956 h 585693"/>
                <a:gd name="connsiteX116" fmla="*/ 365104 w 608814"/>
                <a:gd name="connsiteY116" fmla="*/ 33685 h 585693"/>
                <a:gd name="connsiteX117" fmla="*/ 377086 w 608814"/>
                <a:gd name="connsiteY117" fmla="*/ 35249 h 585693"/>
                <a:gd name="connsiteX118" fmla="*/ 391373 w 608814"/>
                <a:gd name="connsiteY118" fmla="*/ 43533 h 585693"/>
                <a:gd name="connsiteX119" fmla="*/ 410914 w 608814"/>
                <a:gd name="connsiteY119" fmla="*/ 31936 h 585693"/>
                <a:gd name="connsiteX120" fmla="*/ 410914 w 608814"/>
                <a:gd name="connsiteY120" fmla="*/ 15738 h 585693"/>
                <a:gd name="connsiteX121" fmla="*/ 426676 w 608814"/>
                <a:gd name="connsiteY121" fmla="*/ 0 h 5856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</a:cxnLst>
              <a:rect l="l" t="t" r="r" b="b"/>
              <a:pathLst>
                <a:path w="608814" h="585693">
                  <a:moveTo>
                    <a:pt x="195114" y="351627"/>
                  </a:moveTo>
                  <a:lnTo>
                    <a:pt x="258290" y="351627"/>
                  </a:lnTo>
                  <a:cubicBezTo>
                    <a:pt x="271848" y="351627"/>
                    <a:pt x="282731" y="362580"/>
                    <a:pt x="282731" y="376018"/>
                  </a:cubicBezTo>
                  <a:lnTo>
                    <a:pt x="282731" y="561210"/>
                  </a:lnTo>
                  <a:cubicBezTo>
                    <a:pt x="282731" y="574740"/>
                    <a:pt x="271848" y="585693"/>
                    <a:pt x="258290" y="585693"/>
                  </a:cubicBezTo>
                  <a:lnTo>
                    <a:pt x="195114" y="585693"/>
                  </a:lnTo>
                  <a:cubicBezTo>
                    <a:pt x="181556" y="585693"/>
                    <a:pt x="170673" y="574740"/>
                    <a:pt x="170673" y="561210"/>
                  </a:cubicBezTo>
                  <a:lnTo>
                    <a:pt x="170673" y="376018"/>
                  </a:lnTo>
                  <a:cubicBezTo>
                    <a:pt x="170673" y="362580"/>
                    <a:pt x="181556" y="351627"/>
                    <a:pt x="195114" y="351627"/>
                  </a:cubicBezTo>
                  <a:close/>
                  <a:moveTo>
                    <a:pt x="358100" y="249872"/>
                  </a:moveTo>
                  <a:lnTo>
                    <a:pt x="421316" y="249872"/>
                  </a:lnTo>
                  <a:cubicBezTo>
                    <a:pt x="434771" y="249872"/>
                    <a:pt x="445737" y="260735"/>
                    <a:pt x="445737" y="274267"/>
                  </a:cubicBezTo>
                  <a:lnTo>
                    <a:pt x="445737" y="561206"/>
                  </a:lnTo>
                  <a:cubicBezTo>
                    <a:pt x="445737" y="574738"/>
                    <a:pt x="434771" y="585693"/>
                    <a:pt x="421316" y="585693"/>
                  </a:cubicBezTo>
                  <a:lnTo>
                    <a:pt x="358100" y="585693"/>
                  </a:lnTo>
                  <a:cubicBezTo>
                    <a:pt x="344645" y="585693"/>
                    <a:pt x="333679" y="574738"/>
                    <a:pt x="333679" y="561206"/>
                  </a:cubicBezTo>
                  <a:lnTo>
                    <a:pt x="333679" y="274267"/>
                  </a:lnTo>
                  <a:cubicBezTo>
                    <a:pt x="333679" y="260735"/>
                    <a:pt x="344645" y="249872"/>
                    <a:pt x="358100" y="249872"/>
                  </a:cubicBezTo>
                  <a:close/>
                  <a:moveTo>
                    <a:pt x="140260" y="224680"/>
                  </a:moveTo>
                  <a:cubicBezTo>
                    <a:pt x="168749" y="224680"/>
                    <a:pt x="191844" y="247711"/>
                    <a:pt x="191844" y="276122"/>
                  </a:cubicBezTo>
                  <a:cubicBezTo>
                    <a:pt x="191844" y="304533"/>
                    <a:pt x="168749" y="327564"/>
                    <a:pt x="140260" y="327564"/>
                  </a:cubicBezTo>
                  <a:cubicBezTo>
                    <a:pt x="111771" y="327564"/>
                    <a:pt x="88676" y="304533"/>
                    <a:pt x="88676" y="276122"/>
                  </a:cubicBezTo>
                  <a:cubicBezTo>
                    <a:pt x="88676" y="247711"/>
                    <a:pt x="111771" y="224680"/>
                    <a:pt x="140260" y="224680"/>
                  </a:cubicBezTo>
                  <a:close/>
                  <a:moveTo>
                    <a:pt x="521177" y="148117"/>
                  </a:moveTo>
                  <a:lnTo>
                    <a:pt x="584301" y="148117"/>
                  </a:lnTo>
                  <a:cubicBezTo>
                    <a:pt x="597848" y="148117"/>
                    <a:pt x="608814" y="159070"/>
                    <a:pt x="608814" y="172601"/>
                  </a:cubicBezTo>
                  <a:lnTo>
                    <a:pt x="608814" y="561209"/>
                  </a:lnTo>
                  <a:cubicBezTo>
                    <a:pt x="608814" y="574740"/>
                    <a:pt x="597848" y="585693"/>
                    <a:pt x="584301" y="585693"/>
                  </a:cubicBezTo>
                  <a:lnTo>
                    <a:pt x="521177" y="585693"/>
                  </a:lnTo>
                  <a:cubicBezTo>
                    <a:pt x="507722" y="585693"/>
                    <a:pt x="496756" y="574740"/>
                    <a:pt x="496756" y="561209"/>
                  </a:cubicBezTo>
                  <a:lnTo>
                    <a:pt x="496756" y="172601"/>
                  </a:lnTo>
                  <a:cubicBezTo>
                    <a:pt x="496756" y="159070"/>
                    <a:pt x="507722" y="148117"/>
                    <a:pt x="521177" y="148117"/>
                  </a:cubicBezTo>
                  <a:close/>
                  <a:moveTo>
                    <a:pt x="116229" y="131322"/>
                  </a:moveTo>
                  <a:lnTo>
                    <a:pt x="164246" y="131322"/>
                  </a:lnTo>
                  <a:cubicBezTo>
                    <a:pt x="175214" y="131322"/>
                    <a:pt x="184061" y="140159"/>
                    <a:pt x="184061" y="151113"/>
                  </a:cubicBezTo>
                  <a:lnTo>
                    <a:pt x="184061" y="171457"/>
                  </a:lnTo>
                  <a:cubicBezTo>
                    <a:pt x="193001" y="175231"/>
                    <a:pt x="201019" y="180386"/>
                    <a:pt x="208669" y="186094"/>
                  </a:cubicBezTo>
                  <a:lnTo>
                    <a:pt x="226641" y="175692"/>
                  </a:lnTo>
                  <a:cubicBezTo>
                    <a:pt x="236134" y="170261"/>
                    <a:pt x="248300" y="173482"/>
                    <a:pt x="253737" y="182964"/>
                  </a:cubicBezTo>
                  <a:lnTo>
                    <a:pt x="277792" y="224572"/>
                  </a:lnTo>
                  <a:cubicBezTo>
                    <a:pt x="280465" y="229083"/>
                    <a:pt x="281110" y="234514"/>
                    <a:pt x="279727" y="239577"/>
                  </a:cubicBezTo>
                  <a:cubicBezTo>
                    <a:pt x="278437" y="244640"/>
                    <a:pt x="275119" y="248966"/>
                    <a:pt x="270511" y="251544"/>
                  </a:cubicBezTo>
                  <a:lnTo>
                    <a:pt x="252355" y="262038"/>
                  </a:lnTo>
                  <a:cubicBezTo>
                    <a:pt x="253000" y="266733"/>
                    <a:pt x="253829" y="271335"/>
                    <a:pt x="253829" y="276122"/>
                  </a:cubicBezTo>
                  <a:cubicBezTo>
                    <a:pt x="253829" y="281001"/>
                    <a:pt x="253000" y="285604"/>
                    <a:pt x="252355" y="290206"/>
                  </a:cubicBezTo>
                  <a:lnTo>
                    <a:pt x="270511" y="300700"/>
                  </a:lnTo>
                  <a:cubicBezTo>
                    <a:pt x="279174" y="305671"/>
                    <a:pt x="282308" y="316165"/>
                    <a:pt x="278714" y="325094"/>
                  </a:cubicBezTo>
                  <a:cubicBezTo>
                    <a:pt x="272354" y="322609"/>
                    <a:pt x="265442" y="321136"/>
                    <a:pt x="258253" y="321136"/>
                  </a:cubicBezTo>
                  <a:lnTo>
                    <a:pt x="195858" y="321136"/>
                  </a:lnTo>
                  <a:cubicBezTo>
                    <a:pt x="205904" y="308709"/>
                    <a:pt x="212171" y="293244"/>
                    <a:pt x="212171" y="276122"/>
                  </a:cubicBezTo>
                  <a:cubicBezTo>
                    <a:pt x="212171" y="236539"/>
                    <a:pt x="179914" y="204320"/>
                    <a:pt x="140191" y="204320"/>
                  </a:cubicBezTo>
                  <a:cubicBezTo>
                    <a:pt x="100561" y="204320"/>
                    <a:pt x="68304" y="236539"/>
                    <a:pt x="68304" y="276122"/>
                  </a:cubicBezTo>
                  <a:cubicBezTo>
                    <a:pt x="68304" y="315797"/>
                    <a:pt x="100561" y="348016"/>
                    <a:pt x="140191" y="348016"/>
                  </a:cubicBezTo>
                  <a:cubicBezTo>
                    <a:pt x="143048" y="348016"/>
                    <a:pt x="145721" y="347463"/>
                    <a:pt x="148486" y="347095"/>
                  </a:cubicBezTo>
                  <a:cubicBezTo>
                    <a:pt x="143233" y="355564"/>
                    <a:pt x="140099" y="365414"/>
                    <a:pt x="140099" y="376000"/>
                  </a:cubicBezTo>
                  <a:lnTo>
                    <a:pt x="140099" y="420922"/>
                  </a:lnTo>
                  <a:lnTo>
                    <a:pt x="116229" y="420922"/>
                  </a:lnTo>
                  <a:cubicBezTo>
                    <a:pt x="105261" y="420922"/>
                    <a:pt x="96413" y="412085"/>
                    <a:pt x="96413" y="401131"/>
                  </a:cubicBezTo>
                  <a:lnTo>
                    <a:pt x="96413" y="380787"/>
                  </a:lnTo>
                  <a:cubicBezTo>
                    <a:pt x="87474" y="377013"/>
                    <a:pt x="79455" y="371950"/>
                    <a:pt x="71806" y="366150"/>
                  </a:cubicBezTo>
                  <a:lnTo>
                    <a:pt x="53742" y="376552"/>
                  </a:lnTo>
                  <a:cubicBezTo>
                    <a:pt x="49226" y="379222"/>
                    <a:pt x="43788" y="379866"/>
                    <a:pt x="38719" y="378577"/>
                  </a:cubicBezTo>
                  <a:cubicBezTo>
                    <a:pt x="33650" y="377197"/>
                    <a:pt x="29318" y="373883"/>
                    <a:pt x="26738" y="369372"/>
                  </a:cubicBezTo>
                  <a:lnTo>
                    <a:pt x="2683" y="327764"/>
                  </a:lnTo>
                  <a:cubicBezTo>
                    <a:pt x="-2847" y="318282"/>
                    <a:pt x="471" y="306131"/>
                    <a:pt x="9872" y="300700"/>
                  </a:cubicBezTo>
                  <a:lnTo>
                    <a:pt x="28120" y="290206"/>
                  </a:lnTo>
                  <a:cubicBezTo>
                    <a:pt x="27475" y="285604"/>
                    <a:pt x="26645" y="281001"/>
                    <a:pt x="26645" y="276122"/>
                  </a:cubicBezTo>
                  <a:cubicBezTo>
                    <a:pt x="26645" y="271335"/>
                    <a:pt x="27475" y="266733"/>
                    <a:pt x="28120" y="262038"/>
                  </a:cubicBezTo>
                  <a:lnTo>
                    <a:pt x="9872" y="251544"/>
                  </a:lnTo>
                  <a:cubicBezTo>
                    <a:pt x="471" y="246113"/>
                    <a:pt x="-2847" y="233962"/>
                    <a:pt x="2683" y="224572"/>
                  </a:cubicBezTo>
                  <a:lnTo>
                    <a:pt x="26738" y="182964"/>
                  </a:lnTo>
                  <a:cubicBezTo>
                    <a:pt x="29318" y="178361"/>
                    <a:pt x="33650" y="175139"/>
                    <a:pt x="38719" y="173759"/>
                  </a:cubicBezTo>
                  <a:cubicBezTo>
                    <a:pt x="43788" y="172378"/>
                    <a:pt x="49226" y="173114"/>
                    <a:pt x="53742" y="175692"/>
                  </a:cubicBezTo>
                  <a:lnTo>
                    <a:pt x="71806" y="186094"/>
                  </a:lnTo>
                  <a:cubicBezTo>
                    <a:pt x="79455" y="180386"/>
                    <a:pt x="87474" y="175231"/>
                    <a:pt x="96413" y="171457"/>
                  </a:cubicBezTo>
                  <a:lnTo>
                    <a:pt x="96413" y="151113"/>
                  </a:lnTo>
                  <a:cubicBezTo>
                    <a:pt x="96413" y="140159"/>
                    <a:pt x="105261" y="131322"/>
                    <a:pt x="116229" y="131322"/>
                  </a:cubicBezTo>
                  <a:close/>
                  <a:moveTo>
                    <a:pt x="445756" y="83476"/>
                  </a:moveTo>
                  <a:cubicBezTo>
                    <a:pt x="428335" y="83476"/>
                    <a:pt x="414140" y="97557"/>
                    <a:pt x="414140" y="115044"/>
                  </a:cubicBezTo>
                  <a:cubicBezTo>
                    <a:pt x="414140" y="132438"/>
                    <a:pt x="428335" y="146520"/>
                    <a:pt x="445756" y="146520"/>
                  </a:cubicBezTo>
                  <a:cubicBezTo>
                    <a:pt x="463176" y="146520"/>
                    <a:pt x="477371" y="132438"/>
                    <a:pt x="477371" y="115044"/>
                  </a:cubicBezTo>
                  <a:cubicBezTo>
                    <a:pt x="477371" y="97557"/>
                    <a:pt x="463176" y="83476"/>
                    <a:pt x="445756" y="83476"/>
                  </a:cubicBezTo>
                  <a:close/>
                  <a:moveTo>
                    <a:pt x="426676" y="0"/>
                  </a:moveTo>
                  <a:lnTo>
                    <a:pt x="464835" y="0"/>
                  </a:lnTo>
                  <a:cubicBezTo>
                    <a:pt x="473500" y="0"/>
                    <a:pt x="480597" y="7087"/>
                    <a:pt x="480597" y="15738"/>
                  </a:cubicBezTo>
                  <a:lnTo>
                    <a:pt x="480597" y="31936"/>
                  </a:lnTo>
                  <a:cubicBezTo>
                    <a:pt x="487694" y="34881"/>
                    <a:pt x="494054" y="38931"/>
                    <a:pt x="500138" y="43533"/>
                  </a:cubicBezTo>
                  <a:lnTo>
                    <a:pt x="514425" y="35249"/>
                  </a:lnTo>
                  <a:cubicBezTo>
                    <a:pt x="521983" y="30924"/>
                    <a:pt x="531569" y="33501"/>
                    <a:pt x="535901" y="40956"/>
                  </a:cubicBezTo>
                  <a:lnTo>
                    <a:pt x="554981" y="73996"/>
                  </a:lnTo>
                  <a:cubicBezTo>
                    <a:pt x="557101" y="77585"/>
                    <a:pt x="557654" y="81911"/>
                    <a:pt x="556640" y="85961"/>
                  </a:cubicBezTo>
                  <a:cubicBezTo>
                    <a:pt x="555534" y="89918"/>
                    <a:pt x="552861" y="93415"/>
                    <a:pt x="549266" y="95440"/>
                  </a:cubicBezTo>
                  <a:lnTo>
                    <a:pt x="534887" y="103815"/>
                  </a:lnTo>
                  <a:cubicBezTo>
                    <a:pt x="535348" y="107497"/>
                    <a:pt x="535993" y="111178"/>
                    <a:pt x="535993" y="115044"/>
                  </a:cubicBezTo>
                  <a:cubicBezTo>
                    <a:pt x="535993" y="115872"/>
                    <a:pt x="535809" y="116700"/>
                    <a:pt x="535717" y="117621"/>
                  </a:cubicBezTo>
                  <a:lnTo>
                    <a:pt x="521153" y="117621"/>
                  </a:lnTo>
                  <a:cubicBezTo>
                    <a:pt x="490828" y="117621"/>
                    <a:pt x="466126" y="142286"/>
                    <a:pt x="466126" y="172565"/>
                  </a:cubicBezTo>
                  <a:lnTo>
                    <a:pt x="466126" y="229719"/>
                  </a:lnTo>
                  <a:lnTo>
                    <a:pt x="466126" y="242604"/>
                  </a:lnTo>
                  <a:cubicBezTo>
                    <a:pt x="462715" y="237726"/>
                    <a:pt x="458383" y="233493"/>
                    <a:pt x="453590" y="229995"/>
                  </a:cubicBezTo>
                  <a:cubicBezTo>
                    <a:pt x="444465" y="223369"/>
                    <a:pt x="433404" y="219319"/>
                    <a:pt x="421330" y="219319"/>
                  </a:cubicBezTo>
                  <a:lnTo>
                    <a:pt x="411928" y="219319"/>
                  </a:lnTo>
                  <a:cubicBezTo>
                    <a:pt x="411375" y="217755"/>
                    <a:pt x="410914" y="216098"/>
                    <a:pt x="410914" y="214257"/>
                  </a:cubicBezTo>
                  <a:lnTo>
                    <a:pt x="410914" y="198059"/>
                  </a:lnTo>
                  <a:cubicBezTo>
                    <a:pt x="403817" y="195114"/>
                    <a:pt x="397457" y="191064"/>
                    <a:pt x="391373" y="186463"/>
                  </a:cubicBezTo>
                  <a:lnTo>
                    <a:pt x="377086" y="194746"/>
                  </a:lnTo>
                  <a:cubicBezTo>
                    <a:pt x="373492" y="196863"/>
                    <a:pt x="369160" y="197415"/>
                    <a:pt x="365104" y="196310"/>
                  </a:cubicBezTo>
                  <a:cubicBezTo>
                    <a:pt x="361140" y="195206"/>
                    <a:pt x="357638" y="192629"/>
                    <a:pt x="355610" y="189040"/>
                  </a:cubicBezTo>
                  <a:lnTo>
                    <a:pt x="336530" y="155999"/>
                  </a:lnTo>
                  <a:cubicBezTo>
                    <a:pt x="332198" y="148452"/>
                    <a:pt x="334687" y="138881"/>
                    <a:pt x="342245" y="134463"/>
                  </a:cubicBezTo>
                  <a:lnTo>
                    <a:pt x="356716" y="126180"/>
                  </a:lnTo>
                  <a:cubicBezTo>
                    <a:pt x="356163" y="122498"/>
                    <a:pt x="355518" y="118817"/>
                    <a:pt x="355518" y="115044"/>
                  </a:cubicBezTo>
                  <a:cubicBezTo>
                    <a:pt x="355518" y="111178"/>
                    <a:pt x="356163" y="107497"/>
                    <a:pt x="356716" y="103815"/>
                  </a:cubicBezTo>
                  <a:lnTo>
                    <a:pt x="342245" y="95440"/>
                  </a:lnTo>
                  <a:cubicBezTo>
                    <a:pt x="334687" y="91115"/>
                    <a:pt x="332198" y="81543"/>
                    <a:pt x="336530" y="73996"/>
                  </a:cubicBezTo>
                  <a:lnTo>
                    <a:pt x="355610" y="40956"/>
                  </a:lnTo>
                  <a:cubicBezTo>
                    <a:pt x="357638" y="37366"/>
                    <a:pt x="361140" y="34789"/>
                    <a:pt x="365104" y="33685"/>
                  </a:cubicBezTo>
                  <a:cubicBezTo>
                    <a:pt x="369160" y="32580"/>
                    <a:pt x="373492" y="33133"/>
                    <a:pt x="377086" y="35249"/>
                  </a:cubicBezTo>
                  <a:lnTo>
                    <a:pt x="391373" y="43533"/>
                  </a:lnTo>
                  <a:cubicBezTo>
                    <a:pt x="397457" y="38931"/>
                    <a:pt x="403817" y="34881"/>
                    <a:pt x="410914" y="31936"/>
                  </a:cubicBezTo>
                  <a:lnTo>
                    <a:pt x="410914" y="15738"/>
                  </a:lnTo>
                  <a:cubicBezTo>
                    <a:pt x="410914" y="7087"/>
                    <a:pt x="418011" y="0"/>
                    <a:pt x="426676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5EC18BE6-57CB-4769-B0B7-664BB06CF436}"/>
                </a:ext>
              </a:extLst>
            </p:cNvPr>
            <p:cNvSpPr/>
            <p:nvPr/>
          </p:nvSpPr>
          <p:spPr bwMode="auto">
            <a:xfrm>
              <a:off x="8002891" y="3989052"/>
              <a:ext cx="475354" cy="457164"/>
            </a:xfrm>
            <a:custGeom>
              <a:avLst/>
              <a:gdLst>
                <a:gd name="connsiteX0" fmla="*/ 61288 w 609549"/>
                <a:gd name="connsiteY0" fmla="*/ 383285 h 586216"/>
                <a:gd name="connsiteX1" fmla="*/ 71162 w 609549"/>
                <a:gd name="connsiteY1" fmla="*/ 387101 h 586216"/>
                <a:gd name="connsiteX2" fmla="*/ 120018 w 609549"/>
                <a:gd name="connsiteY2" fmla="*/ 435892 h 586216"/>
                <a:gd name="connsiteX3" fmla="*/ 120018 w 609549"/>
                <a:gd name="connsiteY3" fmla="*/ 454200 h 586216"/>
                <a:gd name="connsiteX4" fmla="*/ 56639 w 609549"/>
                <a:gd name="connsiteY4" fmla="*/ 517543 h 586216"/>
                <a:gd name="connsiteX5" fmla="*/ 35592 w 609549"/>
                <a:gd name="connsiteY5" fmla="*/ 513644 h 586216"/>
                <a:gd name="connsiteX6" fmla="*/ 51877 w 609549"/>
                <a:gd name="connsiteY6" fmla="*/ 388099 h 586216"/>
                <a:gd name="connsiteX7" fmla="*/ 61288 w 609549"/>
                <a:gd name="connsiteY7" fmla="*/ 383285 h 586216"/>
                <a:gd name="connsiteX8" fmla="*/ 235245 w 609549"/>
                <a:gd name="connsiteY8" fmla="*/ 302810 h 586216"/>
                <a:gd name="connsiteX9" fmla="*/ 306042 w 609549"/>
                <a:gd name="connsiteY9" fmla="*/ 373466 h 586216"/>
                <a:gd name="connsiteX10" fmla="*/ 258717 w 609549"/>
                <a:gd name="connsiteY10" fmla="*/ 420680 h 586216"/>
                <a:gd name="connsiteX11" fmla="*/ 230246 w 609549"/>
                <a:gd name="connsiteY11" fmla="*/ 550152 h 586216"/>
                <a:gd name="connsiteX12" fmla="*/ 92223 w 609549"/>
                <a:gd name="connsiteY12" fmla="*/ 575305 h 586216"/>
                <a:gd name="connsiteX13" fmla="*/ 88748 w 609549"/>
                <a:gd name="connsiteY13" fmla="*/ 556143 h 586216"/>
                <a:gd name="connsiteX14" fmla="*/ 165115 w 609549"/>
                <a:gd name="connsiteY14" fmla="*/ 479877 h 586216"/>
                <a:gd name="connsiteX15" fmla="*/ 165115 w 609549"/>
                <a:gd name="connsiteY15" fmla="*/ 446308 h 586216"/>
                <a:gd name="connsiteX16" fmla="*/ 88700 w 609549"/>
                <a:gd name="connsiteY16" fmla="*/ 369995 h 586216"/>
                <a:gd name="connsiteX17" fmla="*/ 92128 w 609549"/>
                <a:gd name="connsiteY17" fmla="*/ 350976 h 586216"/>
                <a:gd name="connsiteX18" fmla="*/ 189111 w 609549"/>
                <a:gd name="connsiteY18" fmla="*/ 348884 h 586216"/>
                <a:gd name="connsiteX19" fmla="*/ 257958 w 609549"/>
                <a:gd name="connsiteY19" fmla="*/ 161679 h 586216"/>
                <a:gd name="connsiteX20" fmla="*/ 317251 w 609549"/>
                <a:gd name="connsiteY20" fmla="*/ 220879 h 586216"/>
                <a:gd name="connsiteX21" fmla="*/ 388070 w 609549"/>
                <a:gd name="connsiteY21" fmla="*/ 291586 h 586216"/>
                <a:gd name="connsiteX22" fmla="*/ 604906 w 609549"/>
                <a:gd name="connsiteY22" fmla="*/ 508130 h 586216"/>
                <a:gd name="connsiteX23" fmla="*/ 604906 w 609549"/>
                <a:gd name="connsiteY23" fmla="*/ 530526 h 586216"/>
                <a:gd name="connsiteX24" fmla="*/ 556567 w 609549"/>
                <a:gd name="connsiteY24" fmla="*/ 578789 h 586216"/>
                <a:gd name="connsiteX25" fmla="*/ 545327 w 609549"/>
                <a:gd name="connsiteY25" fmla="*/ 583449 h 586216"/>
                <a:gd name="connsiteX26" fmla="*/ 534135 w 609549"/>
                <a:gd name="connsiteY26" fmla="*/ 578789 h 586216"/>
                <a:gd name="connsiteX27" fmla="*/ 317251 w 609549"/>
                <a:gd name="connsiteY27" fmla="*/ 362293 h 586216"/>
                <a:gd name="connsiteX28" fmla="*/ 246481 w 609549"/>
                <a:gd name="connsiteY28" fmla="*/ 291586 h 586216"/>
                <a:gd name="connsiteX29" fmla="*/ 187140 w 609549"/>
                <a:gd name="connsiteY29" fmla="*/ 232339 h 586216"/>
                <a:gd name="connsiteX30" fmla="*/ 58606 w 609549"/>
                <a:gd name="connsiteY30" fmla="*/ 160814 h 586216"/>
                <a:gd name="connsiteX31" fmla="*/ 126401 w 609549"/>
                <a:gd name="connsiteY31" fmla="*/ 228498 h 586216"/>
                <a:gd name="connsiteX32" fmla="*/ 111975 w 609549"/>
                <a:gd name="connsiteY32" fmla="*/ 242899 h 586216"/>
                <a:gd name="connsiteX33" fmla="*/ 119307 w 609549"/>
                <a:gd name="connsiteY33" fmla="*/ 250219 h 586216"/>
                <a:gd name="connsiteX34" fmla="*/ 119307 w 609549"/>
                <a:gd name="connsiteY34" fmla="*/ 277692 h 586216"/>
                <a:gd name="connsiteX35" fmla="*/ 115641 w 609549"/>
                <a:gd name="connsiteY35" fmla="*/ 281352 h 586216"/>
                <a:gd name="connsiteX36" fmla="*/ 88123 w 609549"/>
                <a:gd name="connsiteY36" fmla="*/ 281352 h 586216"/>
                <a:gd name="connsiteX37" fmla="*/ 5712 w 609549"/>
                <a:gd name="connsiteY37" fmla="*/ 199029 h 586216"/>
                <a:gd name="connsiteX38" fmla="*/ 5712 w 609549"/>
                <a:gd name="connsiteY38" fmla="*/ 171604 h 586216"/>
                <a:gd name="connsiteX39" fmla="*/ 9378 w 609549"/>
                <a:gd name="connsiteY39" fmla="*/ 167944 h 586216"/>
                <a:gd name="connsiteX40" fmla="*/ 36849 w 609549"/>
                <a:gd name="connsiteY40" fmla="*/ 167944 h 586216"/>
                <a:gd name="connsiteX41" fmla="*/ 44180 w 609549"/>
                <a:gd name="connsiteY41" fmla="*/ 175264 h 586216"/>
                <a:gd name="connsiteX42" fmla="*/ 585775 w 609549"/>
                <a:gd name="connsiteY42" fmla="*/ 66370 h 586216"/>
                <a:gd name="connsiteX43" fmla="*/ 595263 w 609549"/>
                <a:gd name="connsiteY43" fmla="*/ 73839 h 586216"/>
                <a:gd name="connsiteX44" fmla="*/ 578978 w 609549"/>
                <a:gd name="connsiteY44" fmla="*/ 199341 h 586216"/>
                <a:gd name="connsiteX45" fmla="*/ 559693 w 609549"/>
                <a:gd name="connsiteY45" fmla="*/ 200387 h 586216"/>
                <a:gd name="connsiteX46" fmla="*/ 510789 w 609549"/>
                <a:gd name="connsiteY46" fmla="*/ 151612 h 586216"/>
                <a:gd name="connsiteX47" fmla="*/ 510789 w 609549"/>
                <a:gd name="connsiteY47" fmla="*/ 133262 h 586216"/>
                <a:gd name="connsiteX48" fmla="*/ 574216 w 609549"/>
                <a:gd name="connsiteY48" fmla="*/ 69988 h 586216"/>
                <a:gd name="connsiteX49" fmla="*/ 585775 w 609549"/>
                <a:gd name="connsiteY49" fmla="*/ 66370 h 586216"/>
                <a:gd name="connsiteX50" fmla="*/ 158702 w 609549"/>
                <a:gd name="connsiteY50" fmla="*/ 26758 h 586216"/>
                <a:gd name="connsiteX51" fmla="*/ 172463 w 609549"/>
                <a:gd name="connsiteY51" fmla="*/ 32464 h 586216"/>
                <a:gd name="connsiteX52" fmla="*/ 179701 w 609549"/>
                <a:gd name="connsiteY52" fmla="*/ 39691 h 586216"/>
                <a:gd name="connsiteX53" fmla="*/ 246935 w 609549"/>
                <a:gd name="connsiteY53" fmla="*/ 106831 h 586216"/>
                <a:gd name="connsiteX54" fmla="*/ 254886 w 609549"/>
                <a:gd name="connsiteY54" fmla="*/ 114819 h 586216"/>
                <a:gd name="connsiteX55" fmla="*/ 257600 w 609549"/>
                <a:gd name="connsiteY55" fmla="*/ 138879 h 586216"/>
                <a:gd name="connsiteX56" fmla="*/ 254886 w 609549"/>
                <a:gd name="connsiteY56" fmla="*/ 142255 h 586216"/>
                <a:gd name="connsiteX57" fmla="*/ 252315 w 609549"/>
                <a:gd name="connsiteY57" fmla="*/ 144823 h 586216"/>
                <a:gd name="connsiteX58" fmla="*/ 246696 w 609549"/>
                <a:gd name="connsiteY58" fmla="*/ 150434 h 586216"/>
                <a:gd name="connsiteX59" fmla="*/ 175892 w 609549"/>
                <a:gd name="connsiteY59" fmla="*/ 221140 h 586216"/>
                <a:gd name="connsiteX60" fmla="*/ 172463 w 609549"/>
                <a:gd name="connsiteY60" fmla="*/ 224611 h 586216"/>
                <a:gd name="connsiteX61" fmla="*/ 170130 w 609549"/>
                <a:gd name="connsiteY61" fmla="*/ 226560 h 586216"/>
                <a:gd name="connsiteX62" fmla="*/ 162274 w 609549"/>
                <a:gd name="connsiteY62" fmla="*/ 229936 h 586216"/>
                <a:gd name="connsiteX63" fmla="*/ 158702 w 609549"/>
                <a:gd name="connsiteY63" fmla="*/ 230269 h 586216"/>
                <a:gd name="connsiteX64" fmla="*/ 144942 w 609549"/>
                <a:gd name="connsiteY64" fmla="*/ 224611 h 586216"/>
                <a:gd name="connsiteX65" fmla="*/ 137609 w 609549"/>
                <a:gd name="connsiteY65" fmla="*/ 217288 h 586216"/>
                <a:gd name="connsiteX66" fmla="*/ 69804 w 609549"/>
                <a:gd name="connsiteY66" fmla="*/ 149578 h 586216"/>
                <a:gd name="connsiteX67" fmla="*/ 62519 w 609549"/>
                <a:gd name="connsiteY67" fmla="*/ 142255 h 586216"/>
                <a:gd name="connsiteX68" fmla="*/ 62519 w 609549"/>
                <a:gd name="connsiteY68" fmla="*/ 114819 h 586216"/>
                <a:gd name="connsiteX69" fmla="*/ 144942 w 609549"/>
                <a:gd name="connsiteY69" fmla="*/ 32464 h 586216"/>
                <a:gd name="connsiteX70" fmla="*/ 158702 w 609549"/>
                <a:gd name="connsiteY70" fmla="*/ 26758 h 586216"/>
                <a:gd name="connsiteX71" fmla="*/ 254809 w 609549"/>
                <a:gd name="connsiteY71" fmla="*/ 6542 h 586216"/>
                <a:gd name="connsiteX72" fmla="*/ 321015 w 609549"/>
                <a:gd name="connsiteY72" fmla="*/ 29913 h 586216"/>
                <a:gd name="connsiteX73" fmla="*/ 260017 w 609549"/>
                <a:gd name="connsiteY73" fmla="*/ 97465 h 586216"/>
                <a:gd name="connsiteX74" fmla="*/ 193067 w 609549"/>
                <a:gd name="connsiteY74" fmla="*/ 30626 h 586216"/>
                <a:gd name="connsiteX75" fmla="*/ 254809 w 609549"/>
                <a:gd name="connsiteY75" fmla="*/ 6542 h 586216"/>
                <a:gd name="connsiteX76" fmla="*/ 503105 w 609549"/>
                <a:gd name="connsiteY76" fmla="*/ 953 h 586216"/>
                <a:gd name="connsiteX77" fmla="*/ 538560 w 609549"/>
                <a:gd name="connsiteY77" fmla="*/ 10911 h 586216"/>
                <a:gd name="connsiteX78" fmla="*/ 542083 w 609549"/>
                <a:gd name="connsiteY78" fmla="*/ 30073 h 586216"/>
                <a:gd name="connsiteX79" fmla="*/ 465709 w 609549"/>
                <a:gd name="connsiteY79" fmla="*/ 106341 h 586216"/>
                <a:gd name="connsiteX80" fmla="*/ 465709 w 609549"/>
                <a:gd name="connsiteY80" fmla="*/ 139911 h 586216"/>
                <a:gd name="connsiteX81" fmla="*/ 542131 w 609549"/>
                <a:gd name="connsiteY81" fmla="*/ 216227 h 586216"/>
                <a:gd name="connsiteX82" fmla="*/ 538655 w 609549"/>
                <a:gd name="connsiteY82" fmla="*/ 235246 h 586216"/>
                <a:gd name="connsiteX83" fmla="*/ 442187 w 609549"/>
                <a:gd name="connsiteY83" fmla="*/ 237528 h 586216"/>
                <a:gd name="connsiteX84" fmla="*/ 399238 w 609549"/>
                <a:gd name="connsiteY84" fmla="*/ 280370 h 586216"/>
                <a:gd name="connsiteX85" fmla="*/ 328482 w 609549"/>
                <a:gd name="connsiteY85" fmla="*/ 209712 h 586216"/>
                <a:gd name="connsiteX86" fmla="*/ 372240 w 609549"/>
                <a:gd name="connsiteY86" fmla="*/ 166015 h 586216"/>
                <a:gd name="connsiteX87" fmla="*/ 400571 w 609549"/>
                <a:gd name="connsiteY87" fmla="*/ 36064 h 586216"/>
                <a:gd name="connsiteX88" fmla="*/ 503105 w 609549"/>
                <a:gd name="connsiteY88" fmla="*/ 953 h 58621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</a:cxnLst>
              <a:rect l="l" t="t" r="r" b="b"/>
              <a:pathLst>
                <a:path w="609549" h="586216">
                  <a:moveTo>
                    <a:pt x="61288" y="383285"/>
                  </a:moveTo>
                  <a:cubicBezTo>
                    <a:pt x="64829" y="383106"/>
                    <a:pt x="68448" y="384367"/>
                    <a:pt x="71162" y="387101"/>
                  </a:cubicBezTo>
                  <a:lnTo>
                    <a:pt x="120018" y="435892"/>
                  </a:lnTo>
                  <a:cubicBezTo>
                    <a:pt x="125113" y="440933"/>
                    <a:pt x="125113" y="449160"/>
                    <a:pt x="120018" y="454200"/>
                  </a:cubicBezTo>
                  <a:lnTo>
                    <a:pt x="56639" y="517543"/>
                  </a:lnTo>
                  <a:cubicBezTo>
                    <a:pt x="50211" y="523963"/>
                    <a:pt x="39211" y="522013"/>
                    <a:pt x="35592" y="513644"/>
                  </a:cubicBezTo>
                  <a:cubicBezTo>
                    <a:pt x="17783" y="472794"/>
                    <a:pt x="23211" y="424288"/>
                    <a:pt x="51877" y="388099"/>
                  </a:cubicBezTo>
                  <a:cubicBezTo>
                    <a:pt x="54282" y="385079"/>
                    <a:pt x="57746" y="383463"/>
                    <a:pt x="61288" y="383285"/>
                  </a:cubicBezTo>
                  <a:close/>
                  <a:moveTo>
                    <a:pt x="235245" y="302810"/>
                  </a:moveTo>
                  <a:lnTo>
                    <a:pt x="306042" y="373466"/>
                  </a:lnTo>
                  <a:lnTo>
                    <a:pt x="258717" y="420680"/>
                  </a:lnTo>
                  <a:cubicBezTo>
                    <a:pt x="274667" y="464329"/>
                    <a:pt x="265192" y="515300"/>
                    <a:pt x="230246" y="550152"/>
                  </a:cubicBezTo>
                  <a:cubicBezTo>
                    <a:pt x="192919" y="587430"/>
                    <a:pt x="137644" y="595798"/>
                    <a:pt x="92223" y="575305"/>
                  </a:cubicBezTo>
                  <a:cubicBezTo>
                    <a:pt x="84701" y="571882"/>
                    <a:pt x="82892" y="561992"/>
                    <a:pt x="88748" y="556143"/>
                  </a:cubicBezTo>
                  <a:lnTo>
                    <a:pt x="165115" y="479877"/>
                  </a:lnTo>
                  <a:cubicBezTo>
                    <a:pt x="174399" y="470605"/>
                    <a:pt x="174399" y="455580"/>
                    <a:pt x="165115" y="446308"/>
                  </a:cubicBezTo>
                  <a:lnTo>
                    <a:pt x="88700" y="369995"/>
                  </a:lnTo>
                  <a:cubicBezTo>
                    <a:pt x="82844" y="364194"/>
                    <a:pt x="84653" y="354399"/>
                    <a:pt x="92128" y="350976"/>
                  </a:cubicBezTo>
                  <a:cubicBezTo>
                    <a:pt x="122789" y="337092"/>
                    <a:pt x="157973" y="336379"/>
                    <a:pt x="189111" y="348884"/>
                  </a:cubicBezTo>
                  <a:close/>
                  <a:moveTo>
                    <a:pt x="257958" y="161679"/>
                  </a:moveTo>
                  <a:lnTo>
                    <a:pt x="317251" y="220879"/>
                  </a:lnTo>
                  <a:lnTo>
                    <a:pt x="388070" y="291586"/>
                  </a:lnTo>
                  <a:lnTo>
                    <a:pt x="604906" y="508130"/>
                  </a:lnTo>
                  <a:cubicBezTo>
                    <a:pt x="611097" y="514311"/>
                    <a:pt x="611097" y="524344"/>
                    <a:pt x="604906" y="530526"/>
                  </a:cubicBezTo>
                  <a:lnTo>
                    <a:pt x="556567" y="578789"/>
                  </a:lnTo>
                  <a:cubicBezTo>
                    <a:pt x="553471" y="581880"/>
                    <a:pt x="549423" y="583449"/>
                    <a:pt x="545327" y="583449"/>
                  </a:cubicBezTo>
                  <a:cubicBezTo>
                    <a:pt x="541279" y="583449"/>
                    <a:pt x="537231" y="581880"/>
                    <a:pt x="534135" y="578789"/>
                  </a:cubicBezTo>
                  <a:lnTo>
                    <a:pt x="317251" y="362293"/>
                  </a:lnTo>
                  <a:lnTo>
                    <a:pt x="246481" y="291586"/>
                  </a:lnTo>
                  <a:lnTo>
                    <a:pt x="187140" y="232339"/>
                  </a:lnTo>
                  <a:close/>
                  <a:moveTo>
                    <a:pt x="58606" y="160814"/>
                  </a:moveTo>
                  <a:lnTo>
                    <a:pt x="126401" y="228498"/>
                  </a:lnTo>
                  <a:lnTo>
                    <a:pt x="111975" y="242899"/>
                  </a:lnTo>
                  <a:lnTo>
                    <a:pt x="119307" y="250219"/>
                  </a:lnTo>
                  <a:cubicBezTo>
                    <a:pt x="126877" y="257824"/>
                    <a:pt x="126877" y="270087"/>
                    <a:pt x="119307" y="277692"/>
                  </a:cubicBezTo>
                  <a:lnTo>
                    <a:pt x="115641" y="281352"/>
                  </a:lnTo>
                  <a:cubicBezTo>
                    <a:pt x="108024" y="288909"/>
                    <a:pt x="95741" y="288909"/>
                    <a:pt x="88123" y="281352"/>
                  </a:cubicBezTo>
                  <a:lnTo>
                    <a:pt x="5712" y="199029"/>
                  </a:lnTo>
                  <a:cubicBezTo>
                    <a:pt x="-1905" y="191424"/>
                    <a:pt x="-1905" y="179161"/>
                    <a:pt x="5712" y="171604"/>
                  </a:cubicBezTo>
                  <a:lnTo>
                    <a:pt x="9378" y="167944"/>
                  </a:lnTo>
                  <a:cubicBezTo>
                    <a:pt x="16948" y="160339"/>
                    <a:pt x="29231" y="160339"/>
                    <a:pt x="36849" y="167944"/>
                  </a:cubicBezTo>
                  <a:lnTo>
                    <a:pt x="44180" y="175264"/>
                  </a:lnTo>
                  <a:close/>
                  <a:moveTo>
                    <a:pt x="585775" y="66370"/>
                  </a:moveTo>
                  <a:cubicBezTo>
                    <a:pt x="589775" y="67101"/>
                    <a:pt x="593430" y="69680"/>
                    <a:pt x="595263" y="73839"/>
                  </a:cubicBezTo>
                  <a:cubicBezTo>
                    <a:pt x="613072" y="114675"/>
                    <a:pt x="607644" y="163212"/>
                    <a:pt x="578978" y="199341"/>
                  </a:cubicBezTo>
                  <a:cubicBezTo>
                    <a:pt x="574168" y="205379"/>
                    <a:pt x="565121" y="205854"/>
                    <a:pt x="559693" y="200387"/>
                  </a:cubicBezTo>
                  <a:lnTo>
                    <a:pt x="510789" y="151612"/>
                  </a:lnTo>
                  <a:cubicBezTo>
                    <a:pt x="505742" y="146526"/>
                    <a:pt x="505742" y="138349"/>
                    <a:pt x="510789" y="133262"/>
                  </a:cubicBezTo>
                  <a:lnTo>
                    <a:pt x="574216" y="69988"/>
                  </a:lnTo>
                  <a:cubicBezTo>
                    <a:pt x="577430" y="66756"/>
                    <a:pt x="581775" y="65639"/>
                    <a:pt x="585775" y="66370"/>
                  </a:cubicBezTo>
                  <a:close/>
                  <a:moveTo>
                    <a:pt x="158702" y="26758"/>
                  </a:moveTo>
                  <a:cubicBezTo>
                    <a:pt x="163655" y="26758"/>
                    <a:pt x="168654" y="28660"/>
                    <a:pt x="172463" y="32464"/>
                  </a:cubicBezTo>
                  <a:lnTo>
                    <a:pt x="179701" y="39691"/>
                  </a:lnTo>
                  <a:lnTo>
                    <a:pt x="246935" y="106831"/>
                  </a:lnTo>
                  <a:lnTo>
                    <a:pt x="254886" y="114819"/>
                  </a:lnTo>
                  <a:cubicBezTo>
                    <a:pt x="261457" y="121334"/>
                    <a:pt x="262362" y="131414"/>
                    <a:pt x="257600" y="138879"/>
                  </a:cubicBezTo>
                  <a:cubicBezTo>
                    <a:pt x="256839" y="140068"/>
                    <a:pt x="255934" y="141209"/>
                    <a:pt x="254886" y="142255"/>
                  </a:cubicBezTo>
                  <a:lnTo>
                    <a:pt x="252315" y="144823"/>
                  </a:lnTo>
                  <a:lnTo>
                    <a:pt x="246696" y="150434"/>
                  </a:lnTo>
                  <a:lnTo>
                    <a:pt x="175892" y="221140"/>
                  </a:lnTo>
                  <a:lnTo>
                    <a:pt x="172463" y="224611"/>
                  </a:lnTo>
                  <a:cubicBezTo>
                    <a:pt x="171702" y="225324"/>
                    <a:pt x="170940" y="225990"/>
                    <a:pt x="170130" y="226560"/>
                  </a:cubicBezTo>
                  <a:cubicBezTo>
                    <a:pt x="167749" y="228319"/>
                    <a:pt x="165083" y="229413"/>
                    <a:pt x="162274" y="229936"/>
                  </a:cubicBezTo>
                  <a:cubicBezTo>
                    <a:pt x="161083" y="230174"/>
                    <a:pt x="159893" y="230269"/>
                    <a:pt x="158702" y="230269"/>
                  </a:cubicBezTo>
                  <a:cubicBezTo>
                    <a:pt x="153703" y="230269"/>
                    <a:pt x="148751" y="228367"/>
                    <a:pt x="144942" y="224611"/>
                  </a:cubicBezTo>
                  <a:lnTo>
                    <a:pt x="137609" y="217288"/>
                  </a:lnTo>
                  <a:lnTo>
                    <a:pt x="69804" y="149578"/>
                  </a:lnTo>
                  <a:lnTo>
                    <a:pt x="62519" y="142255"/>
                  </a:lnTo>
                  <a:cubicBezTo>
                    <a:pt x="54900" y="134647"/>
                    <a:pt x="54900" y="122380"/>
                    <a:pt x="62519" y="114819"/>
                  </a:cubicBezTo>
                  <a:lnTo>
                    <a:pt x="144942" y="32464"/>
                  </a:lnTo>
                  <a:cubicBezTo>
                    <a:pt x="148751" y="28660"/>
                    <a:pt x="153750" y="26758"/>
                    <a:pt x="158702" y="26758"/>
                  </a:cubicBezTo>
                  <a:close/>
                  <a:moveTo>
                    <a:pt x="254809" y="6542"/>
                  </a:moveTo>
                  <a:cubicBezTo>
                    <a:pt x="277279" y="4029"/>
                    <a:pt x="300492" y="9424"/>
                    <a:pt x="321015" y="29913"/>
                  </a:cubicBezTo>
                  <a:cubicBezTo>
                    <a:pt x="380347" y="89193"/>
                    <a:pt x="337205" y="46124"/>
                    <a:pt x="260017" y="97465"/>
                  </a:cubicBezTo>
                  <a:lnTo>
                    <a:pt x="193067" y="30626"/>
                  </a:lnTo>
                  <a:cubicBezTo>
                    <a:pt x="210614" y="19479"/>
                    <a:pt x="232340" y="9056"/>
                    <a:pt x="254809" y="6542"/>
                  </a:cubicBezTo>
                  <a:close/>
                  <a:moveTo>
                    <a:pt x="503105" y="953"/>
                  </a:moveTo>
                  <a:cubicBezTo>
                    <a:pt x="515252" y="2468"/>
                    <a:pt x="527216" y="5788"/>
                    <a:pt x="538560" y="10911"/>
                  </a:cubicBezTo>
                  <a:cubicBezTo>
                    <a:pt x="546131" y="14334"/>
                    <a:pt x="547940" y="24224"/>
                    <a:pt x="542083" y="30073"/>
                  </a:cubicBezTo>
                  <a:lnTo>
                    <a:pt x="465709" y="106341"/>
                  </a:lnTo>
                  <a:cubicBezTo>
                    <a:pt x="456424" y="115613"/>
                    <a:pt x="456424" y="130639"/>
                    <a:pt x="465709" y="139911"/>
                  </a:cubicBezTo>
                  <a:lnTo>
                    <a:pt x="542131" y="216227"/>
                  </a:lnTo>
                  <a:cubicBezTo>
                    <a:pt x="547940" y="222028"/>
                    <a:pt x="546178" y="231823"/>
                    <a:pt x="538655" y="235246"/>
                  </a:cubicBezTo>
                  <a:cubicBezTo>
                    <a:pt x="508181" y="249035"/>
                    <a:pt x="473184" y="249844"/>
                    <a:pt x="442187" y="237528"/>
                  </a:cubicBezTo>
                  <a:lnTo>
                    <a:pt x="399238" y="280370"/>
                  </a:lnTo>
                  <a:lnTo>
                    <a:pt x="328482" y="209712"/>
                  </a:lnTo>
                  <a:lnTo>
                    <a:pt x="372240" y="166015"/>
                  </a:lnTo>
                  <a:cubicBezTo>
                    <a:pt x="356051" y="122270"/>
                    <a:pt x="365527" y="71060"/>
                    <a:pt x="400571" y="36064"/>
                  </a:cubicBezTo>
                  <a:cubicBezTo>
                    <a:pt x="428569" y="8106"/>
                    <a:pt x="466664" y="-3592"/>
                    <a:pt x="503105" y="953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05A9B53B-5438-463C-BD38-AFC9A204559D}"/>
                </a:ext>
              </a:extLst>
            </p:cNvPr>
            <p:cNvSpPr/>
            <p:nvPr/>
          </p:nvSpPr>
          <p:spPr bwMode="auto">
            <a:xfrm>
              <a:off x="5819815" y="5187677"/>
              <a:ext cx="552370" cy="482184"/>
            </a:xfrm>
            <a:custGeom>
              <a:avLst/>
              <a:gdLst>
                <a:gd name="connsiteX0" fmla="*/ 424975 w 608697"/>
                <a:gd name="connsiteY0" fmla="*/ 168488 h 531358"/>
                <a:gd name="connsiteX1" fmla="*/ 387604 w 608697"/>
                <a:gd name="connsiteY1" fmla="*/ 205806 h 531358"/>
                <a:gd name="connsiteX2" fmla="*/ 424975 w 608697"/>
                <a:gd name="connsiteY2" fmla="*/ 243124 h 531358"/>
                <a:gd name="connsiteX3" fmla="*/ 462346 w 608697"/>
                <a:gd name="connsiteY3" fmla="*/ 205806 h 531358"/>
                <a:gd name="connsiteX4" fmla="*/ 424975 w 608697"/>
                <a:gd name="connsiteY4" fmla="*/ 168488 h 531358"/>
                <a:gd name="connsiteX5" fmla="*/ 287947 w 608697"/>
                <a:gd name="connsiteY5" fmla="*/ 168488 h 531358"/>
                <a:gd name="connsiteX6" fmla="*/ 250576 w 608697"/>
                <a:gd name="connsiteY6" fmla="*/ 205806 h 531358"/>
                <a:gd name="connsiteX7" fmla="*/ 287947 w 608697"/>
                <a:gd name="connsiteY7" fmla="*/ 243124 h 531358"/>
                <a:gd name="connsiteX8" fmla="*/ 325318 w 608697"/>
                <a:gd name="connsiteY8" fmla="*/ 205806 h 531358"/>
                <a:gd name="connsiteX9" fmla="*/ 287947 w 608697"/>
                <a:gd name="connsiteY9" fmla="*/ 168488 h 531358"/>
                <a:gd name="connsiteX10" fmla="*/ 102356 w 608697"/>
                <a:gd name="connsiteY10" fmla="*/ 121231 h 531358"/>
                <a:gd name="connsiteX11" fmla="*/ 98850 w 608697"/>
                <a:gd name="connsiteY11" fmla="*/ 127711 h 531358"/>
                <a:gd name="connsiteX12" fmla="*/ 76842 w 608697"/>
                <a:gd name="connsiteY12" fmla="*/ 217990 h 531358"/>
                <a:gd name="connsiteX13" fmla="*/ 98850 w 608697"/>
                <a:gd name="connsiteY13" fmla="*/ 308194 h 531358"/>
                <a:gd name="connsiteX14" fmla="*/ 157488 w 608697"/>
                <a:gd name="connsiteY14" fmla="*/ 380223 h 531358"/>
                <a:gd name="connsiteX15" fmla="*/ 344668 w 608697"/>
                <a:gd name="connsiteY15" fmla="*/ 444729 h 531358"/>
                <a:gd name="connsiteX16" fmla="*/ 370257 w 608697"/>
                <a:gd name="connsiteY16" fmla="*/ 443687 h 531358"/>
                <a:gd name="connsiteX17" fmla="*/ 236717 w 608697"/>
                <a:gd name="connsiteY17" fmla="*/ 477876 h 531358"/>
                <a:gd name="connsiteX18" fmla="*/ 198072 w 608697"/>
                <a:gd name="connsiteY18" fmla="*/ 475344 h 531358"/>
                <a:gd name="connsiteX19" fmla="*/ 82437 w 608697"/>
                <a:gd name="connsiteY19" fmla="*/ 531284 h 531358"/>
                <a:gd name="connsiteX20" fmla="*/ 81542 w 608697"/>
                <a:gd name="connsiteY20" fmla="*/ 531358 h 531358"/>
                <a:gd name="connsiteX21" fmla="*/ 75051 w 608697"/>
                <a:gd name="connsiteY21" fmla="*/ 527857 h 531358"/>
                <a:gd name="connsiteX22" fmla="*/ 74753 w 608697"/>
                <a:gd name="connsiteY22" fmla="*/ 519738 h 531358"/>
                <a:gd name="connsiteX23" fmla="*/ 88778 w 608697"/>
                <a:gd name="connsiteY23" fmla="*/ 435046 h 531358"/>
                <a:gd name="connsiteX24" fmla="*/ 0 w 608697"/>
                <a:gd name="connsiteY24" fmla="*/ 282198 h 531358"/>
                <a:gd name="connsiteX25" fmla="*/ 102356 w 608697"/>
                <a:gd name="connsiteY25" fmla="*/ 121231 h 531358"/>
                <a:gd name="connsiteX26" fmla="*/ 356424 w 608697"/>
                <a:gd name="connsiteY26" fmla="*/ 0 h 531358"/>
                <a:gd name="connsiteX27" fmla="*/ 608697 w 608697"/>
                <a:gd name="connsiteY27" fmla="*/ 211244 h 531358"/>
                <a:gd name="connsiteX28" fmla="*/ 518290 w 608697"/>
                <a:gd name="connsiteY28" fmla="*/ 373401 h 531358"/>
                <a:gd name="connsiteX29" fmla="*/ 531941 w 608697"/>
                <a:gd name="connsiteY29" fmla="*/ 441109 h 531358"/>
                <a:gd name="connsiteX30" fmla="*/ 531120 w 608697"/>
                <a:gd name="connsiteY30" fmla="*/ 465391 h 531358"/>
                <a:gd name="connsiteX31" fmla="*/ 511577 w 608697"/>
                <a:gd name="connsiteY31" fmla="*/ 475894 h 531358"/>
                <a:gd name="connsiteX32" fmla="*/ 509041 w 608697"/>
                <a:gd name="connsiteY32" fmla="*/ 475745 h 531358"/>
                <a:gd name="connsiteX33" fmla="*/ 391408 w 608697"/>
                <a:gd name="connsiteY33" fmla="*/ 420476 h 531358"/>
                <a:gd name="connsiteX34" fmla="*/ 356424 w 608697"/>
                <a:gd name="connsiteY34" fmla="*/ 422487 h 531358"/>
                <a:gd name="connsiteX35" fmla="*/ 104225 w 608697"/>
                <a:gd name="connsiteY35" fmla="*/ 211244 h 531358"/>
                <a:gd name="connsiteX36" fmla="*/ 356424 w 608697"/>
                <a:gd name="connsiteY36" fmla="*/ 0 h 5313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8697" h="531358">
                  <a:moveTo>
                    <a:pt x="424975" y="168488"/>
                  </a:moveTo>
                  <a:cubicBezTo>
                    <a:pt x="404312" y="168488"/>
                    <a:pt x="387604" y="185248"/>
                    <a:pt x="387604" y="205806"/>
                  </a:cubicBezTo>
                  <a:cubicBezTo>
                    <a:pt x="387604" y="226439"/>
                    <a:pt x="404312" y="243124"/>
                    <a:pt x="424975" y="243124"/>
                  </a:cubicBezTo>
                  <a:cubicBezTo>
                    <a:pt x="445562" y="243124"/>
                    <a:pt x="462346" y="226439"/>
                    <a:pt x="462346" y="205806"/>
                  </a:cubicBezTo>
                  <a:cubicBezTo>
                    <a:pt x="462346" y="185248"/>
                    <a:pt x="445637" y="168488"/>
                    <a:pt x="424975" y="168488"/>
                  </a:cubicBezTo>
                  <a:close/>
                  <a:moveTo>
                    <a:pt x="287947" y="168488"/>
                  </a:moveTo>
                  <a:cubicBezTo>
                    <a:pt x="267285" y="168488"/>
                    <a:pt x="250576" y="185248"/>
                    <a:pt x="250576" y="205806"/>
                  </a:cubicBezTo>
                  <a:cubicBezTo>
                    <a:pt x="250576" y="226439"/>
                    <a:pt x="267285" y="243124"/>
                    <a:pt x="287947" y="243124"/>
                  </a:cubicBezTo>
                  <a:cubicBezTo>
                    <a:pt x="308610" y="243124"/>
                    <a:pt x="325318" y="226439"/>
                    <a:pt x="325318" y="205806"/>
                  </a:cubicBezTo>
                  <a:cubicBezTo>
                    <a:pt x="325318" y="185248"/>
                    <a:pt x="308610" y="168488"/>
                    <a:pt x="287947" y="168488"/>
                  </a:cubicBezTo>
                  <a:close/>
                  <a:moveTo>
                    <a:pt x="102356" y="121231"/>
                  </a:moveTo>
                  <a:cubicBezTo>
                    <a:pt x="101162" y="123317"/>
                    <a:pt x="99969" y="125477"/>
                    <a:pt x="98850" y="127711"/>
                  </a:cubicBezTo>
                  <a:cubicBezTo>
                    <a:pt x="84227" y="156240"/>
                    <a:pt x="76842" y="186631"/>
                    <a:pt x="76842" y="217990"/>
                  </a:cubicBezTo>
                  <a:cubicBezTo>
                    <a:pt x="76842" y="249275"/>
                    <a:pt x="84227" y="279666"/>
                    <a:pt x="98850" y="308194"/>
                  </a:cubicBezTo>
                  <a:cubicBezTo>
                    <a:pt x="112726" y="335308"/>
                    <a:pt x="132496" y="359516"/>
                    <a:pt x="157488" y="380223"/>
                  </a:cubicBezTo>
                  <a:cubicBezTo>
                    <a:pt x="207845" y="421787"/>
                    <a:pt x="274317" y="444729"/>
                    <a:pt x="344668" y="444729"/>
                  </a:cubicBezTo>
                  <a:cubicBezTo>
                    <a:pt x="353173" y="444729"/>
                    <a:pt x="361752" y="444357"/>
                    <a:pt x="370257" y="443687"/>
                  </a:cubicBezTo>
                  <a:cubicBezTo>
                    <a:pt x="332209" y="465288"/>
                    <a:pt x="286254" y="477876"/>
                    <a:pt x="236717" y="477876"/>
                  </a:cubicBezTo>
                  <a:cubicBezTo>
                    <a:pt x="223736" y="477876"/>
                    <a:pt x="210755" y="477057"/>
                    <a:pt x="198072" y="475344"/>
                  </a:cubicBezTo>
                  <a:cubicBezTo>
                    <a:pt x="160397" y="499478"/>
                    <a:pt x="110637" y="528155"/>
                    <a:pt x="82437" y="531284"/>
                  </a:cubicBezTo>
                  <a:cubicBezTo>
                    <a:pt x="82138" y="531358"/>
                    <a:pt x="81840" y="531358"/>
                    <a:pt x="81542" y="531358"/>
                  </a:cubicBezTo>
                  <a:cubicBezTo>
                    <a:pt x="78930" y="531358"/>
                    <a:pt x="76469" y="530017"/>
                    <a:pt x="75051" y="527857"/>
                  </a:cubicBezTo>
                  <a:cubicBezTo>
                    <a:pt x="73410" y="525399"/>
                    <a:pt x="73335" y="522271"/>
                    <a:pt x="74753" y="519738"/>
                  </a:cubicBezTo>
                  <a:cubicBezTo>
                    <a:pt x="75051" y="519291"/>
                    <a:pt x="99223" y="476014"/>
                    <a:pt x="88778" y="435046"/>
                  </a:cubicBezTo>
                  <a:cubicBezTo>
                    <a:pt x="32303" y="397653"/>
                    <a:pt x="0" y="342160"/>
                    <a:pt x="0" y="282198"/>
                  </a:cubicBezTo>
                  <a:cubicBezTo>
                    <a:pt x="0" y="215532"/>
                    <a:pt x="40584" y="156538"/>
                    <a:pt x="102356" y="121231"/>
                  </a:cubicBezTo>
                  <a:close/>
                  <a:moveTo>
                    <a:pt x="356424" y="0"/>
                  </a:moveTo>
                  <a:cubicBezTo>
                    <a:pt x="495540" y="0"/>
                    <a:pt x="608697" y="94747"/>
                    <a:pt x="608697" y="211244"/>
                  </a:cubicBezTo>
                  <a:cubicBezTo>
                    <a:pt x="608697" y="274408"/>
                    <a:pt x="575802" y="333178"/>
                    <a:pt x="518290" y="373401"/>
                  </a:cubicBezTo>
                  <a:cubicBezTo>
                    <a:pt x="512845" y="406324"/>
                    <a:pt x="531717" y="440811"/>
                    <a:pt x="531941" y="441109"/>
                  </a:cubicBezTo>
                  <a:cubicBezTo>
                    <a:pt x="536267" y="448781"/>
                    <a:pt x="535969" y="458092"/>
                    <a:pt x="531120" y="465391"/>
                  </a:cubicBezTo>
                  <a:cubicBezTo>
                    <a:pt x="526794" y="472021"/>
                    <a:pt x="519484" y="475894"/>
                    <a:pt x="511577" y="475894"/>
                  </a:cubicBezTo>
                  <a:cubicBezTo>
                    <a:pt x="510756" y="475894"/>
                    <a:pt x="509936" y="475894"/>
                    <a:pt x="509041" y="475745"/>
                  </a:cubicBezTo>
                  <a:cubicBezTo>
                    <a:pt x="484574" y="473064"/>
                    <a:pt x="444966" y="454442"/>
                    <a:pt x="391408" y="420476"/>
                  </a:cubicBezTo>
                  <a:cubicBezTo>
                    <a:pt x="379920" y="421817"/>
                    <a:pt x="368135" y="422487"/>
                    <a:pt x="356424" y="422487"/>
                  </a:cubicBezTo>
                  <a:cubicBezTo>
                    <a:pt x="217382" y="422487"/>
                    <a:pt x="104225" y="327741"/>
                    <a:pt x="104225" y="211244"/>
                  </a:cubicBezTo>
                  <a:cubicBezTo>
                    <a:pt x="104225" y="94747"/>
                    <a:pt x="217382" y="0"/>
                    <a:pt x="356424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" name="任意多边形: 形状 25">
              <a:extLst>
                <a:ext uri="{FF2B5EF4-FFF2-40B4-BE49-F238E27FC236}">
                  <a16:creationId xmlns:a16="http://schemas.microsoft.com/office/drawing/2014/main" id="{1574AB87-3F39-4859-8F19-BC9684991340}"/>
                </a:ext>
              </a:extLst>
            </p:cNvPr>
            <p:cNvSpPr/>
            <p:nvPr/>
          </p:nvSpPr>
          <p:spPr bwMode="auto">
            <a:xfrm>
              <a:off x="10136724" y="2816893"/>
              <a:ext cx="498748" cy="497812"/>
            </a:xfrm>
            <a:custGeom>
              <a:avLst/>
              <a:gdLst>
                <a:gd name="connsiteX0" fmla="*/ 290910 w 605702"/>
                <a:gd name="connsiteY0" fmla="*/ 156336 h 604568"/>
                <a:gd name="connsiteX1" fmla="*/ 335849 w 605702"/>
                <a:gd name="connsiteY1" fmla="*/ 164992 h 604568"/>
                <a:gd name="connsiteX2" fmla="*/ 288310 w 605702"/>
                <a:gd name="connsiteY2" fmla="*/ 212456 h 604568"/>
                <a:gd name="connsiteX3" fmla="*/ 203632 w 605702"/>
                <a:gd name="connsiteY3" fmla="*/ 244717 h 604568"/>
                <a:gd name="connsiteX4" fmla="*/ 203632 w 605702"/>
                <a:gd name="connsiteY4" fmla="*/ 401388 h 604568"/>
                <a:gd name="connsiteX5" fmla="*/ 360547 w 605702"/>
                <a:gd name="connsiteY5" fmla="*/ 401388 h 604568"/>
                <a:gd name="connsiteX6" fmla="*/ 392859 w 605702"/>
                <a:gd name="connsiteY6" fmla="*/ 316749 h 604568"/>
                <a:gd name="connsiteX7" fmla="*/ 440397 w 605702"/>
                <a:gd name="connsiteY7" fmla="*/ 269284 h 604568"/>
                <a:gd name="connsiteX8" fmla="*/ 400287 w 605702"/>
                <a:gd name="connsiteY8" fmla="*/ 441065 h 604568"/>
                <a:gd name="connsiteX9" fmla="*/ 163892 w 605702"/>
                <a:gd name="connsiteY9" fmla="*/ 441065 h 604568"/>
                <a:gd name="connsiteX10" fmla="*/ 163892 w 605702"/>
                <a:gd name="connsiteY10" fmla="*/ 205040 h 604568"/>
                <a:gd name="connsiteX11" fmla="*/ 290910 w 605702"/>
                <a:gd name="connsiteY11" fmla="*/ 156336 h 604568"/>
                <a:gd name="connsiteX12" fmla="*/ 246542 w 605702"/>
                <a:gd name="connsiteY12" fmla="*/ 43775 h 604568"/>
                <a:gd name="connsiteX13" fmla="*/ 422196 w 605702"/>
                <a:gd name="connsiteY13" fmla="*/ 78723 h 604568"/>
                <a:gd name="connsiteX14" fmla="*/ 376794 w 605702"/>
                <a:gd name="connsiteY14" fmla="*/ 124054 h 604568"/>
                <a:gd name="connsiteX15" fmla="*/ 126109 w 605702"/>
                <a:gd name="connsiteY15" fmla="*/ 167345 h 604568"/>
                <a:gd name="connsiteX16" fmla="*/ 126109 w 605702"/>
                <a:gd name="connsiteY16" fmla="*/ 478820 h 604568"/>
                <a:gd name="connsiteX17" fmla="*/ 438073 w 605702"/>
                <a:gd name="connsiteY17" fmla="*/ 478820 h 604568"/>
                <a:gd name="connsiteX18" fmla="*/ 481432 w 605702"/>
                <a:gd name="connsiteY18" fmla="*/ 228527 h 604568"/>
                <a:gd name="connsiteX19" fmla="*/ 526741 w 605702"/>
                <a:gd name="connsiteY19" fmla="*/ 183011 h 604568"/>
                <a:gd name="connsiteX20" fmla="*/ 481432 w 605702"/>
                <a:gd name="connsiteY20" fmla="*/ 522111 h 604568"/>
                <a:gd name="connsiteX21" fmla="*/ 82657 w 605702"/>
                <a:gd name="connsiteY21" fmla="*/ 522111 h 604568"/>
                <a:gd name="connsiteX22" fmla="*/ 82657 w 605702"/>
                <a:gd name="connsiteY22" fmla="*/ 123961 h 604568"/>
                <a:gd name="connsiteX23" fmla="*/ 246542 w 605702"/>
                <a:gd name="connsiteY23" fmla="*/ 43775 h 604568"/>
                <a:gd name="connsiteX24" fmla="*/ 536061 w 605702"/>
                <a:gd name="connsiteY24" fmla="*/ 0 h 604568"/>
                <a:gd name="connsiteX25" fmla="*/ 544232 w 605702"/>
                <a:gd name="connsiteY25" fmla="*/ 61368 h 604568"/>
                <a:gd name="connsiteX26" fmla="*/ 605702 w 605702"/>
                <a:gd name="connsiteY26" fmla="*/ 69526 h 604568"/>
                <a:gd name="connsiteX27" fmla="*/ 524361 w 605702"/>
                <a:gd name="connsiteY27" fmla="*/ 150732 h 604568"/>
                <a:gd name="connsiteX28" fmla="*/ 498361 w 605702"/>
                <a:gd name="connsiteY28" fmla="*/ 147302 h 604568"/>
                <a:gd name="connsiteX29" fmla="*/ 337721 w 605702"/>
                <a:gd name="connsiteY29" fmla="*/ 307767 h 604568"/>
                <a:gd name="connsiteX30" fmla="*/ 339764 w 605702"/>
                <a:gd name="connsiteY30" fmla="*/ 323063 h 604568"/>
                <a:gd name="connsiteX31" fmla="*/ 282101 w 605702"/>
                <a:gd name="connsiteY31" fmla="*/ 380630 h 604568"/>
                <a:gd name="connsiteX32" fmla="*/ 224437 w 605702"/>
                <a:gd name="connsiteY32" fmla="*/ 323063 h 604568"/>
                <a:gd name="connsiteX33" fmla="*/ 282101 w 605702"/>
                <a:gd name="connsiteY33" fmla="*/ 265495 h 604568"/>
                <a:gd name="connsiteX34" fmla="*/ 297422 w 605702"/>
                <a:gd name="connsiteY34" fmla="*/ 267535 h 604568"/>
                <a:gd name="connsiteX35" fmla="*/ 458155 w 605702"/>
                <a:gd name="connsiteY35" fmla="*/ 107162 h 604568"/>
                <a:gd name="connsiteX36" fmla="*/ 454719 w 605702"/>
                <a:gd name="connsiteY36" fmla="*/ 81206 h 6045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5702" h="604568">
                  <a:moveTo>
                    <a:pt x="290910" y="156336"/>
                  </a:moveTo>
                  <a:cubicBezTo>
                    <a:pt x="306137" y="157147"/>
                    <a:pt x="321272" y="160032"/>
                    <a:pt x="335849" y="164992"/>
                  </a:cubicBezTo>
                  <a:lnTo>
                    <a:pt x="288310" y="212456"/>
                  </a:lnTo>
                  <a:cubicBezTo>
                    <a:pt x="257856" y="210695"/>
                    <a:pt x="226844" y="221449"/>
                    <a:pt x="203632" y="244717"/>
                  </a:cubicBezTo>
                  <a:cubicBezTo>
                    <a:pt x="160271" y="287918"/>
                    <a:pt x="160271" y="358187"/>
                    <a:pt x="203632" y="401388"/>
                  </a:cubicBezTo>
                  <a:cubicBezTo>
                    <a:pt x="246900" y="444680"/>
                    <a:pt x="317279" y="444680"/>
                    <a:pt x="360547" y="401388"/>
                  </a:cubicBezTo>
                  <a:cubicBezTo>
                    <a:pt x="383852" y="378211"/>
                    <a:pt x="394623" y="347156"/>
                    <a:pt x="392859" y="316749"/>
                  </a:cubicBezTo>
                  <a:lnTo>
                    <a:pt x="440397" y="269284"/>
                  </a:lnTo>
                  <a:cubicBezTo>
                    <a:pt x="460267" y="327595"/>
                    <a:pt x="446897" y="394620"/>
                    <a:pt x="400287" y="441065"/>
                  </a:cubicBezTo>
                  <a:cubicBezTo>
                    <a:pt x="335106" y="506236"/>
                    <a:pt x="229073" y="506236"/>
                    <a:pt x="163892" y="441065"/>
                  </a:cubicBezTo>
                  <a:cubicBezTo>
                    <a:pt x="98619" y="375987"/>
                    <a:pt x="98619" y="270118"/>
                    <a:pt x="163892" y="205040"/>
                  </a:cubicBezTo>
                  <a:cubicBezTo>
                    <a:pt x="198711" y="170137"/>
                    <a:pt x="245228" y="153902"/>
                    <a:pt x="290910" y="156336"/>
                  </a:cubicBezTo>
                  <a:close/>
                  <a:moveTo>
                    <a:pt x="246542" y="43775"/>
                  </a:moveTo>
                  <a:cubicBezTo>
                    <a:pt x="306463" y="36243"/>
                    <a:pt x="368345" y="47900"/>
                    <a:pt x="422196" y="78723"/>
                  </a:cubicBezTo>
                  <a:lnTo>
                    <a:pt x="376794" y="124054"/>
                  </a:lnTo>
                  <a:cubicBezTo>
                    <a:pt x="294811" y="85305"/>
                    <a:pt x="193980" y="99581"/>
                    <a:pt x="126109" y="167345"/>
                  </a:cubicBezTo>
                  <a:cubicBezTo>
                    <a:pt x="39948" y="253371"/>
                    <a:pt x="39948" y="392793"/>
                    <a:pt x="126109" y="478820"/>
                  </a:cubicBezTo>
                  <a:cubicBezTo>
                    <a:pt x="212271" y="564846"/>
                    <a:pt x="351912" y="564846"/>
                    <a:pt x="438073" y="478820"/>
                  </a:cubicBezTo>
                  <a:cubicBezTo>
                    <a:pt x="505944" y="411055"/>
                    <a:pt x="520428" y="310382"/>
                    <a:pt x="481432" y="228527"/>
                  </a:cubicBezTo>
                  <a:lnTo>
                    <a:pt x="526741" y="183011"/>
                  </a:lnTo>
                  <a:cubicBezTo>
                    <a:pt x="588484" y="290544"/>
                    <a:pt x="573350" y="430244"/>
                    <a:pt x="481432" y="522111"/>
                  </a:cubicBezTo>
                  <a:cubicBezTo>
                    <a:pt x="371316" y="632054"/>
                    <a:pt x="192866" y="632054"/>
                    <a:pt x="82657" y="522111"/>
                  </a:cubicBezTo>
                  <a:cubicBezTo>
                    <a:pt x="-27552" y="412168"/>
                    <a:pt x="-27552" y="233997"/>
                    <a:pt x="82657" y="123961"/>
                  </a:cubicBezTo>
                  <a:cubicBezTo>
                    <a:pt x="128662" y="78028"/>
                    <a:pt x="186622" y="51307"/>
                    <a:pt x="246542" y="43775"/>
                  </a:cubicBezTo>
                  <a:close/>
                  <a:moveTo>
                    <a:pt x="536061" y="0"/>
                  </a:moveTo>
                  <a:lnTo>
                    <a:pt x="544232" y="61368"/>
                  </a:lnTo>
                  <a:lnTo>
                    <a:pt x="605702" y="69526"/>
                  </a:lnTo>
                  <a:lnTo>
                    <a:pt x="524361" y="150732"/>
                  </a:lnTo>
                  <a:lnTo>
                    <a:pt x="498361" y="147302"/>
                  </a:lnTo>
                  <a:lnTo>
                    <a:pt x="337721" y="307767"/>
                  </a:lnTo>
                  <a:cubicBezTo>
                    <a:pt x="339021" y="312588"/>
                    <a:pt x="339764" y="317779"/>
                    <a:pt x="339764" y="323063"/>
                  </a:cubicBezTo>
                  <a:cubicBezTo>
                    <a:pt x="339764" y="354859"/>
                    <a:pt x="313950" y="380630"/>
                    <a:pt x="282101" y="380630"/>
                  </a:cubicBezTo>
                  <a:cubicBezTo>
                    <a:pt x="250251" y="380630"/>
                    <a:pt x="224437" y="354859"/>
                    <a:pt x="224437" y="323063"/>
                  </a:cubicBezTo>
                  <a:cubicBezTo>
                    <a:pt x="224437" y="291266"/>
                    <a:pt x="250251" y="265495"/>
                    <a:pt x="282101" y="265495"/>
                  </a:cubicBezTo>
                  <a:cubicBezTo>
                    <a:pt x="287393" y="265495"/>
                    <a:pt x="292500" y="266237"/>
                    <a:pt x="297422" y="267535"/>
                  </a:cubicBezTo>
                  <a:lnTo>
                    <a:pt x="458155" y="107162"/>
                  </a:lnTo>
                  <a:lnTo>
                    <a:pt x="454719" y="8120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27" name="组合 26">
              <a:extLst>
                <a:ext uri="{FF2B5EF4-FFF2-40B4-BE49-F238E27FC236}">
                  <a16:creationId xmlns:a16="http://schemas.microsoft.com/office/drawing/2014/main" id="{7853BA4E-0645-4CED-9342-E4554DD3268A}"/>
                </a:ext>
              </a:extLst>
            </p:cNvPr>
            <p:cNvGrpSpPr/>
            <p:nvPr/>
          </p:nvGrpSpPr>
          <p:grpSpPr>
            <a:xfrm>
              <a:off x="826811" y="1217303"/>
              <a:ext cx="1958179" cy="1216383"/>
              <a:chOff x="883924" y="3952876"/>
              <a:chExt cx="1827794" cy="1216383"/>
            </a:xfrm>
          </p:grpSpPr>
          <p:sp>
            <p:nvSpPr>
              <p:cNvPr id="40" name="矩形 39">
                <a:extLst>
                  <a:ext uri="{FF2B5EF4-FFF2-40B4-BE49-F238E27FC236}">
                    <a16:creationId xmlns:a16="http://schemas.microsoft.com/office/drawing/2014/main" id="{B0656D2D-117C-435F-A588-95908BCD0ACB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41" name="文本框 40">
                <a:extLst>
                  <a:ext uri="{FF2B5EF4-FFF2-40B4-BE49-F238E27FC236}">
                    <a16:creationId xmlns:a16="http://schemas.microsoft.com/office/drawing/2014/main" id="{383BE649-C145-475B-99FE-EB397DD4CD6B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28" name="组合 27">
              <a:extLst>
                <a:ext uri="{FF2B5EF4-FFF2-40B4-BE49-F238E27FC236}">
                  <a16:creationId xmlns:a16="http://schemas.microsoft.com/office/drawing/2014/main" id="{4A5AC10D-617C-4BE4-A181-A14E62CFE037}"/>
                </a:ext>
              </a:extLst>
            </p:cNvPr>
            <p:cNvGrpSpPr/>
            <p:nvPr/>
          </p:nvGrpSpPr>
          <p:grpSpPr>
            <a:xfrm>
              <a:off x="2970418" y="2462288"/>
              <a:ext cx="1958179" cy="1216383"/>
              <a:chOff x="883924" y="3952876"/>
              <a:chExt cx="1827794" cy="1216383"/>
            </a:xfrm>
          </p:grpSpPr>
          <p:sp>
            <p:nvSpPr>
              <p:cNvPr id="38" name="矩形 37">
                <a:extLst>
                  <a:ext uri="{FF2B5EF4-FFF2-40B4-BE49-F238E27FC236}">
                    <a16:creationId xmlns:a16="http://schemas.microsoft.com/office/drawing/2014/main" id="{433F33A3-CB31-46DF-9823-1A102D761CC4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9" name="文本框 38">
                <a:extLst>
                  <a:ext uri="{FF2B5EF4-FFF2-40B4-BE49-F238E27FC236}">
                    <a16:creationId xmlns:a16="http://schemas.microsoft.com/office/drawing/2014/main" id="{55365B56-6EBE-43E5-9DFB-12983B795017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51FAB2CC-D9BD-4743-81D9-903EADE8121F}"/>
                </a:ext>
              </a:extLst>
            </p:cNvPr>
            <p:cNvGrpSpPr/>
            <p:nvPr/>
          </p:nvGrpSpPr>
          <p:grpSpPr>
            <a:xfrm>
              <a:off x="7261478" y="2462288"/>
              <a:ext cx="1958179" cy="1216383"/>
              <a:chOff x="883924" y="3952876"/>
              <a:chExt cx="1827794" cy="1216383"/>
            </a:xfrm>
          </p:grpSpPr>
          <p:sp>
            <p:nvSpPr>
              <p:cNvPr id="36" name="矩形 35">
                <a:extLst>
                  <a:ext uri="{FF2B5EF4-FFF2-40B4-BE49-F238E27FC236}">
                    <a16:creationId xmlns:a16="http://schemas.microsoft.com/office/drawing/2014/main" id="{39B686D0-2886-4946-84A1-F8450EC555C0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7" name="文本框 36">
                <a:extLst>
                  <a:ext uri="{FF2B5EF4-FFF2-40B4-BE49-F238E27FC236}">
                    <a16:creationId xmlns:a16="http://schemas.microsoft.com/office/drawing/2014/main" id="{9C67F8A2-1BD4-48CE-AA11-B011C2546623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30" name="组合 29">
              <a:extLst>
                <a:ext uri="{FF2B5EF4-FFF2-40B4-BE49-F238E27FC236}">
                  <a16:creationId xmlns:a16="http://schemas.microsoft.com/office/drawing/2014/main" id="{7EAD66F2-E431-43A6-9AB8-30398B5FA144}"/>
                </a:ext>
              </a:extLst>
            </p:cNvPr>
            <p:cNvGrpSpPr/>
            <p:nvPr/>
          </p:nvGrpSpPr>
          <p:grpSpPr>
            <a:xfrm>
              <a:off x="9407008" y="1217303"/>
              <a:ext cx="1958179" cy="1216383"/>
              <a:chOff x="883924" y="3952876"/>
              <a:chExt cx="1827794" cy="1216383"/>
            </a:xfrm>
          </p:grpSpPr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A694D85A-8125-4EF2-84FB-5B41F2273430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5" name="文本框 34">
                <a:extLst>
                  <a:ext uri="{FF2B5EF4-FFF2-40B4-BE49-F238E27FC236}">
                    <a16:creationId xmlns:a16="http://schemas.microsoft.com/office/drawing/2014/main" id="{C4EAFEF3-B077-4B24-9F97-562988F3C499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31" name="组合 30">
              <a:extLst>
                <a:ext uri="{FF2B5EF4-FFF2-40B4-BE49-F238E27FC236}">
                  <a16:creationId xmlns:a16="http://schemas.microsoft.com/office/drawing/2014/main" id="{C1D43B27-E750-4DBE-A156-B631A2352B7B}"/>
                </a:ext>
              </a:extLst>
            </p:cNvPr>
            <p:cNvGrpSpPr/>
            <p:nvPr/>
          </p:nvGrpSpPr>
          <p:grpSpPr>
            <a:xfrm>
              <a:off x="5116910" y="3593550"/>
              <a:ext cx="1958179" cy="1216383"/>
              <a:chOff x="883924" y="3952876"/>
              <a:chExt cx="1827794" cy="1216383"/>
            </a:xfrm>
          </p:grpSpPr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89FA5FB7-7C35-45A6-9D48-CED175AEFABE}"/>
                  </a:ext>
                </a:extLst>
              </p:cNvPr>
              <p:cNvSpPr/>
              <p:nvPr/>
            </p:nvSpPr>
            <p:spPr bwMode="auto">
              <a:xfrm>
                <a:off x="883924" y="4399186"/>
                <a:ext cx="1827794" cy="770073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 dirty="0">
                    <a:cs typeface="+mn-ea"/>
                    <a:sym typeface="+mn-lt"/>
                  </a:rPr>
                  <a:t>…… </a:t>
                </a:r>
              </a:p>
            </p:txBody>
          </p:sp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680FE411-7D86-48BF-B4C9-992CDF3C700B}"/>
                  </a:ext>
                </a:extLst>
              </p:cNvPr>
              <p:cNvSpPr txBox="1"/>
              <p:nvPr/>
            </p:nvSpPr>
            <p:spPr bwMode="auto">
              <a:xfrm>
                <a:off x="883924" y="3952876"/>
                <a:ext cx="1827794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1336487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373177F-6EDE-48EB-B49E-658F9914EA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70C599F-0C68-4AD4-964E-0017926C01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7941EF3-20C7-41C4-B3AE-6CB34C0B59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9776451-ED01-4CB6-B40C-EB024A8F6570}"/>
              </a:ext>
            </a:extLst>
          </p:cNvPr>
          <p:cNvGrpSpPr>
            <a:grpSpLocks noChangeAspect="1"/>
          </p:cNvGrpSpPr>
          <p:nvPr/>
        </p:nvGrpSpPr>
        <p:grpSpPr>
          <a:xfrm>
            <a:off x="2085162" y="1609155"/>
            <a:ext cx="8111169" cy="3835470"/>
            <a:chOff x="2085162" y="1609155"/>
            <a:chExt cx="8111169" cy="383547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E5444FAE-F72E-4B06-B8F9-63B06880E1F0}"/>
                </a:ext>
              </a:extLst>
            </p:cNvPr>
            <p:cNvGrpSpPr/>
            <p:nvPr/>
          </p:nvGrpSpPr>
          <p:grpSpPr>
            <a:xfrm>
              <a:off x="4535472" y="2071672"/>
              <a:ext cx="3121056" cy="3121056"/>
              <a:chOff x="4529122" y="2071672"/>
              <a:chExt cx="3121056" cy="3121056"/>
            </a:xfrm>
          </p:grpSpPr>
          <p:sp>
            <p:nvSpPr>
              <p:cNvPr id="15" name="椭圆 14">
                <a:extLst>
                  <a:ext uri="{FF2B5EF4-FFF2-40B4-BE49-F238E27FC236}">
                    <a16:creationId xmlns:a16="http://schemas.microsoft.com/office/drawing/2014/main" id="{F0CF0692-A191-487A-ADE8-77E53C10C8EA}"/>
                  </a:ext>
                </a:extLst>
              </p:cNvPr>
              <p:cNvSpPr/>
              <p:nvPr/>
            </p:nvSpPr>
            <p:spPr>
              <a:xfrm>
                <a:off x="5134662" y="2677212"/>
                <a:ext cx="1909976" cy="1909976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6" name="椭圆 15">
                <a:extLst>
                  <a:ext uri="{FF2B5EF4-FFF2-40B4-BE49-F238E27FC236}">
                    <a16:creationId xmlns:a16="http://schemas.microsoft.com/office/drawing/2014/main" id="{F6C1FCC8-9393-41B9-B046-2F8187F8DFA1}"/>
                  </a:ext>
                </a:extLst>
              </p:cNvPr>
              <p:cNvSpPr/>
              <p:nvPr/>
            </p:nvSpPr>
            <p:spPr>
              <a:xfrm>
                <a:off x="4529122" y="2071672"/>
                <a:ext cx="3121056" cy="3121056"/>
              </a:xfrm>
              <a:prstGeom prst="ellipse">
                <a:avLst/>
              </a:prstGeom>
              <a:noFill/>
              <a:ln w="76200">
                <a:solidFill>
                  <a:schemeClr val="bg1">
                    <a:lumMod val="95000"/>
                  </a:schemeClr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7" name="箭头: 右 16">
                <a:extLst>
                  <a:ext uri="{FF2B5EF4-FFF2-40B4-BE49-F238E27FC236}">
                    <a16:creationId xmlns:a16="http://schemas.microsoft.com/office/drawing/2014/main" id="{5C4EC19B-84B7-4D39-8724-00F04733AE24}"/>
                  </a:ext>
                </a:extLst>
              </p:cNvPr>
              <p:cNvSpPr/>
              <p:nvPr/>
            </p:nvSpPr>
            <p:spPr>
              <a:xfrm rot="13500000">
                <a:off x="5271079" y="2741615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箭头: 右 17">
                <a:extLst>
                  <a:ext uri="{FF2B5EF4-FFF2-40B4-BE49-F238E27FC236}">
                    <a16:creationId xmlns:a16="http://schemas.microsoft.com/office/drawing/2014/main" id="{341720F7-9419-41B7-BF78-FCE98E4F67BB}"/>
                  </a:ext>
                </a:extLst>
              </p:cNvPr>
              <p:cNvSpPr/>
              <p:nvPr/>
            </p:nvSpPr>
            <p:spPr>
              <a:xfrm rot="8100000" flipH="1">
                <a:off x="6583765" y="2741615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9" name="箭头: 右 18">
                <a:extLst>
                  <a:ext uri="{FF2B5EF4-FFF2-40B4-BE49-F238E27FC236}">
                    <a16:creationId xmlns:a16="http://schemas.microsoft.com/office/drawing/2014/main" id="{399E1FB1-D7DE-4C15-9BC0-73A6A6C452EB}"/>
                  </a:ext>
                </a:extLst>
              </p:cNvPr>
              <p:cNvSpPr/>
              <p:nvPr/>
            </p:nvSpPr>
            <p:spPr>
              <a:xfrm rot="8100000" flipV="1">
                <a:off x="5271079" y="4258384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箭头: 右 19">
                <a:extLst>
                  <a:ext uri="{FF2B5EF4-FFF2-40B4-BE49-F238E27FC236}">
                    <a16:creationId xmlns:a16="http://schemas.microsoft.com/office/drawing/2014/main" id="{BB9E0AA0-BB76-4E59-A7F7-CF2234C4F6CF}"/>
                  </a:ext>
                </a:extLst>
              </p:cNvPr>
              <p:cNvSpPr/>
              <p:nvPr/>
            </p:nvSpPr>
            <p:spPr>
              <a:xfrm rot="13500000" flipH="1" flipV="1">
                <a:off x="6583765" y="4258384"/>
                <a:ext cx="324456" cy="264402"/>
              </a:xfrm>
              <a:prstGeom prst="rightArrow">
                <a:avLst/>
              </a:prstGeom>
              <a:solidFill>
                <a:schemeClr val="accent2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1" name="椭圆 20">
                <a:extLst>
                  <a:ext uri="{FF2B5EF4-FFF2-40B4-BE49-F238E27FC236}">
                    <a16:creationId xmlns:a16="http://schemas.microsoft.com/office/drawing/2014/main" id="{6A866302-169B-4457-9AB9-5431D74B8D6C}"/>
                  </a:ext>
                </a:extLst>
              </p:cNvPr>
              <p:cNvSpPr/>
              <p:nvPr/>
            </p:nvSpPr>
            <p:spPr>
              <a:xfrm>
                <a:off x="5401939" y="2944489"/>
                <a:ext cx="1375422" cy="1375422"/>
              </a:xfrm>
              <a:prstGeom prst="ellipse">
                <a:avLst/>
              </a:prstGeom>
              <a:solidFill>
                <a:schemeClr val="accent1"/>
              </a:solidFill>
              <a:ln w="3175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r>
                  <a:rPr lang="en-US" altLang="zh-CN" b="1">
                    <a:solidFill>
                      <a:schemeClr val="bg1"/>
                    </a:solidFill>
                    <a:cs typeface="+mn-ea"/>
                    <a:sym typeface="+mn-lt"/>
                  </a:rPr>
                  <a:t>Text</a:t>
                </a:r>
                <a:endParaRPr lang="zh-CN" altLang="en-US" b="1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22" name="组合 21">
                <a:extLst>
                  <a:ext uri="{FF2B5EF4-FFF2-40B4-BE49-F238E27FC236}">
                    <a16:creationId xmlns:a16="http://schemas.microsoft.com/office/drawing/2014/main" id="{D062D6AB-E171-456C-BCBC-37020E025E85}"/>
                  </a:ext>
                </a:extLst>
              </p:cNvPr>
              <p:cNvGrpSpPr/>
              <p:nvPr/>
            </p:nvGrpSpPr>
            <p:grpSpPr>
              <a:xfrm>
                <a:off x="4619574" y="2082560"/>
                <a:ext cx="670163" cy="670163"/>
                <a:chOff x="4263044" y="3074793"/>
                <a:chExt cx="670163" cy="670163"/>
              </a:xfrm>
            </p:grpSpPr>
            <p:sp>
              <p:nvSpPr>
                <p:cNvPr id="32" name="椭圆 31">
                  <a:extLst>
                    <a:ext uri="{FF2B5EF4-FFF2-40B4-BE49-F238E27FC236}">
                      <a16:creationId xmlns:a16="http://schemas.microsoft.com/office/drawing/2014/main" id="{A1634ABC-F6A5-435D-8598-B65B1B838CB0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任意多边形: 形状 32">
                  <a:extLst>
                    <a:ext uri="{FF2B5EF4-FFF2-40B4-BE49-F238E27FC236}">
                      <a16:creationId xmlns:a16="http://schemas.microsoft.com/office/drawing/2014/main" id="{0F664164-2355-4B36-AB5E-6E05796DAC96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3" name="组合 22">
                <a:extLst>
                  <a:ext uri="{FF2B5EF4-FFF2-40B4-BE49-F238E27FC236}">
                    <a16:creationId xmlns:a16="http://schemas.microsoft.com/office/drawing/2014/main" id="{F28D626C-2910-49A3-A9B8-09E1D8864C52}"/>
                  </a:ext>
                </a:extLst>
              </p:cNvPr>
              <p:cNvGrpSpPr/>
              <p:nvPr/>
            </p:nvGrpSpPr>
            <p:grpSpPr>
              <a:xfrm>
                <a:off x="6822624" y="2082560"/>
                <a:ext cx="670163" cy="670163"/>
                <a:chOff x="4263044" y="3074793"/>
                <a:chExt cx="670163" cy="670163"/>
              </a:xfrm>
            </p:grpSpPr>
            <p:sp>
              <p:nvSpPr>
                <p:cNvPr id="30" name="椭圆 29">
                  <a:extLst>
                    <a:ext uri="{FF2B5EF4-FFF2-40B4-BE49-F238E27FC236}">
                      <a16:creationId xmlns:a16="http://schemas.microsoft.com/office/drawing/2014/main" id="{DDC27EDD-7067-44A1-AF06-FAC882DFC078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任意多边形: 形状 30">
                  <a:extLst>
                    <a:ext uri="{FF2B5EF4-FFF2-40B4-BE49-F238E27FC236}">
                      <a16:creationId xmlns:a16="http://schemas.microsoft.com/office/drawing/2014/main" id="{067297EF-664B-4A02-8BE3-9419041D54F6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831E959A-82B7-425C-A991-DC868C09E1C1}"/>
                  </a:ext>
                </a:extLst>
              </p:cNvPr>
              <p:cNvGrpSpPr/>
              <p:nvPr/>
            </p:nvGrpSpPr>
            <p:grpSpPr>
              <a:xfrm>
                <a:off x="4619574" y="4484459"/>
                <a:ext cx="670163" cy="670163"/>
                <a:chOff x="4263044" y="3074793"/>
                <a:chExt cx="670163" cy="670163"/>
              </a:xfrm>
            </p:grpSpPr>
            <p:sp>
              <p:nvSpPr>
                <p:cNvPr id="28" name="椭圆 27">
                  <a:extLst>
                    <a:ext uri="{FF2B5EF4-FFF2-40B4-BE49-F238E27FC236}">
                      <a16:creationId xmlns:a16="http://schemas.microsoft.com/office/drawing/2014/main" id="{1108AF7A-44F7-4AB5-B09A-62F025770881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B6C823BA-B126-48DD-8DD0-C32FEFF91EE6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865DC59-C19B-48D3-9F31-86C7A4520E93}"/>
                  </a:ext>
                </a:extLst>
              </p:cNvPr>
              <p:cNvGrpSpPr/>
              <p:nvPr/>
            </p:nvGrpSpPr>
            <p:grpSpPr>
              <a:xfrm>
                <a:off x="6822624" y="4484459"/>
                <a:ext cx="670163" cy="670163"/>
                <a:chOff x="4263044" y="3074793"/>
                <a:chExt cx="670163" cy="670163"/>
              </a:xfrm>
            </p:grpSpPr>
            <p:sp>
              <p:nvSpPr>
                <p:cNvPr id="26" name="椭圆 25">
                  <a:extLst>
                    <a:ext uri="{FF2B5EF4-FFF2-40B4-BE49-F238E27FC236}">
                      <a16:creationId xmlns:a16="http://schemas.microsoft.com/office/drawing/2014/main" id="{1B752194-1189-4E90-A315-511FCB5F6872}"/>
                    </a:ext>
                  </a:extLst>
                </p:cNvPr>
                <p:cNvSpPr/>
                <p:nvPr/>
              </p:nvSpPr>
              <p:spPr>
                <a:xfrm>
                  <a:off x="4263044" y="3074793"/>
                  <a:ext cx="670163" cy="670163"/>
                </a:xfrm>
                <a:prstGeom prst="ellipse">
                  <a:avLst/>
                </a:prstGeom>
                <a:solidFill>
                  <a:schemeClr val="bg1"/>
                </a:solidFill>
                <a:ln w="28575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/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任意多边形: 形状 26">
                  <a:extLst>
                    <a:ext uri="{FF2B5EF4-FFF2-40B4-BE49-F238E27FC236}">
                      <a16:creationId xmlns:a16="http://schemas.microsoft.com/office/drawing/2014/main" id="{C901AD21-D859-4B71-A380-98456C2403D2}"/>
                    </a:ext>
                  </a:extLst>
                </p:cNvPr>
                <p:cNvSpPr/>
                <p:nvPr/>
              </p:nvSpPr>
              <p:spPr bwMode="auto">
                <a:xfrm>
                  <a:off x="4437531" y="3262541"/>
                  <a:ext cx="321188" cy="294667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850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3DD709B6-6C25-495C-9F89-C778B1EFDFAA}"/>
                </a:ext>
              </a:extLst>
            </p:cNvPr>
            <p:cNvSpPr txBox="1"/>
            <p:nvPr/>
          </p:nvSpPr>
          <p:spPr>
            <a:xfrm>
              <a:off x="2085162" y="1609155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9B084BE-89B5-4A46-B6D3-6D741AFEED34}"/>
                </a:ext>
              </a:extLst>
            </p:cNvPr>
            <p:cNvSpPr/>
            <p:nvPr/>
          </p:nvSpPr>
          <p:spPr bwMode="auto">
            <a:xfrm>
              <a:off x="2085162" y="2063354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7EB38920-414D-409C-9658-C86222FE5CE0}"/>
                </a:ext>
              </a:extLst>
            </p:cNvPr>
            <p:cNvSpPr txBox="1"/>
            <p:nvPr/>
          </p:nvSpPr>
          <p:spPr>
            <a:xfrm>
              <a:off x="2085162" y="4301057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87FF5F2-A872-4012-920F-B217C8AFA3C8}"/>
                </a:ext>
              </a:extLst>
            </p:cNvPr>
            <p:cNvSpPr/>
            <p:nvPr/>
          </p:nvSpPr>
          <p:spPr bwMode="auto">
            <a:xfrm>
              <a:off x="2085162" y="4755256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24BD59E0-4262-4D5E-A9A7-9E2FE8BDADEB}"/>
                </a:ext>
              </a:extLst>
            </p:cNvPr>
            <p:cNvSpPr txBox="1"/>
            <p:nvPr/>
          </p:nvSpPr>
          <p:spPr>
            <a:xfrm>
              <a:off x="7783961" y="1609155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ACD18FC6-20CB-4EC3-9694-32E2011029CF}"/>
                </a:ext>
              </a:extLst>
            </p:cNvPr>
            <p:cNvSpPr/>
            <p:nvPr/>
          </p:nvSpPr>
          <p:spPr bwMode="auto">
            <a:xfrm>
              <a:off x="7783961" y="2063354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8970A101-AF78-492B-AE17-28A3F17EF812}"/>
                </a:ext>
              </a:extLst>
            </p:cNvPr>
            <p:cNvSpPr txBox="1"/>
            <p:nvPr/>
          </p:nvSpPr>
          <p:spPr>
            <a:xfrm>
              <a:off x="7783961" y="4301057"/>
              <a:ext cx="2412370" cy="454199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5C95E60A-95B9-43F4-9B1F-14E3D6B59D94}"/>
                </a:ext>
              </a:extLst>
            </p:cNvPr>
            <p:cNvSpPr/>
            <p:nvPr/>
          </p:nvSpPr>
          <p:spPr bwMode="auto">
            <a:xfrm>
              <a:off x="7783961" y="4755256"/>
              <a:ext cx="2412370" cy="6893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9621155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8B3AB055-0FC3-4660-9F4E-6B622AACBD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22A02876-A8D3-4D1E-8D21-3574E9C58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4AC97CAE-3C7A-41F0-8176-2B6DBE499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81740874-C46D-47AA-BEA2-2F63330ABB23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822634"/>
            <a:ext cx="9827746" cy="3631832"/>
            <a:chOff x="669925" y="1822634"/>
            <a:chExt cx="9827746" cy="363183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2E2C3B6F-F793-40F0-8590-4AAFE29C4617}"/>
                </a:ext>
              </a:extLst>
            </p:cNvPr>
            <p:cNvSpPr/>
            <p:nvPr/>
          </p:nvSpPr>
          <p:spPr bwMode="auto">
            <a:xfrm>
              <a:off x="3911396" y="2529682"/>
              <a:ext cx="2538413" cy="2217737"/>
            </a:xfrm>
            <a:custGeom>
              <a:avLst/>
              <a:gdLst>
                <a:gd name="T0" fmla="*/ 4140 w 26630"/>
                <a:gd name="T1" fmla="*/ 4140 h 23273"/>
                <a:gd name="T2" fmla="*/ 19133 w 26630"/>
                <a:gd name="T3" fmla="*/ 4140 h 23273"/>
                <a:gd name="T4" fmla="*/ 26630 w 26630"/>
                <a:gd name="T5" fmla="*/ 11637 h 23273"/>
                <a:gd name="T6" fmla="*/ 19133 w 26630"/>
                <a:gd name="T7" fmla="*/ 19133 h 23273"/>
                <a:gd name="T8" fmla="*/ 4140 w 26630"/>
                <a:gd name="T9" fmla="*/ 19133 h 23273"/>
                <a:gd name="T10" fmla="*/ 4140 w 26630"/>
                <a:gd name="T11" fmla="*/ 4140 h 23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630" h="23273">
                  <a:moveTo>
                    <a:pt x="4140" y="4140"/>
                  </a:moveTo>
                  <a:cubicBezTo>
                    <a:pt x="8281" y="0"/>
                    <a:pt x="14993" y="0"/>
                    <a:pt x="19133" y="4140"/>
                  </a:cubicBezTo>
                  <a:cubicBezTo>
                    <a:pt x="21632" y="6639"/>
                    <a:pt x="24131" y="9138"/>
                    <a:pt x="26630" y="11637"/>
                  </a:cubicBezTo>
                  <a:cubicBezTo>
                    <a:pt x="24131" y="14135"/>
                    <a:pt x="21632" y="16634"/>
                    <a:pt x="19133" y="19133"/>
                  </a:cubicBezTo>
                  <a:cubicBezTo>
                    <a:pt x="14993" y="23273"/>
                    <a:pt x="8281" y="23273"/>
                    <a:pt x="4140" y="19133"/>
                  </a:cubicBezTo>
                  <a:cubicBezTo>
                    <a:pt x="0" y="14993"/>
                    <a:pt x="0" y="8280"/>
                    <a:pt x="4140" y="4140"/>
                  </a:cubicBezTo>
                </a:path>
              </a:pathLst>
            </a:custGeom>
            <a:solidFill>
              <a:schemeClr val="accent1"/>
            </a:solidFill>
            <a:ln w="762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altLang="zh-CN" sz="2400" dirty="0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zh-CN" altLang="en-US" sz="2400" dirty="0">
                <a:solidFill>
                  <a:schemeClr val="lt1"/>
                </a:solidFill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0F61CFB-0A64-4EE8-B495-1C07C5CAB906}"/>
                </a:ext>
              </a:extLst>
            </p:cNvPr>
            <p:cNvGrpSpPr/>
            <p:nvPr/>
          </p:nvGrpSpPr>
          <p:grpSpPr>
            <a:xfrm>
              <a:off x="5783698" y="1838433"/>
              <a:ext cx="1416858" cy="1416858"/>
              <a:chOff x="5783698" y="1838433"/>
              <a:chExt cx="1416858" cy="1416858"/>
            </a:xfrm>
          </p:grpSpPr>
          <p:sp>
            <p:nvSpPr>
              <p:cNvPr id="26" name="泪滴形 25">
                <a:extLst>
                  <a:ext uri="{FF2B5EF4-FFF2-40B4-BE49-F238E27FC236}">
                    <a16:creationId xmlns:a16="http://schemas.microsoft.com/office/drawing/2014/main" id="{79247EDF-35B6-4EFA-9F22-7A167F07AC0D}"/>
                  </a:ext>
                </a:extLst>
              </p:cNvPr>
              <p:cNvSpPr/>
              <p:nvPr/>
            </p:nvSpPr>
            <p:spPr>
              <a:xfrm rot="13500000" flipH="1">
                <a:off x="5783698" y="1838433"/>
                <a:ext cx="1416858" cy="1416858"/>
              </a:xfrm>
              <a:prstGeom prst="teardrop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BA5342E0-B1A1-416D-AFD0-A3CD049ED2C7}"/>
                  </a:ext>
                </a:extLst>
              </p:cNvPr>
              <p:cNvSpPr/>
              <p:nvPr/>
            </p:nvSpPr>
            <p:spPr>
              <a:xfrm>
                <a:off x="6268009" y="2343503"/>
                <a:ext cx="448236" cy="406717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23EBBAF9-7DE9-43B2-B8F6-72C9EFFA7C3B}"/>
                </a:ext>
              </a:extLst>
            </p:cNvPr>
            <p:cNvGrpSpPr/>
            <p:nvPr/>
          </p:nvGrpSpPr>
          <p:grpSpPr>
            <a:xfrm>
              <a:off x="6863746" y="2930121"/>
              <a:ext cx="1416858" cy="1416858"/>
              <a:chOff x="6863746" y="2930121"/>
              <a:chExt cx="1416858" cy="1416858"/>
            </a:xfrm>
          </p:grpSpPr>
          <p:sp>
            <p:nvSpPr>
              <p:cNvPr id="24" name="泪滴形 23">
                <a:extLst>
                  <a:ext uri="{FF2B5EF4-FFF2-40B4-BE49-F238E27FC236}">
                    <a16:creationId xmlns:a16="http://schemas.microsoft.com/office/drawing/2014/main" id="{A869661F-95E3-4A09-9166-114698DC0220}"/>
                  </a:ext>
                </a:extLst>
              </p:cNvPr>
              <p:cNvSpPr/>
              <p:nvPr/>
            </p:nvSpPr>
            <p:spPr>
              <a:xfrm rot="18900000" flipH="1">
                <a:off x="6863746" y="2930121"/>
                <a:ext cx="1416858" cy="1416858"/>
              </a:xfrm>
              <a:prstGeom prst="teardrop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458119A0-AC73-4359-8BCA-6FD48FE4F59A}"/>
                  </a:ext>
                </a:extLst>
              </p:cNvPr>
              <p:cNvSpPr/>
              <p:nvPr/>
            </p:nvSpPr>
            <p:spPr>
              <a:xfrm>
                <a:off x="7348057" y="3435191"/>
                <a:ext cx="448236" cy="406717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B681D6A8-3D24-4A2B-8BA3-92A19699CD9B}"/>
                </a:ext>
              </a:extLst>
            </p:cNvPr>
            <p:cNvGrpSpPr/>
            <p:nvPr/>
          </p:nvGrpSpPr>
          <p:grpSpPr>
            <a:xfrm>
              <a:off x="5783698" y="4021809"/>
              <a:ext cx="1416858" cy="1416858"/>
              <a:chOff x="5783698" y="4021809"/>
              <a:chExt cx="1416858" cy="1416858"/>
            </a:xfrm>
          </p:grpSpPr>
          <p:sp>
            <p:nvSpPr>
              <p:cNvPr id="22" name="泪滴形 21">
                <a:extLst>
                  <a:ext uri="{FF2B5EF4-FFF2-40B4-BE49-F238E27FC236}">
                    <a16:creationId xmlns:a16="http://schemas.microsoft.com/office/drawing/2014/main" id="{F80776D0-AC2C-40E0-844E-9F9F6BAB9BA2}"/>
                  </a:ext>
                </a:extLst>
              </p:cNvPr>
              <p:cNvSpPr/>
              <p:nvPr/>
            </p:nvSpPr>
            <p:spPr>
              <a:xfrm rot="8100000" flipH="1" flipV="1">
                <a:off x="5783698" y="4021809"/>
                <a:ext cx="1416858" cy="1416858"/>
              </a:xfrm>
              <a:prstGeom prst="teardrop">
                <a:avLst/>
              </a:prstGeom>
              <a:solidFill>
                <a:schemeClr val="bg1"/>
              </a:solidFill>
              <a:ln w="57150">
                <a:solidFill>
                  <a:schemeClr val="bg1">
                    <a:lumMod val="95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BBEF67D8-55EF-4726-8965-36989AE7E137}"/>
                  </a:ext>
                </a:extLst>
              </p:cNvPr>
              <p:cNvSpPr/>
              <p:nvPr/>
            </p:nvSpPr>
            <p:spPr>
              <a:xfrm>
                <a:off x="6268009" y="4526879"/>
                <a:ext cx="448236" cy="406717"/>
              </a:xfrm>
              <a:custGeom>
                <a:avLst/>
                <a:gdLst>
                  <a:gd name="connsiteX0" fmla="*/ 116112 w 607919"/>
                  <a:gd name="connsiteY0" fmla="*/ 473652 h 551610"/>
                  <a:gd name="connsiteX1" fmla="*/ 118901 w 607919"/>
                  <a:gd name="connsiteY1" fmla="*/ 480423 h 551610"/>
                  <a:gd name="connsiteX2" fmla="*/ 118901 w 607919"/>
                  <a:gd name="connsiteY2" fmla="*/ 551610 h 551610"/>
                  <a:gd name="connsiteX3" fmla="*/ 55604 w 607919"/>
                  <a:gd name="connsiteY3" fmla="*/ 551610 h 551610"/>
                  <a:gd name="connsiteX4" fmla="*/ 55604 w 607919"/>
                  <a:gd name="connsiteY4" fmla="*/ 540851 h 551610"/>
                  <a:gd name="connsiteX5" fmla="*/ 65255 w 607919"/>
                  <a:gd name="connsiteY5" fmla="*/ 520583 h 551610"/>
                  <a:gd name="connsiteX6" fmla="*/ 83555 w 607919"/>
                  <a:gd name="connsiteY6" fmla="*/ 502317 h 551610"/>
                  <a:gd name="connsiteX7" fmla="*/ 109375 w 607919"/>
                  <a:gd name="connsiteY7" fmla="*/ 476545 h 551610"/>
                  <a:gd name="connsiteX8" fmla="*/ 116112 w 607919"/>
                  <a:gd name="connsiteY8" fmla="*/ 473652 h 551610"/>
                  <a:gd name="connsiteX9" fmla="*/ 199155 w 607919"/>
                  <a:gd name="connsiteY9" fmla="*/ 390799 h 551610"/>
                  <a:gd name="connsiteX10" fmla="*/ 201956 w 607919"/>
                  <a:gd name="connsiteY10" fmla="*/ 397632 h 551610"/>
                  <a:gd name="connsiteX11" fmla="*/ 201956 w 607919"/>
                  <a:gd name="connsiteY11" fmla="*/ 551610 h 551610"/>
                  <a:gd name="connsiteX12" fmla="*/ 145363 w 607919"/>
                  <a:gd name="connsiteY12" fmla="*/ 551610 h 551610"/>
                  <a:gd name="connsiteX13" fmla="*/ 145363 w 607919"/>
                  <a:gd name="connsiteY13" fmla="*/ 454170 h 551610"/>
                  <a:gd name="connsiteX14" fmla="*/ 154879 w 607919"/>
                  <a:gd name="connsiteY14" fmla="*/ 431030 h 551610"/>
                  <a:gd name="connsiteX15" fmla="*/ 192315 w 607919"/>
                  <a:gd name="connsiteY15" fmla="*/ 393630 h 551610"/>
                  <a:gd name="connsiteX16" fmla="*/ 199155 w 607919"/>
                  <a:gd name="connsiteY16" fmla="*/ 390799 h 551610"/>
                  <a:gd name="connsiteX17" fmla="*/ 231082 w 607919"/>
                  <a:gd name="connsiteY17" fmla="*/ 388245 h 551610"/>
                  <a:gd name="connsiteX18" fmla="*/ 237930 w 607919"/>
                  <a:gd name="connsiteY18" fmla="*/ 391091 h 551610"/>
                  <a:gd name="connsiteX19" fmla="*/ 266763 w 607919"/>
                  <a:gd name="connsiteY19" fmla="*/ 419867 h 551610"/>
                  <a:gd name="connsiteX20" fmla="*/ 275915 w 607919"/>
                  <a:gd name="connsiteY20" fmla="*/ 428875 h 551610"/>
                  <a:gd name="connsiteX21" fmla="*/ 284941 w 607919"/>
                  <a:gd name="connsiteY21" fmla="*/ 451520 h 551610"/>
                  <a:gd name="connsiteX22" fmla="*/ 284941 w 607919"/>
                  <a:gd name="connsiteY22" fmla="*/ 551610 h 551610"/>
                  <a:gd name="connsiteX23" fmla="*/ 228277 w 607919"/>
                  <a:gd name="connsiteY23" fmla="*/ 551610 h 551610"/>
                  <a:gd name="connsiteX24" fmla="*/ 228277 w 607919"/>
                  <a:gd name="connsiteY24" fmla="*/ 394969 h 551610"/>
                  <a:gd name="connsiteX25" fmla="*/ 231082 w 607919"/>
                  <a:gd name="connsiteY25" fmla="*/ 388245 h 551610"/>
                  <a:gd name="connsiteX26" fmla="*/ 365148 w 607919"/>
                  <a:gd name="connsiteY26" fmla="*/ 381336 h 551610"/>
                  <a:gd name="connsiteX27" fmla="*/ 367997 w 607919"/>
                  <a:gd name="connsiteY27" fmla="*/ 388122 h 551610"/>
                  <a:gd name="connsiteX28" fmla="*/ 367997 w 607919"/>
                  <a:gd name="connsiteY28" fmla="*/ 551610 h 551610"/>
                  <a:gd name="connsiteX29" fmla="*/ 311262 w 607919"/>
                  <a:gd name="connsiteY29" fmla="*/ 551610 h 551610"/>
                  <a:gd name="connsiteX30" fmla="*/ 311262 w 607919"/>
                  <a:gd name="connsiteY30" fmla="*/ 444661 h 551610"/>
                  <a:gd name="connsiteX31" fmla="*/ 316898 w 607919"/>
                  <a:gd name="connsiteY31" fmla="*/ 425523 h 551610"/>
                  <a:gd name="connsiteX32" fmla="*/ 322534 w 607919"/>
                  <a:gd name="connsiteY32" fmla="*/ 419894 h 551610"/>
                  <a:gd name="connsiteX33" fmla="*/ 358353 w 607919"/>
                  <a:gd name="connsiteY33" fmla="*/ 384120 h 551610"/>
                  <a:gd name="connsiteX34" fmla="*/ 365148 w 607919"/>
                  <a:gd name="connsiteY34" fmla="*/ 381336 h 551610"/>
                  <a:gd name="connsiteX35" fmla="*/ 448177 w 607919"/>
                  <a:gd name="connsiteY35" fmla="*/ 298352 h 551610"/>
                  <a:gd name="connsiteX36" fmla="*/ 450982 w 607919"/>
                  <a:gd name="connsiteY36" fmla="*/ 305139 h 551610"/>
                  <a:gd name="connsiteX37" fmla="*/ 450982 w 607919"/>
                  <a:gd name="connsiteY37" fmla="*/ 551610 h 551610"/>
                  <a:gd name="connsiteX38" fmla="*/ 394318 w 607919"/>
                  <a:gd name="connsiteY38" fmla="*/ 551610 h 551610"/>
                  <a:gd name="connsiteX39" fmla="*/ 394318 w 607919"/>
                  <a:gd name="connsiteY39" fmla="*/ 361815 h 551610"/>
                  <a:gd name="connsiteX40" fmla="*/ 403846 w 607919"/>
                  <a:gd name="connsiteY40" fmla="*/ 338669 h 551610"/>
                  <a:gd name="connsiteX41" fmla="*/ 441329 w 607919"/>
                  <a:gd name="connsiteY41" fmla="*/ 301136 h 551610"/>
                  <a:gd name="connsiteX42" fmla="*/ 448177 w 607919"/>
                  <a:gd name="connsiteY42" fmla="*/ 298352 h 551610"/>
                  <a:gd name="connsiteX43" fmla="*/ 527085 w 607919"/>
                  <a:gd name="connsiteY43" fmla="*/ 219452 h 551610"/>
                  <a:gd name="connsiteX44" fmla="*/ 529874 w 607919"/>
                  <a:gd name="connsiteY44" fmla="*/ 226177 h 551610"/>
                  <a:gd name="connsiteX45" fmla="*/ 529874 w 607919"/>
                  <a:gd name="connsiteY45" fmla="*/ 551610 h 551610"/>
                  <a:gd name="connsiteX46" fmla="*/ 477232 w 607919"/>
                  <a:gd name="connsiteY46" fmla="*/ 551610 h 551610"/>
                  <a:gd name="connsiteX47" fmla="*/ 477232 w 607919"/>
                  <a:gd name="connsiteY47" fmla="*/ 278727 h 551610"/>
                  <a:gd name="connsiteX48" fmla="*/ 486883 w 607919"/>
                  <a:gd name="connsiteY48" fmla="*/ 255580 h 551610"/>
                  <a:gd name="connsiteX49" fmla="*/ 520348 w 607919"/>
                  <a:gd name="connsiteY49" fmla="*/ 222298 h 551610"/>
                  <a:gd name="connsiteX50" fmla="*/ 527085 w 607919"/>
                  <a:gd name="connsiteY50" fmla="*/ 219452 h 551610"/>
                  <a:gd name="connsiteX51" fmla="*/ 387769 w 607919"/>
                  <a:gd name="connsiteY51" fmla="*/ 0 h 551610"/>
                  <a:gd name="connsiteX52" fmla="*/ 580729 w 607919"/>
                  <a:gd name="connsiteY52" fmla="*/ 0 h 551610"/>
                  <a:gd name="connsiteX53" fmla="*/ 607919 w 607919"/>
                  <a:gd name="connsiteY53" fmla="*/ 26022 h 551610"/>
                  <a:gd name="connsiteX54" fmla="*/ 607919 w 607919"/>
                  <a:gd name="connsiteY54" fmla="*/ 219812 h 551610"/>
                  <a:gd name="connsiteX55" fmla="*/ 598271 w 607919"/>
                  <a:gd name="connsiteY55" fmla="*/ 223815 h 551610"/>
                  <a:gd name="connsiteX56" fmla="*/ 530610 w 607919"/>
                  <a:gd name="connsiteY56" fmla="*/ 156258 h 551610"/>
                  <a:gd name="connsiteX57" fmla="*/ 304320 w 607919"/>
                  <a:gd name="connsiteY57" fmla="*/ 382325 h 551610"/>
                  <a:gd name="connsiteX58" fmla="*/ 285024 w 607919"/>
                  <a:gd name="connsiteY58" fmla="*/ 382325 h 551610"/>
                  <a:gd name="connsiteX59" fmla="*/ 216360 w 607919"/>
                  <a:gd name="connsiteY59" fmla="*/ 313767 h 551610"/>
                  <a:gd name="connsiteX60" fmla="*/ 94068 w 607919"/>
                  <a:gd name="connsiteY60" fmla="*/ 435996 h 551610"/>
                  <a:gd name="connsiteX61" fmla="*/ 17260 w 607919"/>
                  <a:gd name="connsiteY61" fmla="*/ 435996 h 551610"/>
                  <a:gd name="connsiteX62" fmla="*/ 15882 w 607919"/>
                  <a:gd name="connsiteY62" fmla="*/ 434745 h 551610"/>
                  <a:gd name="connsiteX63" fmla="*/ 15882 w 607919"/>
                  <a:gd name="connsiteY63" fmla="*/ 358055 h 551610"/>
                  <a:gd name="connsiteX64" fmla="*/ 206837 w 607919"/>
                  <a:gd name="connsiteY64" fmla="*/ 167267 h 551610"/>
                  <a:gd name="connsiteX65" fmla="*/ 226008 w 607919"/>
                  <a:gd name="connsiteY65" fmla="*/ 167267 h 551610"/>
                  <a:gd name="connsiteX66" fmla="*/ 294672 w 607919"/>
                  <a:gd name="connsiteY66" fmla="*/ 235701 h 551610"/>
                  <a:gd name="connsiteX67" fmla="*/ 424481 w 607919"/>
                  <a:gd name="connsiteY67" fmla="*/ 105965 h 551610"/>
                  <a:gd name="connsiteX68" fmla="*/ 452423 w 607919"/>
                  <a:gd name="connsiteY68" fmla="*/ 78192 h 551610"/>
                  <a:gd name="connsiteX69" fmla="*/ 383885 w 607919"/>
                  <a:gd name="connsiteY69" fmla="*/ 9633 h 551610"/>
                  <a:gd name="connsiteX70" fmla="*/ 387769 w 607919"/>
                  <a:gd name="connsiteY70" fmla="*/ 0 h 5516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</a:cxnLst>
                <a:rect l="l" t="t" r="r" b="b"/>
                <a:pathLst>
                  <a:path w="607919" h="551610">
                    <a:moveTo>
                      <a:pt x="116112" y="473652"/>
                    </a:moveTo>
                    <a:cubicBezTo>
                      <a:pt x="117836" y="474356"/>
                      <a:pt x="118901" y="476670"/>
                      <a:pt x="118901" y="480423"/>
                    </a:cubicBezTo>
                    <a:lnTo>
                      <a:pt x="118901" y="551610"/>
                    </a:lnTo>
                    <a:lnTo>
                      <a:pt x="55604" y="551610"/>
                    </a:lnTo>
                    <a:lnTo>
                      <a:pt x="55604" y="540851"/>
                    </a:lnTo>
                    <a:cubicBezTo>
                      <a:pt x="55604" y="534971"/>
                      <a:pt x="59991" y="525838"/>
                      <a:pt x="65255" y="520583"/>
                    </a:cubicBezTo>
                    <a:lnTo>
                      <a:pt x="83555" y="502317"/>
                    </a:lnTo>
                    <a:lnTo>
                      <a:pt x="109375" y="476545"/>
                    </a:lnTo>
                    <a:cubicBezTo>
                      <a:pt x="112007" y="473855"/>
                      <a:pt x="114389" y="472948"/>
                      <a:pt x="116112" y="473652"/>
                    </a:cubicBezTo>
                    <a:close/>
                    <a:moveTo>
                      <a:pt x="199155" y="390799"/>
                    </a:moveTo>
                    <a:cubicBezTo>
                      <a:pt x="200892" y="391534"/>
                      <a:pt x="201956" y="393880"/>
                      <a:pt x="201956" y="397632"/>
                    </a:cubicBezTo>
                    <a:lnTo>
                      <a:pt x="201956" y="551610"/>
                    </a:lnTo>
                    <a:lnTo>
                      <a:pt x="145363" y="551610"/>
                    </a:lnTo>
                    <a:lnTo>
                      <a:pt x="145363" y="454170"/>
                    </a:lnTo>
                    <a:cubicBezTo>
                      <a:pt x="145363" y="446665"/>
                      <a:pt x="149620" y="436283"/>
                      <a:pt x="154879" y="431030"/>
                    </a:cubicBezTo>
                    <a:lnTo>
                      <a:pt x="192315" y="393630"/>
                    </a:lnTo>
                    <a:cubicBezTo>
                      <a:pt x="195007" y="390941"/>
                      <a:pt x="197417" y="390065"/>
                      <a:pt x="199155" y="390799"/>
                    </a:cubicBezTo>
                    <a:close/>
                    <a:moveTo>
                      <a:pt x="231082" y="388245"/>
                    </a:moveTo>
                    <a:cubicBezTo>
                      <a:pt x="232822" y="387525"/>
                      <a:pt x="235235" y="388401"/>
                      <a:pt x="237930" y="391091"/>
                    </a:cubicBezTo>
                    <a:lnTo>
                      <a:pt x="266763" y="419867"/>
                    </a:lnTo>
                    <a:lnTo>
                      <a:pt x="275915" y="428875"/>
                    </a:lnTo>
                    <a:cubicBezTo>
                      <a:pt x="280929" y="433879"/>
                      <a:pt x="284941" y="444013"/>
                      <a:pt x="284941" y="451520"/>
                    </a:cubicBezTo>
                    <a:lnTo>
                      <a:pt x="284941" y="551610"/>
                    </a:lnTo>
                    <a:lnTo>
                      <a:pt x="228277" y="551610"/>
                    </a:lnTo>
                    <a:lnTo>
                      <a:pt x="228277" y="394969"/>
                    </a:lnTo>
                    <a:cubicBezTo>
                      <a:pt x="228277" y="391278"/>
                      <a:pt x="229343" y="388964"/>
                      <a:pt x="231082" y="388245"/>
                    </a:cubicBezTo>
                    <a:close/>
                    <a:moveTo>
                      <a:pt x="365148" y="381336"/>
                    </a:moveTo>
                    <a:cubicBezTo>
                      <a:pt x="366901" y="382055"/>
                      <a:pt x="367997" y="384370"/>
                      <a:pt x="367997" y="388122"/>
                    </a:cubicBezTo>
                    <a:lnTo>
                      <a:pt x="367997" y="551610"/>
                    </a:lnTo>
                    <a:lnTo>
                      <a:pt x="311262" y="551610"/>
                    </a:lnTo>
                    <a:lnTo>
                      <a:pt x="311262" y="444661"/>
                    </a:lnTo>
                    <a:cubicBezTo>
                      <a:pt x="311262" y="437156"/>
                      <a:pt x="313767" y="428650"/>
                      <a:pt x="316898" y="425523"/>
                    </a:cubicBezTo>
                    <a:cubicBezTo>
                      <a:pt x="320029" y="422396"/>
                      <a:pt x="322534" y="419894"/>
                      <a:pt x="322534" y="419894"/>
                    </a:cubicBezTo>
                    <a:lnTo>
                      <a:pt x="358353" y="384120"/>
                    </a:lnTo>
                    <a:cubicBezTo>
                      <a:pt x="360983" y="381493"/>
                      <a:pt x="363394" y="380617"/>
                      <a:pt x="365148" y="381336"/>
                    </a:cubicBezTo>
                    <a:close/>
                    <a:moveTo>
                      <a:pt x="448177" y="298352"/>
                    </a:moveTo>
                    <a:cubicBezTo>
                      <a:pt x="449916" y="299071"/>
                      <a:pt x="450982" y="301386"/>
                      <a:pt x="450982" y="305139"/>
                    </a:cubicBezTo>
                    <a:lnTo>
                      <a:pt x="450982" y="551610"/>
                    </a:lnTo>
                    <a:lnTo>
                      <a:pt x="394318" y="551610"/>
                    </a:lnTo>
                    <a:lnTo>
                      <a:pt x="394318" y="361815"/>
                    </a:lnTo>
                    <a:cubicBezTo>
                      <a:pt x="394318" y="354308"/>
                      <a:pt x="398580" y="343924"/>
                      <a:pt x="403846" y="338669"/>
                    </a:cubicBezTo>
                    <a:lnTo>
                      <a:pt x="441329" y="301136"/>
                    </a:lnTo>
                    <a:cubicBezTo>
                      <a:pt x="444024" y="298508"/>
                      <a:pt x="446438" y="297633"/>
                      <a:pt x="448177" y="298352"/>
                    </a:cubicBezTo>
                    <a:close/>
                    <a:moveTo>
                      <a:pt x="527085" y="219452"/>
                    </a:moveTo>
                    <a:cubicBezTo>
                      <a:pt x="528809" y="220171"/>
                      <a:pt x="529874" y="222486"/>
                      <a:pt x="529874" y="226177"/>
                    </a:cubicBezTo>
                    <a:lnTo>
                      <a:pt x="529874" y="551610"/>
                    </a:lnTo>
                    <a:lnTo>
                      <a:pt x="477232" y="551610"/>
                    </a:lnTo>
                    <a:lnTo>
                      <a:pt x="477232" y="278727"/>
                    </a:lnTo>
                    <a:cubicBezTo>
                      <a:pt x="477232" y="271345"/>
                      <a:pt x="481494" y="260960"/>
                      <a:pt x="486883" y="255580"/>
                    </a:cubicBezTo>
                    <a:lnTo>
                      <a:pt x="520348" y="222298"/>
                    </a:lnTo>
                    <a:cubicBezTo>
                      <a:pt x="522980" y="219608"/>
                      <a:pt x="525362" y="218732"/>
                      <a:pt x="527085" y="219452"/>
                    </a:cubicBezTo>
                    <a:close/>
                    <a:moveTo>
                      <a:pt x="387769" y="0"/>
                    </a:moveTo>
                    <a:lnTo>
                      <a:pt x="580729" y="0"/>
                    </a:lnTo>
                    <a:cubicBezTo>
                      <a:pt x="594512" y="0"/>
                      <a:pt x="607919" y="12135"/>
                      <a:pt x="607919" y="26022"/>
                    </a:cubicBezTo>
                    <a:lnTo>
                      <a:pt x="607919" y="219812"/>
                    </a:lnTo>
                    <a:cubicBezTo>
                      <a:pt x="607919" y="227318"/>
                      <a:pt x="603534" y="229070"/>
                      <a:pt x="598271" y="223815"/>
                    </a:cubicBezTo>
                    <a:lnTo>
                      <a:pt x="530610" y="156258"/>
                    </a:lnTo>
                    <a:lnTo>
                      <a:pt x="304320" y="382325"/>
                    </a:lnTo>
                    <a:cubicBezTo>
                      <a:pt x="298932" y="387580"/>
                      <a:pt x="290412" y="387580"/>
                      <a:pt x="285024" y="382325"/>
                    </a:cubicBezTo>
                    <a:lnTo>
                      <a:pt x="216360" y="313767"/>
                    </a:lnTo>
                    <a:lnTo>
                      <a:pt x="94068" y="435996"/>
                    </a:lnTo>
                    <a:cubicBezTo>
                      <a:pt x="72767" y="457264"/>
                      <a:pt x="38435" y="457264"/>
                      <a:pt x="17260" y="435996"/>
                    </a:cubicBezTo>
                    <a:lnTo>
                      <a:pt x="15882" y="434745"/>
                    </a:lnTo>
                    <a:cubicBezTo>
                      <a:pt x="-5294" y="413477"/>
                      <a:pt x="-5294" y="379198"/>
                      <a:pt x="15882" y="358055"/>
                    </a:cubicBezTo>
                    <a:lnTo>
                      <a:pt x="206837" y="167267"/>
                    </a:lnTo>
                    <a:cubicBezTo>
                      <a:pt x="212100" y="161888"/>
                      <a:pt x="220745" y="161888"/>
                      <a:pt x="226008" y="167267"/>
                    </a:cubicBezTo>
                    <a:lnTo>
                      <a:pt x="294672" y="235701"/>
                    </a:lnTo>
                    <a:lnTo>
                      <a:pt x="424481" y="105965"/>
                    </a:lnTo>
                    <a:lnTo>
                      <a:pt x="452423" y="78192"/>
                    </a:lnTo>
                    <a:lnTo>
                      <a:pt x="383885" y="9633"/>
                    </a:lnTo>
                    <a:cubicBezTo>
                      <a:pt x="378497" y="4379"/>
                      <a:pt x="380376" y="0"/>
                      <a:pt x="38776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695627F-E0D7-40E3-8868-6BA5C1733896}"/>
                </a:ext>
              </a:extLst>
            </p:cNvPr>
            <p:cNvGrpSpPr/>
            <p:nvPr/>
          </p:nvGrpSpPr>
          <p:grpSpPr>
            <a:xfrm>
              <a:off x="7493997" y="1822634"/>
              <a:ext cx="1862718" cy="878872"/>
              <a:chOff x="5875776" y="1130300"/>
              <a:chExt cx="1763279" cy="878872"/>
            </a:xfrm>
          </p:grpSpPr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5875776" y="1130300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5875776" y="1522414"/>
                <a:ext cx="1763279" cy="48675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4695627F-E0D7-40E3-8868-6BA5C1733896}"/>
                </a:ext>
              </a:extLst>
            </p:cNvPr>
            <p:cNvGrpSpPr/>
            <p:nvPr/>
          </p:nvGrpSpPr>
          <p:grpSpPr>
            <a:xfrm>
              <a:off x="8634953" y="3199114"/>
              <a:ext cx="1862718" cy="878872"/>
              <a:chOff x="5875776" y="1130300"/>
              <a:chExt cx="1763279" cy="878872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5875776" y="1130300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5875776" y="1522414"/>
                <a:ext cx="1763279" cy="48675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4695627F-E0D7-40E3-8868-6BA5C1733896}"/>
                </a:ext>
              </a:extLst>
            </p:cNvPr>
            <p:cNvGrpSpPr/>
            <p:nvPr/>
          </p:nvGrpSpPr>
          <p:grpSpPr>
            <a:xfrm>
              <a:off x="7493997" y="4575594"/>
              <a:ext cx="1862718" cy="878872"/>
              <a:chOff x="5875776" y="1130300"/>
              <a:chExt cx="1763279" cy="878872"/>
            </a:xfrm>
          </p:grpSpPr>
          <p:sp>
            <p:nvSpPr>
              <p:cNvPr id="16" name="矩形 15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5875776" y="1130300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5875776" y="1522414"/>
                <a:ext cx="1763279" cy="486758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E7C4FE2E-3578-40D6-87D7-2DD59264A2EF}"/>
                </a:ext>
              </a:extLst>
            </p:cNvPr>
            <p:cNvGrpSpPr/>
            <p:nvPr/>
          </p:nvGrpSpPr>
          <p:grpSpPr>
            <a:xfrm>
              <a:off x="669925" y="2946353"/>
              <a:ext cx="3062171" cy="1384395"/>
              <a:chOff x="2027621" y="2529682"/>
              <a:chExt cx="1763279" cy="1384395"/>
            </a:xfrm>
          </p:grpSpPr>
          <p:sp>
            <p:nvSpPr>
              <p:cNvPr id="14" name="矩形 13">
                <a:extLst>
                  <a:ext uri="{FF2B5EF4-FFF2-40B4-BE49-F238E27FC236}">
                    <a16:creationId xmlns:a16="http://schemas.microsoft.com/office/drawing/2014/main" id="{48DACE44-6E90-431C-9FE3-349D8C191F4E}"/>
                  </a:ext>
                </a:extLst>
              </p:cNvPr>
              <p:cNvSpPr/>
              <p:nvPr/>
            </p:nvSpPr>
            <p:spPr bwMode="auto">
              <a:xfrm>
                <a:off x="2027621" y="2529682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5" name="矩形 14">
                <a:extLst>
                  <a:ext uri="{FF2B5EF4-FFF2-40B4-BE49-F238E27FC236}">
                    <a16:creationId xmlns:a16="http://schemas.microsoft.com/office/drawing/2014/main" id="{EDE4F4AA-0234-437F-89DD-AB47FCBF4AB2}"/>
                  </a:ext>
                </a:extLst>
              </p:cNvPr>
              <p:cNvSpPr/>
              <p:nvPr/>
            </p:nvSpPr>
            <p:spPr>
              <a:xfrm>
                <a:off x="2027621" y="2921795"/>
                <a:ext cx="1763279" cy="99228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/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endParaRPr lang="en-US" altLang="zh-CN" sz="1000" dirty="0">
                  <a:solidFill>
                    <a:schemeClr val="tx1"/>
                  </a:solidFill>
                  <a:cs typeface="+mn-ea"/>
                  <a:sym typeface="+mn-lt"/>
                </a:endParaRPr>
              </a:p>
              <a:p>
                <a:pPr marL="171450" indent="-171450" algn="r">
                  <a:buFont typeface="Arial" panose="020B0604020202020204" pitchFamily="34" charset="0"/>
                  <a:buChar char="•"/>
                </a:pPr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6308693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3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059420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93A6ABF-3330-4490-82F9-9A8609394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269D657-32FA-4889-89AD-7A31CD758E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FDA8D10-1EDB-4112-BBCE-0A8A1E14A3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4E1D0C5-CB59-4D39-83DD-B546142E9E7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370619"/>
            <a:ext cx="10850563" cy="4336942"/>
            <a:chOff x="669925" y="1370615"/>
            <a:chExt cx="10850563" cy="433694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827CCA9E-A561-45CE-83C6-12270F4458F3}"/>
                </a:ext>
              </a:extLst>
            </p:cNvPr>
            <p:cNvGrpSpPr/>
            <p:nvPr/>
          </p:nvGrpSpPr>
          <p:grpSpPr>
            <a:xfrm>
              <a:off x="1683596" y="1370615"/>
              <a:ext cx="8824897" cy="4336942"/>
              <a:chOff x="3011299" y="414885"/>
              <a:chExt cx="5646553" cy="2774950"/>
            </a:xfrm>
            <a:solidFill>
              <a:srgbClr val="E4E6EA">
                <a:alpha val="40000"/>
              </a:srgbClr>
            </a:solidFill>
          </p:grpSpPr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9755E3BF-12C0-41E0-84C7-AB6B2BD62814}"/>
                  </a:ext>
                </a:extLst>
              </p:cNvPr>
              <p:cNvSpPr/>
              <p:nvPr/>
            </p:nvSpPr>
            <p:spPr bwMode="auto">
              <a:xfrm>
                <a:off x="6523059" y="505936"/>
                <a:ext cx="42023" cy="22413"/>
              </a:xfrm>
              <a:custGeom>
                <a:avLst/>
                <a:gdLst>
                  <a:gd name="T0" fmla="*/ 10 w 20"/>
                  <a:gd name="T1" fmla="*/ 0 h 11"/>
                  <a:gd name="T2" fmla="*/ 12 w 20"/>
                  <a:gd name="T3" fmla="*/ 2 h 11"/>
                  <a:gd name="T4" fmla="*/ 16 w 20"/>
                  <a:gd name="T5" fmla="*/ 9 h 11"/>
                  <a:gd name="T6" fmla="*/ 6 w 20"/>
                  <a:gd name="T7" fmla="*/ 6 h 11"/>
                  <a:gd name="T8" fmla="*/ 10 w 20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11">
                    <a:moveTo>
                      <a:pt x="10" y="0"/>
                    </a:moveTo>
                    <a:cubicBezTo>
                      <a:pt x="12" y="0"/>
                      <a:pt x="12" y="1"/>
                      <a:pt x="12" y="2"/>
                    </a:cubicBezTo>
                    <a:cubicBezTo>
                      <a:pt x="14" y="5"/>
                      <a:pt x="20" y="5"/>
                      <a:pt x="16" y="9"/>
                    </a:cubicBezTo>
                    <a:cubicBezTo>
                      <a:pt x="10" y="11"/>
                      <a:pt x="13" y="3"/>
                      <a:pt x="6" y="6"/>
                    </a:cubicBezTo>
                    <a:cubicBezTo>
                      <a:pt x="0" y="3"/>
                      <a:pt x="14" y="6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3698576E-79CF-4E49-989F-718978062A64}"/>
                  </a:ext>
                </a:extLst>
              </p:cNvPr>
              <p:cNvSpPr/>
              <p:nvPr/>
            </p:nvSpPr>
            <p:spPr bwMode="auto">
              <a:xfrm>
                <a:off x="7114188" y="505936"/>
                <a:ext cx="81245" cy="42023"/>
              </a:xfrm>
              <a:custGeom>
                <a:avLst/>
                <a:gdLst>
                  <a:gd name="T0" fmla="*/ 37 w 39"/>
                  <a:gd name="T1" fmla="*/ 15 h 20"/>
                  <a:gd name="T2" fmla="*/ 23 w 39"/>
                  <a:gd name="T3" fmla="*/ 19 h 20"/>
                  <a:gd name="T4" fmla="*/ 4 w 39"/>
                  <a:gd name="T5" fmla="*/ 19 h 20"/>
                  <a:gd name="T6" fmla="*/ 0 w 39"/>
                  <a:gd name="T7" fmla="*/ 15 h 20"/>
                  <a:gd name="T8" fmla="*/ 30 w 39"/>
                  <a:gd name="T9" fmla="*/ 0 h 20"/>
                  <a:gd name="T10" fmla="*/ 36 w 39"/>
                  <a:gd name="T11" fmla="*/ 4 h 20"/>
                  <a:gd name="T12" fmla="*/ 32 w 39"/>
                  <a:gd name="T13" fmla="*/ 6 h 20"/>
                  <a:gd name="T14" fmla="*/ 37 w 39"/>
                  <a:gd name="T15" fmla="*/ 15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9" h="20">
                    <a:moveTo>
                      <a:pt x="37" y="15"/>
                    </a:moveTo>
                    <a:cubicBezTo>
                      <a:pt x="32" y="16"/>
                      <a:pt x="23" y="13"/>
                      <a:pt x="23" y="19"/>
                    </a:cubicBezTo>
                    <a:cubicBezTo>
                      <a:pt x="19" y="16"/>
                      <a:pt x="12" y="20"/>
                      <a:pt x="4" y="19"/>
                    </a:cubicBezTo>
                    <a:cubicBezTo>
                      <a:pt x="5" y="16"/>
                      <a:pt x="2" y="15"/>
                      <a:pt x="0" y="15"/>
                    </a:cubicBezTo>
                    <a:cubicBezTo>
                      <a:pt x="4" y="4"/>
                      <a:pt x="15" y="0"/>
                      <a:pt x="30" y="0"/>
                    </a:cubicBezTo>
                    <a:cubicBezTo>
                      <a:pt x="28" y="5"/>
                      <a:pt x="34" y="2"/>
                      <a:pt x="36" y="4"/>
                    </a:cubicBezTo>
                    <a:cubicBezTo>
                      <a:pt x="37" y="5"/>
                      <a:pt x="32" y="5"/>
                      <a:pt x="32" y="6"/>
                    </a:cubicBezTo>
                    <a:cubicBezTo>
                      <a:pt x="31" y="8"/>
                      <a:pt x="39" y="7"/>
                      <a:pt x="37" y="1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E73EF612-DB0B-4F8C-A190-3BFA890C63FD}"/>
                  </a:ext>
                </a:extLst>
              </p:cNvPr>
              <p:cNvSpPr/>
              <p:nvPr/>
            </p:nvSpPr>
            <p:spPr bwMode="auto">
              <a:xfrm>
                <a:off x="6651931" y="510139"/>
                <a:ext cx="39222" cy="22413"/>
              </a:xfrm>
              <a:custGeom>
                <a:avLst/>
                <a:gdLst>
                  <a:gd name="T0" fmla="*/ 19 w 19"/>
                  <a:gd name="T1" fmla="*/ 2 h 11"/>
                  <a:gd name="T2" fmla="*/ 17 w 19"/>
                  <a:gd name="T3" fmla="*/ 9 h 11"/>
                  <a:gd name="T4" fmla="*/ 10 w 19"/>
                  <a:gd name="T5" fmla="*/ 11 h 11"/>
                  <a:gd name="T6" fmla="*/ 0 w 19"/>
                  <a:gd name="T7" fmla="*/ 6 h 11"/>
                  <a:gd name="T8" fmla="*/ 12 w 19"/>
                  <a:gd name="T9" fmla="*/ 6 h 11"/>
                  <a:gd name="T10" fmla="*/ 19 w 19"/>
                  <a:gd name="T11" fmla="*/ 2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1">
                    <a:moveTo>
                      <a:pt x="19" y="2"/>
                    </a:moveTo>
                    <a:cubicBezTo>
                      <a:pt x="18" y="3"/>
                      <a:pt x="17" y="6"/>
                      <a:pt x="17" y="9"/>
                    </a:cubicBezTo>
                    <a:cubicBezTo>
                      <a:pt x="13" y="8"/>
                      <a:pt x="12" y="11"/>
                      <a:pt x="10" y="11"/>
                    </a:cubicBezTo>
                    <a:cubicBezTo>
                      <a:pt x="6" y="9"/>
                      <a:pt x="0" y="11"/>
                      <a:pt x="0" y="6"/>
                    </a:cubicBezTo>
                    <a:cubicBezTo>
                      <a:pt x="6" y="6"/>
                      <a:pt x="8" y="1"/>
                      <a:pt x="12" y="6"/>
                    </a:cubicBezTo>
                    <a:cubicBezTo>
                      <a:pt x="14" y="5"/>
                      <a:pt x="13" y="0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66A940E0-84C6-42C5-9C20-40C506312FF9}"/>
                  </a:ext>
                </a:extLst>
              </p:cNvPr>
              <p:cNvSpPr/>
              <p:nvPr/>
            </p:nvSpPr>
            <p:spPr bwMode="auto">
              <a:xfrm>
                <a:off x="6402592" y="522746"/>
                <a:ext cx="50428" cy="26615"/>
              </a:xfrm>
              <a:custGeom>
                <a:avLst/>
                <a:gdLst>
                  <a:gd name="T0" fmla="*/ 23 w 24"/>
                  <a:gd name="T1" fmla="*/ 0 h 13"/>
                  <a:gd name="T2" fmla="*/ 20 w 24"/>
                  <a:gd name="T3" fmla="*/ 5 h 13"/>
                  <a:gd name="T4" fmla="*/ 14 w 24"/>
                  <a:gd name="T5" fmla="*/ 11 h 13"/>
                  <a:gd name="T6" fmla="*/ 10 w 24"/>
                  <a:gd name="T7" fmla="*/ 7 h 13"/>
                  <a:gd name="T8" fmla="*/ 5 w 24"/>
                  <a:gd name="T9" fmla="*/ 9 h 13"/>
                  <a:gd name="T10" fmla="*/ 1 w 24"/>
                  <a:gd name="T11" fmla="*/ 5 h 13"/>
                  <a:gd name="T12" fmla="*/ 10 w 24"/>
                  <a:gd name="T13" fmla="*/ 3 h 13"/>
                  <a:gd name="T14" fmla="*/ 10 w 24"/>
                  <a:gd name="T15" fmla="*/ 1 h 13"/>
                  <a:gd name="T16" fmla="*/ 23 w 24"/>
                  <a:gd name="T17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4" h="13">
                    <a:moveTo>
                      <a:pt x="23" y="0"/>
                    </a:moveTo>
                    <a:cubicBezTo>
                      <a:pt x="24" y="4"/>
                      <a:pt x="20" y="2"/>
                      <a:pt x="20" y="5"/>
                    </a:cubicBezTo>
                    <a:cubicBezTo>
                      <a:pt x="20" y="6"/>
                      <a:pt x="17" y="10"/>
                      <a:pt x="14" y="11"/>
                    </a:cubicBezTo>
                    <a:cubicBezTo>
                      <a:pt x="10" y="13"/>
                      <a:pt x="11" y="7"/>
                      <a:pt x="10" y="7"/>
                    </a:cubicBezTo>
                    <a:cubicBezTo>
                      <a:pt x="10" y="7"/>
                      <a:pt x="7" y="9"/>
                      <a:pt x="5" y="9"/>
                    </a:cubicBezTo>
                    <a:cubicBezTo>
                      <a:pt x="4" y="9"/>
                      <a:pt x="3" y="5"/>
                      <a:pt x="1" y="5"/>
                    </a:cubicBezTo>
                    <a:cubicBezTo>
                      <a:pt x="0" y="0"/>
                      <a:pt x="8" y="5"/>
                      <a:pt x="10" y="3"/>
                    </a:cubicBezTo>
                    <a:cubicBezTo>
                      <a:pt x="11" y="3"/>
                      <a:pt x="10" y="1"/>
                      <a:pt x="10" y="1"/>
                    </a:cubicBezTo>
                    <a:cubicBezTo>
                      <a:pt x="15" y="0"/>
                      <a:pt x="17" y="1"/>
                      <a:pt x="2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74B57E28-AC1F-42DB-ADE1-8D96047DC6F3}"/>
                  </a:ext>
                </a:extLst>
              </p:cNvPr>
              <p:cNvSpPr/>
              <p:nvPr/>
            </p:nvSpPr>
            <p:spPr bwMode="auto">
              <a:xfrm>
                <a:off x="6604304" y="518544"/>
                <a:ext cx="42023" cy="14008"/>
              </a:xfrm>
              <a:custGeom>
                <a:avLst/>
                <a:gdLst>
                  <a:gd name="T0" fmla="*/ 18 w 20"/>
                  <a:gd name="T1" fmla="*/ 7 h 7"/>
                  <a:gd name="T2" fmla="*/ 3 w 20"/>
                  <a:gd name="T3" fmla="*/ 7 h 7"/>
                  <a:gd name="T4" fmla="*/ 8 w 20"/>
                  <a:gd name="T5" fmla="*/ 2 h 7"/>
                  <a:gd name="T6" fmla="*/ 18 w 20"/>
                  <a:gd name="T7" fmla="*/ 7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0" h="7">
                    <a:moveTo>
                      <a:pt x="18" y="7"/>
                    </a:moveTo>
                    <a:cubicBezTo>
                      <a:pt x="13" y="7"/>
                      <a:pt x="8" y="7"/>
                      <a:pt x="3" y="7"/>
                    </a:cubicBezTo>
                    <a:cubicBezTo>
                      <a:pt x="0" y="1"/>
                      <a:pt x="9" y="6"/>
                      <a:pt x="8" y="2"/>
                    </a:cubicBezTo>
                    <a:cubicBezTo>
                      <a:pt x="10" y="5"/>
                      <a:pt x="20" y="0"/>
                      <a:pt x="1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51C433AA-0208-4584-AA0D-81BFF200F8F6}"/>
                  </a:ext>
                </a:extLst>
              </p:cNvPr>
              <p:cNvSpPr/>
              <p:nvPr/>
            </p:nvSpPr>
            <p:spPr bwMode="auto">
              <a:xfrm>
                <a:off x="6544071" y="536753"/>
                <a:ext cx="50428" cy="18211"/>
              </a:xfrm>
              <a:custGeom>
                <a:avLst/>
                <a:gdLst>
                  <a:gd name="T0" fmla="*/ 17 w 24"/>
                  <a:gd name="T1" fmla="*/ 0 h 9"/>
                  <a:gd name="T2" fmla="*/ 17 w 24"/>
                  <a:gd name="T3" fmla="*/ 7 h 9"/>
                  <a:gd name="T4" fmla="*/ 0 w 24"/>
                  <a:gd name="T5" fmla="*/ 6 h 9"/>
                  <a:gd name="T6" fmla="*/ 17 w 24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9">
                    <a:moveTo>
                      <a:pt x="17" y="0"/>
                    </a:moveTo>
                    <a:cubicBezTo>
                      <a:pt x="24" y="3"/>
                      <a:pt x="17" y="2"/>
                      <a:pt x="17" y="7"/>
                    </a:cubicBezTo>
                    <a:cubicBezTo>
                      <a:pt x="11" y="7"/>
                      <a:pt x="3" y="9"/>
                      <a:pt x="0" y="6"/>
                    </a:cubicBezTo>
                    <a:cubicBezTo>
                      <a:pt x="3" y="1"/>
                      <a:pt x="13" y="4"/>
                      <a:pt x="1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FD43B7B4-D851-4AD4-80D4-C5A09990A941}"/>
                  </a:ext>
                </a:extLst>
              </p:cNvPr>
              <p:cNvSpPr/>
              <p:nvPr/>
            </p:nvSpPr>
            <p:spPr bwMode="auto">
              <a:xfrm>
                <a:off x="4077293" y="552163"/>
                <a:ext cx="22413" cy="15409"/>
              </a:xfrm>
              <a:custGeom>
                <a:avLst/>
                <a:gdLst>
                  <a:gd name="T0" fmla="*/ 1 w 11"/>
                  <a:gd name="T1" fmla="*/ 0 h 8"/>
                  <a:gd name="T2" fmla="*/ 10 w 11"/>
                  <a:gd name="T3" fmla="*/ 8 h 8"/>
                  <a:gd name="T4" fmla="*/ 1 w 11"/>
                  <a:gd name="T5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1" h="8">
                    <a:moveTo>
                      <a:pt x="1" y="0"/>
                    </a:moveTo>
                    <a:cubicBezTo>
                      <a:pt x="6" y="1"/>
                      <a:pt x="11" y="1"/>
                      <a:pt x="10" y="8"/>
                    </a:cubicBezTo>
                    <a:cubicBezTo>
                      <a:pt x="7" y="5"/>
                      <a:pt x="0" y="6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8F48702C-01C7-45F5-8F42-A1C064E7E1A4}"/>
                  </a:ext>
                </a:extLst>
              </p:cNvPr>
              <p:cNvSpPr/>
              <p:nvPr/>
            </p:nvSpPr>
            <p:spPr bwMode="auto">
              <a:xfrm>
                <a:off x="7143606" y="549361"/>
                <a:ext cx="89650" cy="46226"/>
              </a:xfrm>
              <a:custGeom>
                <a:avLst/>
                <a:gdLst>
                  <a:gd name="T0" fmla="*/ 38 w 43"/>
                  <a:gd name="T1" fmla="*/ 5 h 22"/>
                  <a:gd name="T2" fmla="*/ 42 w 43"/>
                  <a:gd name="T3" fmla="*/ 15 h 22"/>
                  <a:gd name="T4" fmla="*/ 23 w 43"/>
                  <a:gd name="T5" fmla="*/ 20 h 22"/>
                  <a:gd name="T6" fmla="*/ 20 w 43"/>
                  <a:gd name="T7" fmla="*/ 18 h 22"/>
                  <a:gd name="T8" fmla="*/ 12 w 43"/>
                  <a:gd name="T9" fmla="*/ 18 h 22"/>
                  <a:gd name="T10" fmla="*/ 12 w 43"/>
                  <a:gd name="T11" fmla="*/ 15 h 22"/>
                  <a:gd name="T12" fmla="*/ 7 w 43"/>
                  <a:gd name="T13" fmla="*/ 16 h 22"/>
                  <a:gd name="T14" fmla="*/ 9 w 43"/>
                  <a:gd name="T15" fmla="*/ 13 h 22"/>
                  <a:gd name="T16" fmla="*/ 1 w 43"/>
                  <a:gd name="T17" fmla="*/ 11 h 22"/>
                  <a:gd name="T18" fmla="*/ 5 w 43"/>
                  <a:gd name="T19" fmla="*/ 7 h 22"/>
                  <a:gd name="T20" fmla="*/ 10 w 43"/>
                  <a:gd name="T21" fmla="*/ 3 h 22"/>
                  <a:gd name="T22" fmla="*/ 27 w 43"/>
                  <a:gd name="T23" fmla="*/ 1 h 22"/>
                  <a:gd name="T24" fmla="*/ 27 w 43"/>
                  <a:gd name="T25" fmla="*/ 5 h 22"/>
                  <a:gd name="T26" fmla="*/ 38 w 43"/>
                  <a:gd name="T27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3" h="22">
                    <a:moveTo>
                      <a:pt x="38" y="5"/>
                    </a:moveTo>
                    <a:cubicBezTo>
                      <a:pt x="37" y="11"/>
                      <a:pt x="31" y="15"/>
                      <a:pt x="42" y="15"/>
                    </a:cubicBezTo>
                    <a:cubicBezTo>
                      <a:pt x="43" y="22"/>
                      <a:pt x="31" y="21"/>
                      <a:pt x="23" y="20"/>
                    </a:cubicBezTo>
                    <a:cubicBezTo>
                      <a:pt x="20" y="20"/>
                      <a:pt x="21" y="20"/>
                      <a:pt x="20" y="18"/>
                    </a:cubicBezTo>
                    <a:cubicBezTo>
                      <a:pt x="16" y="15"/>
                      <a:pt x="17" y="21"/>
                      <a:pt x="12" y="18"/>
                    </a:cubicBezTo>
                    <a:cubicBezTo>
                      <a:pt x="12" y="18"/>
                      <a:pt x="13" y="15"/>
                      <a:pt x="12" y="15"/>
                    </a:cubicBezTo>
                    <a:cubicBezTo>
                      <a:pt x="11" y="14"/>
                      <a:pt x="9" y="17"/>
                      <a:pt x="7" y="16"/>
                    </a:cubicBezTo>
                    <a:cubicBezTo>
                      <a:pt x="6" y="16"/>
                      <a:pt x="9" y="13"/>
                      <a:pt x="9" y="13"/>
                    </a:cubicBezTo>
                    <a:cubicBezTo>
                      <a:pt x="7" y="11"/>
                      <a:pt x="0" y="15"/>
                      <a:pt x="1" y="11"/>
                    </a:cubicBezTo>
                    <a:cubicBezTo>
                      <a:pt x="0" y="7"/>
                      <a:pt x="3" y="8"/>
                      <a:pt x="5" y="7"/>
                    </a:cubicBezTo>
                    <a:cubicBezTo>
                      <a:pt x="7" y="5"/>
                      <a:pt x="6" y="4"/>
                      <a:pt x="10" y="3"/>
                    </a:cubicBezTo>
                    <a:cubicBezTo>
                      <a:pt x="12" y="3"/>
                      <a:pt x="20" y="0"/>
                      <a:pt x="27" y="1"/>
                    </a:cubicBezTo>
                    <a:cubicBezTo>
                      <a:pt x="27" y="2"/>
                      <a:pt x="27" y="5"/>
                      <a:pt x="27" y="5"/>
                    </a:cubicBezTo>
                    <a:cubicBezTo>
                      <a:pt x="30" y="7"/>
                      <a:pt x="37" y="3"/>
                      <a:pt x="38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17150AD9-EC8C-4863-9C32-F8BB5C236E16}"/>
                  </a:ext>
                </a:extLst>
              </p:cNvPr>
              <p:cNvSpPr/>
              <p:nvPr/>
            </p:nvSpPr>
            <p:spPr bwMode="auto">
              <a:xfrm>
                <a:off x="7105785" y="552163"/>
                <a:ext cx="35020" cy="22413"/>
              </a:xfrm>
              <a:custGeom>
                <a:avLst/>
                <a:gdLst>
                  <a:gd name="T0" fmla="*/ 17 w 17"/>
                  <a:gd name="T1" fmla="*/ 6 h 11"/>
                  <a:gd name="T2" fmla="*/ 12 w 17"/>
                  <a:gd name="T3" fmla="*/ 6 h 11"/>
                  <a:gd name="T4" fmla="*/ 10 w 17"/>
                  <a:gd name="T5" fmla="*/ 10 h 11"/>
                  <a:gd name="T6" fmla="*/ 0 w 17"/>
                  <a:gd name="T7" fmla="*/ 6 h 11"/>
                  <a:gd name="T8" fmla="*/ 17 w 17"/>
                  <a:gd name="T9" fmla="*/ 6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11">
                    <a:moveTo>
                      <a:pt x="17" y="6"/>
                    </a:moveTo>
                    <a:cubicBezTo>
                      <a:pt x="16" y="9"/>
                      <a:pt x="14" y="6"/>
                      <a:pt x="12" y="6"/>
                    </a:cubicBezTo>
                    <a:cubicBezTo>
                      <a:pt x="10" y="6"/>
                      <a:pt x="10" y="8"/>
                      <a:pt x="10" y="10"/>
                    </a:cubicBezTo>
                    <a:cubicBezTo>
                      <a:pt x="4" y="11"/>
                      <a:pt x="6" y="5"/>
                      <a:pt x="0" y="6"/>
                    </a:cubicBezTo>
                    <a:cubicBezTo>
                      <a:pt x="4" y="0"/>
                      <a:pt x="12" y="4"/>
                      <a:pt x="17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4F57599-D8EE-4948-9B8B-A16BD4BE477D}"/>
                  </a:ext>
                </a:extLst>
              </p:cNvPr>
              <p:cNvSpPr/>
              <p:nvPr/>
            </p:nvSpPr>
            <p:spPr bwMode="auto">
              <a:xfrm>
                <a:off x="3997449" y="578777"/>
                <a:ext cx="91051" cy="49028"/>
              </a:xfrm>
              <a:custGeom>
                <a:avLst/>
                <a:gdLst>
                  <a:gd name="T0" fmla="*/ 31 w 44"/>
                  <a:gd name="T1" fmla="*/ 6 h 24"/>
                  <a:gd name="T2" fmla="*/ 37 w 44"/>
                  <a:gd name="T3" fmla="*/ 14 h 24"/>
                  <a:gd name="T4" fmla="*/ 42 w 44"/>
                  <a:gd name="T5" fmla="*/ 23 h 24"/>
                  <a:gd name="T6" fmla="*/ 37 w 44"/>
                  <a:gd name="T7" fmla="*/ 23 h 24"/>
                  <a:gd name="T8" fmla="*/ 37 w 44"/>
                  <a:gd name="T9" fmla="*/ 19 h 24"/>
                  <a:gd name="T10" fmla="*/ 33 w 44"/>
                  <a:gd name="T11" fmla="*/ 17 h 24"/>
                  <a:gd name="T12" fmla="*/ 9 w 44"/>
                  <a:gd name="T13" fmla="*/ 15 h 24"/>
                  <a:gd name="T14" fmla="*/ 15 w 44"/>
                  <a:gd name="T15" fmla="*/ 12 h 24"/>
                  <a:gd name="T16" fmla="*/ 11 w 44"/>
                  <a:gd name="T17" fmla="*/ 8 h 24"/>
                  <a:gd name="T18" fmla="*/ 0 w 44"/>
                  <a:gd name="T19" fmla="*/ 2 h 24"/>
                  <a:gd name="T20" fmla="*/ 15 w 44"/>
                  <a:gd name="T21" fmla="*/ 2 h 24"/>
                  <a:gd name="T22" fmla="*/ 18 w 44"/>
                  <a:gd name="T23" fmla="*/ 6 h 24"/>
                  <a:gd name="T24" fmla="*/ 26 w 44"/>
                  <a:gd name="T25" fmla="*/ 6 h 24"/>
                  <a:gd name="T26" fmla="*/ 31 w 44"/>
                  <a:gd name="T27" fmla="*/ 6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44" h="24">
                    <a:moveTo>
                      <a:pt x="31" y="6"/>
                    </a:moveTo>
                    <a:cubicBezTo>
                      <a:pt x="34" y="8"/>
                      <a:pt x="35" y="11"/>
                      <a:pt x="37" y="14"/>
                    </a:cubicBezTo>
                    <a:cubicBezTo>
                      <a:pt x="39" y="16"/>
                      <a:pt x="44" y="18"/>
                      <a:pt x="42" y="23"/>
                    </a:cubicBezTo>
                    <a:cubicBezTo>
                      <a:pt x="41" y="22"/>
                      <a:pt x="38" y="24"/>
                      <a:pt x="37" y="23"/>
                    </a:cubicBezTo>
                    <a:cubicBezTo>
                      <a:pt x="36" y="22"/>
                      <a:pt x="37" y="20"/>
                      <a:pt x="37" y="19"/>
                    </a:cubicBezTo>
                    <a:cubicBezTo>
                      <a:pt x="36" y="19"/>
                      <a:pt x="32" y="23"/>
                      <a:pt x="33" y="17"/>
                    </a:cubicBezTo>
                    <a:cubicBezTo>
                      <a:pt x="22" y="17"/>
                      <a:pt x="15" y="17"/>
                      <a:pt x="9" y="15"/>
                    </a:cubicBezTo>
                    <a:cubicBezTo>
                      <a:pt x="8" y="11"/>
                      <a:pt x="12" y="12"/>
                      <a:pt x="15" y="12"/>
                    </a:cubicBezTo>
                    <a:cubicBezTo>
                      <a:pt x="14" y="10"/>
                      <a:pt x="11" y="10"/>
                      <a:pt x="11" y="8"/>
                    </a:cubicBezTo>
                    <a:cubicBezTo>
                      <a:pt x="4" y="6"/>
                      <a:pt x="1" y="11"/>
                      <a:pt x="0" y="2"/>
                    </a:cubicBezTo>
                    <a:cubicBezTo>
                      <a:pt x="4" y="0"/>
                      <a:pt x="10" y="1"/>
                      <a:pt x="15" y="2"/>
                    </a:cubicBezTo>
                    <a:cubicBezTo>
                      <a:pt x="17" y="3"/>
                      <a:pt x="18" y="3"/>
                      <a:pt x="18" y="6"/>
                    </a:cubicBezTo>
                    <a:cubicBezTo>
                      <a:pt x="20" y="8"/>
                      <a:pt x="26" y="0"/>
                      <a:pt x="26" y="6"/>
                    </a:cubicBezTo>
                    <a:cubicBezTo>
                      <a:pt x="26" y="8"/>
                      <a:pt x="32" y="9"/>
                      <a:pt x="31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C4FD13F0-5A3E-4CE9-AB9F-54DAB1878E36}"/>
                  </a:ext>
                </a:extLst>
              </p:cNvPr>
              <p:cNvSpPr/>
              <p:nvPr/>
            </p:nvSpPr>
            <p:spPr bwMode="auto">
              <a:xfrm>
                <a:off x="7237457" y="578777"/>
                <a:ext cx="88250" cy="44825"/>
              </a:xfrm>
              <a:custGeom>
                <a:avLst/>
                <a:gdLst>
                  <a:gd name="T0" fmla="*/ 18 w 43"/>
                  <a:gd name="T1" fmla="*/ 1 h 22"/>
                  <a:gd name="T2" fmla="*/ 25 w 43"/>
                  <a:gd name="T3" fmla="*/ 6 h 22"/>
                  <a:gd name="T4" fmla="*/ 27 w 43"/>
                  <a:gd name="T5" fmla="*/ 2 h 22"/>
                  <a:gd name="T6" fmla="*/ 31 w 43"/>
                  <a:gd name="T7" fmla="*/ 6 h 22"/>
                  <a:gd name="T8" fmla="*/ 34 w 43"/>
                  <a:gd name="T9" fmla="*/ 6 h 22"/>
                  <a:gd name="T10" fmla="*/ 34 w 43"/>
                  <a:gd name="T11" fmla="*/ 8 h 22"/>
                  <a:gd name="T12" fmla="*/ 42 w 43"/>
                  <a:gd name="T13" fmla="*/ 10 h 22"/>
                  <a:gd name="T14" fmla="*/ 29 w 43"/>
                  <a:gd name="T15" fmla="*/ 14 h 22"/>
                  <a:gd name="T16" fmla="*/ 27 w 43"/>
                  <a:gd name="T17" fmla="*/ 17 h 22"/>
                  <a:gd name="T18" fmla="*/ 10 w 43"/>
                  <a:gd name="T19" fmla="*/ 17 h 22"/>
                  <a:gd name="T20" fmla="*/ 8 w 43"/>
                  <a:gd name="T21" fmla="*/ 21 h 22"/>
                  <a:gd name="T22" fmla="*/ 1 w 43"/>
                  <a:gd name="T23" fmla="*/ 19 h 22"/>
                  <a:gd name="T24" fmla="*/ 1 w 43"/>
                  <a:gd name="T25" fmla="*/ 14 h 22"/>
                  <a:gd name="T26" fmla="*/ 5 w 43"/>
                  <a:gd name="T27" fmla="*/ 14 h 22"/>
                  <a:gd name="T28" fmla="*/ 6 w 43"/>
                  <a:gd name="T29" fmla="*/ 8 h 22"/>
                  <a:gd name="T30" fmla="*/ 10 w 43"/>
                  <a:gd name="T31" fmla="*/ 8 h 22"/>
                  <a:gd name="T32" fmla="*/ 18 w 43"/>
                  <a:gd name="T33" fmla="*/ 1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3" h="22">
                    <a:moveTo>
                      <a:pt x="18" y="1"/>
                    </a:moveTo>
                    <a:cubicBezTo>
                      <a:pt x="19" y="4"/>
                      <a:pt x="27" y="0"/>
                      <a:pt x="25" y="6"/>
                    </a:cubicBezTo>
                    <a:cubicBezTo>
                      <a:pt x="27" y="7"/>
                      <a:pt x="27" y="2"/>
                      <a:pt x="27" y="2"/>
                    </a:cubicBezTo>
                    <a:cubicBezTo>
                      <a:pt x="29" y="2"/>
                      <a:pt x="29" y="5"/>
                      <a:pt x="31" y="6"/>
                    </a:cubicBezTo>
                    <a:cubicBezTo>
                      <a:pt x="31" y="7"/>
                      <a:pt x="34" y="5"/>
                      <a:pt x="34" y="6"/>
                    </a:cubicBezTo>
                    <a:cubicBezTo>
                      <a:pt x="35" y="6"/>
                      <a:pt x="34" y="8"/>
                      <a:pt x="34" y="8"/>
                    </a:cubicBezTo>
                    <a:cubicBezTo>
                      <a:pt x="37" y="9"/>
                      <a:pt x="42" y="6"/>
                      <a:pt x="42" y="10"/>
                    </a:cubicBezTo>
                    <a:cubicBezTo>
                      <a:pt x="43" y="17"/>
                      <a:pt x="33" y="12"/>
                      <a:pt x="29" y="14"/>
                    </a:cubicBezTo>
                    <a:cubicBezTo>
                      <a:pt x="27" y="13"/>
                      <a:pt x="28" y="17"/>
                      <a:pt x="27" y="17"/>
                    </a:cubicBezTo>
                    <a:cubicBezTo>
                      <a:pt x="23" y="19"/>
                      <a:pt x="12" y="18"/>
                      <a:pt x="10" y="17"/>
                    </a:cubicBezTo>
                    <a:cubicBezTo>
                      <a:pt x="8" y="17"/>
                      <a:pt x="9" y="20"/>
                      <a:pt x="8" y="21"/>
                    </a:cubicBezTo>
                    <a:cubicBezTo>
                      <a:pt x="4" y="18"/>
                      <a:pt x="5" y="22"/>
                      <a:pt x="1" y="19"/>
                    </a:cubicBezTo>
                    <a:cubicBezTo>
                      <a:pt x="2" y="18"/>
                      <a:pt x="0" y="14"/>
                      <a:pt x="1" y="14"/>
                    </a:cubicBezTo>
                    <a:cubicBezTo>
                      <a:pt x="1" y="13"/>
                      <a:pt x="4" y="14"/>
                      <a:pt x="5" y="14"/>
                    </a:cubicBezTo>
                    <a:cubicBezTo>
                      <a:pt x="6" y="12"/>
                      <a:pt x="5" y="9"/>
                      <a:pt x="6" y="8"/>
                    </a:cubicBezTo>
                    <a:cubicBezTo>
                      <a:pt x="7" y="7"/>
                      <a:pt x="10" y="9"/>
                      <a:pt x="10" y="8"/>
                    </a:cubicBezTo>
                    <a:cubicBezTo>
                      <a:pt x="12" y="5"/>
                      <a:pt x="15" y="4"/>
                      <a:pt x="1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53942031-20A9-4C7F-9377-7F7F5EF4BD02}"/>
                  </a:ext>
                </a:extLst>
              </p:cNvPr>
              <p:cNvSpPr/>
              <p:nvPr/>
            </p:nvSpPr>
            <p:spPr bwMode="auto">
              <a:xfrm>
                <a:off x="3837760" y="612396"/>
                <a:ext cx="16809" cy="26615"/>
              </a:xfrm>
              <a:custGeom>
                <a:avLst/>
                <a:gdLst>
                  <a:gd name="T0" fmla="*/ 8 w 8"/>
                  <a:gd name="T1" fmla="*/ 7 h 13"/>
                  <a:gd name="T2" fmla="*/ 8 w 8"/>
                  <a:gd name="T3" fmla="*/ 7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</a:cxnLst>
                <a:rect l="0" t="0" r="r" b="b"/>
                <a:pathLst>
                  <a:path w="8" h="13">
                    <a:moveTo>
                      <a:pt x="8" y="7"/>
                    </a:moveTo>
                    <a:cubicBezTo>
                      <a:pt x="3" y="13"/>
                      <a:pt x="0" y="0"/>
                      <a:pt x="8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C8406E69-2C8E-48E7-AAB0-7A4BD1F718E3}"/>
                  </a:ext>
                </a:extLst>
              </p:cNvPr>
              <p:cNvSpPr/>
              <p:nvPr/>
            </p:nvSpPr>
            <p:spPr bwMode="auto">
              <a:xfrm>
                <a:off x="3872779" y="617999"/>
                <a:ext cx="50428" cy="29417"/>
              </a:xfrm>
              <a:custGeom>
                <a:avLst/>
                <a:gdLst>
                  <a:gd name="T0" fmla="*/ 22 w 24"/>
                  <a:gd name="T1" fmla="*/ 4 h 14"/>
                  <a:gd name="T2" fmla="*/ 6 w 24"/>
                  <a:gd name="T3" fmla="*/ 13 h 14"/>
                  <a:gd name="T4" fmla="*/ 0 w 24"/>
                  <a:gd name="T5" fmla="*/ 8 h 14"/>
                  <a:gd name="T6" fmla="*/ 11 w 24"/>
                  <a:gd name="T7" fmla="*/ 4 h 14"/>
                  <a:gd name="T8" fmla="*/ 22 w 24"/>
                  <a:gd name="T9" fmla="*/ 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4" h="14">
                    <a:moveTo>
                      <a:pt x="22" y="4"/>
                    </a:moveTo>
                    <a:cubicBezTo>
                      <a:pt x="24" y="14"/>
                      <a:pt x="10" y="9"/>
                      <a:pt x="6" y="13"/>
                    </a:cubicBezTo>
                    <a:cubicBezTo>
                      <a:pt x="2" y="13"/>
                      <a:pt x="4" y="7"/>
                      <a:pt x="0" y="8"/>
                    </a:cubicBezTo>
                    <a:cubicBezTo>
                      <a:pt x="1" y="2"/>
                      <a:pt x="11" y="9"/>
                      <a:pt x="11" y="4"/>
                    </a:cubicBezTo>
                    <a:cubicBezTo>
                      <a:pt x="11" y="0"/>
                      <a:pt x="16" y="6"/>
                      <a:pt x="22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8BCAA986-3CA1-490D-B096-3E9F8FA97212}"/>
                  </a:ext>
                </a:extLst>
              </p:cNvPr>
              <p:cNvSpPr/>
              <p:nvPr/>
            </p:nvSpPr>
            <p:spPr bwMode="auto">
              <a:xfrm>
                <a:off x="4148733" y="622202"/>
                <a:ext cx="44825" cy="22413"/>
              </a:xfrm>
              <a:custGeom>
                <a:avLst/>
                <a:gdLst>
                  <a:gd name="T0" fmla="*/ 18 w 21"/>
                  <a:gd name="T1" fmla="*/ 4 h 11"/>
                  <a:gd name="T2" fmla="*/ 18 w 21"/>
                  <a:gd name="T3" fmla="*/ 7 h 11"/>
                  <a:gd name="T4" fmla="*/ 12 w 21"/>
                  <a:gd name="T5" fmla="*/ 9 h 11"/>
                  <a:gd name="T6" fmla="*/ 10 w 21"/>
                  <a:gd name="T7" fmla="*/ 11 h 11"/>
                  <a:gd name="T8" fmla="*/ 5 w 21"/>
                  <a:gd name="T9" fmla="*/ 9 h 11"/>
                  <a:gd name="T10" fmla="*/ 3 w 21"/>
                  <a:gd name="T11" fmla="*/ 11 h 11"/>
                  <a:gd name="T12" fmla="*/ 1 w 21"/>
                  <a:gd name="T13" fmla="*/ 9 h 11"/>
                  <a:gd name="T14" fmla="*/ 18 w 21"/>
                  <a:gd name="T15" fmla="*/ 4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1" h="11">
                    <a:moveTo>
                      <a:pt x="18" y="4"/>
                    </a:moveTo>
                    <a:cubicBezTo>
                      <a:pt x="21" y="5"/>
                      <a:pt x="19" y="7"/>
                      <a:pt x="18" y="7"/>
                    </a:cubicBezTo>
                    <a:cubicBezTo>
                      <a:pt x="16" y="9"/>
                      <a:pt x="15" y="9"/>
                      <a:pt x="12" y="9"/>
                    </a:cubicBezTo>
                    <a:cubicBezTo>
                      <a:pt x="11" y="10"/>
                      <a:pt x="10" y="11"/>
                      <a:pt x="10" y="11"/>
                    </a:cubicBezTo>
                    <a:cubicBezTo>
                      <a:pt x="9" y="11"/>
                      <a:pt x="7" y="9"/>
                      <a:pt x="5" y="9"/>
                    </a:cubicBezTo>
                    <a:cubicBezTo>
                      <a:pt x="5" y="9"/>
                      <a:pt x="4" y="11"/>
                      <a:pt x="3" y="11"/>
                    </a:cubicBezTo>
                    <a:cubicBezTo>
                      <a:pt x="1" y="11"/>
                      <a:pt x="1" y="11"/>
                      <a:pt x="1" y="9"/>
                    </a:cubicBezTo>
                    <a:cubicBezTo>
                      <a:pt x="0" y="0"/>
                      <a:pt x="17" y="10"/>
                      <a:pt x="18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C5C33649-1ACF-4EB2-AEA0-7555F689E444}"/>
                  </a:ext>
                </a:extLst>
              </p:cNvPr>
              <p:cNvSpPr/>
              <p:nvPr/>
            </p:nvSpPr>
            <p:spPr bwMode="auto">
              <a:xfrm>
                <a:off x="3984841" y="634808"/>
                <a:ext cx="25214" cy="9806"/>
              </a:xfrm>
              <a:custGeom>
                <a:avLst/>
                <a:gdLst>
                  <a:gd name="T0" fmla="*/ 0 w 12"/>
                  <a:gd name="T1" fmla="*/ 3 h 5"/>
                  <a:gd name="T2" fmla="*/ 9 w 12"/>
                  <a:gd name="T3" fmla="*/ 5 h 5"/>
                  <a:gd name="T4" fmla="*/ 0 w 12"/>
                  <a:gd name="T5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5">
                    <a:moveTo>
                      <a:pt x="0" y="3"/>
                    </a:moveTo>
                    <a:cubicBezTo>
                      <a:pt x="0" y="0"/>
                      <a:pt x="12" y="0"/>
                      <a:pt x="9" y="5"/>
                    </a:cubicBezTo>
                    <a:cubicBezTo>
                      <a:pt x="5" y="3"/>
                      <a:pt x="6" y="5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8B365B27-5A74-4D1F-BA63-A6AC600A1532}"/>
                  </a:ext>
                </a:extLst>
              </p:cNvPr>
              <p:cNvSpPr/>
              <p:nvPr/>
            </p:nvSpPr>
            <p:spPr bwMode="auto">
              <a:xfrm>
                <a:off x="4228577" y="636209"/>
                <a:ext cx="12607" cy="12607"/>
              </a:xfrm>
              <a:custGeom>
                <a:avLst/>
                <a:gdLst>
                  <a:gd name="T0" fmla="*/ 0 w 6"/>
                  <a:gd name="T1" fmla="*/ 0 h 6"/>
                  <a:gd name="T2" fmla="*/ 6 w 6"/>
                  <a:gd name="T3" fmla="*/ 6 h 6"/>
                  <a:gd name="T4" fmla="*/ 0 w 6"/>
                  <a:gd name="T5" fmla="*/ 6 h 6"/>
                  <a:gd name="T6" fmla="*/ 0 w 6"/>
                  <a:gd name="T7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" h="6">
                    <a:moveTo>
                      <a:pt x="0" y="0"/>
                    </a:moveTo>
                    <a:cubicBezTo>
                      <a:pt x="4" y="0"/>
                      <a:pt x="6" y="2"/>
                      <a:pt x="6" y="6"/>
                    </a:cubicBezTo>
                    <a:cubicBezTo>
                      <a:pt x="4" y="6"/>
                      <a:pt x="2" y="6"/>
                      <a:pt x="0" y="6"/>
                    </a:cubicBezTo>
                    <a:cubicBezTo>
                      <a:pt x="0" y="4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C9BDC73E-750E-4FF2-ADFF-B61A47BA2EFF}"/>
                  </a:ext>
                </a:extLst>
              </p:cNvPr>
              <p:cNvSpPr/>
              <p:nvPr/>
            </p:nvSpPr>
            <p:spPr bwMode="auto">
              <a:xfrm>
                <a:off x="4124920" y="657221"/>
                <a:ext cx="274553" cy="84047"/>
              </a:xfrm>
              <a:custGeom>
                <a:avLst/>
                <a:gdLst>
                  <a:gd name="T0" fmla="*/ 132 w 132"/>
                  <a:gd name="T1" fmla="*/ 22 h 40"/>
                  <a:gd name="T2" fmla="*/ 132 w 132"/>
                  <a:gd name="T3" fmla="*/ 31 h 40"/>
                  <a:gd name="T4" fmla="*/ 127 w 132"/>
                  <a:gd name="T5" fmla="*/ 35 h 40"/>
                  <a:gd name="T6" fmla="*/ 104 w 132"/>
                  <a:gd name="T7" fmla="*/ 35 h 40"/>
                  <a:gd name="T8" fmla="*/ 97 w 132"/>
                  <a:gd name="T9" fmla="*/ 39 h 40"/>
                  <a:gd name="T10" fmla="*/ 91 w 132"/>
                  <a:gd name="T11" fmla="*/ 37 h 40"/>
                  <a:gd name="T12" fmla="*/ 90 w 132"/>
                  <a:gd name="T13" fmla="*/ 39 h 40"/>
                  <a:gd name="T14" fmla="*/ 82 w 132"/>
                  <a:gd name="T15" fmla="*/ 39 h 40"/>
                  <a:gd name="T16" fmla="*/ 82 w 132"/>
                  <a:gd name="T17" fmla="*/ 37 h 40"/>
                  <a:gd name="T18" fmla="*/ 78 w 132"/>
                  <a:gd name="T19" fmla="*/ 39 h 40"/>
                  <a:gd name="T20" fmla="*/ 71 w 132"/>
                  <a:gd name="T21" fmla="*/ 35 h 40"/>
                  <a:gd name="T22" fmla="*/ 43 w 132"/>
                  <a:gd name="T23" fmla="*/ 35 h 40"/>
                  <a:gd name="T24" fmla="*/ 45 w 132"/>
                  <a:gd name="T25" fmla="*/ 31 h 40"/>
                  <a:gd name="T26" fmla="*/ 41 w 132"/>
                  <a:gd name="T27" fmla="*/ 30 h 40"/>
                  <a:gd name="T28" fmla="*/ 37 w 132"/>
                  <a:gd name="T29" fmla="*/ 22 h 40"/>
                  <a:gd name="T30" fmla="*/ 41 w 132"/>
                  <a:gd name="T31" fmla="*/ 18 h 40"/>
                  <a:gd name="T32" fmla="*/ 37 w 132"/>
                  <a:gd name="T33" fmla="*/ 11 h 40"/>
                  <a:gd name="T34" fmla="*/ 21 w 132"/>
                  <a:gd name="T35" fmla="*/ 13 h 40"/>
                  <a:gd name="T36" fmla="*/ 17 w 132"/>
                  <a:gd name="T37" fmla="*/ 9 h 40"/>
                  <a:gd name="T38" fmla="*/ 13 w 132"/>
                  <a:gd name="T39" fmla="*/ 7 h 40"/>
                  <a:gd name="T40" fmla="*/ 6 w 132"/>
                  <a:gd name="T41" fmla="*/ 9 h 40"/>
                  <a:gd name="T42" fmla="*/ 2 w 132"/>
                  <a:gd name="T43" fmla="*/ 2 h 40"/>
                  <a:gd name="T44" fmla="*/ 22 w 132"/>
                  <a:gd name="T45" fmla="*/ 0 h 40"/>
                  <a:gd name="T46" fmla="*/ 26 w 132"/>
                  <a:gd name="T47" fmla="*/ 2 h 40"/>
                  <a:gd name="T48" fmla="*/ 26 w 132"/>
                  <a:gd name="T49" fmla="*/ 5 h 40"/>
                  <a:gd name="T50" fmla="*/ 32 w 132"/>
                  <a:gd name="T51" fmla="*/ 9 h 40"/>
                  <a:gd name="T52" fmla="*/ 49 w 132"/>
                  <a:gd name="T53" fmla="*/ 9 h 40"/>
                  <a:gd name="T54" fmla="*/ 49 w 132"/>
                  <a:gd name="T55" fmla="*/ 18 h 40"/>
                  <a:gd name="T56" fmla="*/ 62 w 132"/>
                  <a:gd name="T57" fmla="*/ 20 h 40"/>
                  <a:gd name="T58" fmla="*/ 62 w 132"/>
                  <a:gd name="T59" fmla="*/ 24 h 40"/>
                  <a:gd name="T60" fmla="*/ 65 w 132"/>
                  <a:gd name="T61" fmla="*/ 22 h 40"/>
                  <a:gd name="T62" fmla="*/ 88 w 132"/>
                  <a:gd name="T63" fmla="*/ 22 h 40"/>
                  <a:gd name="T64" fmla="*/ 91 w 132"/>
                  <a:gd name="T65" fmla="*/ 24 h 40"/>
                  <a:gd name="T66" fmla="*/ 97 w 132"/>
                  <a:gd name="T67" fmla="*/ 20 h 40"/>
                  <a:gd name="T68" fmla="*/ 103 w 132"/>
                  <a:gd name="T69" fmla="*/ 20 h 40"/>
                  <a:gd name="T70" fmla="*/ 132 w 132"/>
                  <a:gd name="T71" fmla="*/ 2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32" h="40">
                    <a:moveTo>
                      <a:pt x="132" y="22"/>
                    </a:moveTo>
                    <a:cubicBezTo>
                      <a:pt x="132" y="25"/>
                      <a:pt x="132" y="28"/>
                      <a:pt x="132" y="31"/>
                    </a:cubicBezTo>
                    <a:cubicBezTo>
                      <a:pt x="129" y="31"/>
                      <a:pt x="128" y="33"/>
                      <a:pt x="127" y="35"/>
                    </a:cubicBezTo>
                    <a:cubicBezTo>
                      <a:pt x="118" y="36"/>
                      <a:pt x="111" y="35"/>
                      <a:pt x="104" y="35"/>
                    </a:cubicBezTo>
                    <a:cubicBezTo>
                      <a:pt x="102" y="35"/>
                      <a:pt x="99" y="38"/>
                      <a:pt x="97" y="39"/>
                    </a:cubicBezTo>
                    <a:cubicBezTo>
                      <a:pt x="94" y="40"/>
                      <a:pt x="94" y="37"/>
                      <a:pt x="91" y="37"/>
                    </a:cubicBezTo>
                    <a:cubicBezTo>
                      <a:pt x="92" y="37"/>
                      <a:pt x="90" y="39"/>
                      <a:pt x="90" y="39"/>
                    </a:cubicBezTo>
                    <a:cubicBezTo>
                      <a:pt x="89" y="39"/>
                      <a:pt x="82" y="39"/>
                      <a:pt x="82" y="39"/>
                    </a:cubicBezTo>
                    <a:cubicBezTo>
                      <a:pt x="82" y="39"/>
                      <a:pt x="82" y="37"/>
                      <a:pt x="82" y="37"/>
                    </a:cubicBezTo>
                    <a:cubicBezTo>
                      <a:pt x="80" y="37"/>
                      <a:pt x="78" y="39"/>
                      <a:pt x="78" y="39"/>
                    </a:cubicBezTo>
                    <a:cubicBezTo>
                      <a:pt x="74" y="38"/>
                      <a:pt x="74" y="35"/>
                      <a:pt x="71" y="35"/>
                    </a:cubicBezTo>
                    <a:cubicBezTo>
                      <a:pt x="63" y="35"/>
                      <a:pt x="54" y="40"/>
                      <a:pt x="43" y="35"/>
                    </a:cubicBezTo>
                    <a:cubicBezTo>
                      <a:pt x="43" y="34"/>
                      <a:pt x="45" y="33"/>
                      <a:pt x="45" y="31"/>
                    </a:cubicBezTo>
                    <a:cubicBezTo>
                      <a:pt x="44" y="29"/>
                      <a:pt x="42" y="31"/>
                      <a:pt x="41" y="30"/>
                    </a:cubicBezTo>
                    <a:cubicBezTo>
                      <a:pt x="39" y="27"/>
                      <a:pt x="41" y="23"/>
                      <a:pt x="37" y="22"/>
                    </a:cubicBezTo>
                    <a:cubicBezTo>
                      <a:pt x="38" y="20"/>
                      <a:pt x="41" y="21"/>
                      <a:pt x="41" y="18"/>
                    </a:cubicBezTo>
                    <a:cubicBezTo>
                      <a:pt x="41" y="15"/>
                      <a:pt x="36" y="16"/>
                      <a:pt x="37" y="11"/>
                    </a:cubicBezTo>
                    <a:cubicBezTo>
                      <a:pt x="34" y="14"/>
                      <a:pt x="26" y="12"/>
                      <a:pt x="21" y="13"/>
                    </a:cubicBezTo>
                    <a:cubicBezTo>
                      <a:pt x="17" y="14"/>
                      <a:pt x="18" y="10"/>
                      <a:pt x="17" y="9"/>
                    </a:cubicBezTo>
                    <a:cubicBezTo>
                      <a:pt x="16" y="8"/>
                      <a:pt x="13" y="10"/>
                      <a:pt x="13" y="7"/>
                    </a:cubicBezTo>
                    <a:cubicBezTo>
                      <a:pt x="11" y="9"/>
                      <a:pt x="9" y="9"/>
                      <a:pt x="6" y="9"/>
                    </a:cubicBezTo>
                    <a:cubicBezTo>
                      <a:pt x="12" y="3"/>
                      <a:pt x="0" y="8"/>
                      <a:pt x="2" y="2"/>
                    </a:cubicBezTo>
                    <a:cubicBezTo>
                      <a:pt x="10" y="3"/>
                      <a:pt x="16" y="1"/>
                      <a:pt x="22" y="0"/>
                    </a:cubicBezTo>
                    <a:cubicBezTo>
                      <a:pt x="22" y="2"/>
                      <a:pt x="26" y="1"/>
                      <a:pt x="26" y="2"/>
                    </a:cubicBezTo>
                    <a:cubicBezTo>
                      <a:pt x="27" y="2"/>
                      <a:pt x="26" y="5"/>
                      <a:pt x="26" y="5"/>
                    </a:cubicBezTo>
                    <a:cubicBezTo>
                      <a:pt x="28" y="7"/>
                      <a:pt x="33" y="4"/>
                      <a:pt x="32" y="9"/>
                    </a:cubicBezTo>
                    <a:cubicBezTo>
                      <a:pt x="37" y="4"/>
                      <a:pt x="42" y="10"/>
                      <a:pt x="49" y="9"/>
                    </a:cubicBezTo>
                    <a:cubicBezTo>
                      <a:pt x="47" y="15"/>
                      <a:pt x="52" y="15"/>
                      <a:pt x="49" y="18"/>
                    </a:cubicBezTo>
                    <a:cubicBezTo>
                      <a:pt x="52" y="19"/>
                      <a:pt x="57" y="18"/>
                      <a:pt x="62" y="20"/>
                    </a:cubicBezTo>
                    <a:cubicBezTo>
                      <a:pt x="63" y="21"/>
                      <a:pt x="53" y="25"/>
                      <a:pt x="62" y="24"/>
                    </a:cubicBezTo>
                    <a:cubicBezTo>
                      <a:pt x="63" y="24"/>
                      <a:pt x="63" y="22"/>
                      <a:pt x="65" y="22"/>
                    </a:cubicBezTo>
                    <a:cubicBezTo>
                      <a:pt x="71" y="22"/>
                      <a:pt x="80" y="21"/>
                      <a:pt x="88" y="22"/>
                    </a:cubicBezTo>
                    <a:cubicBezTo>
                      <a:pt x="89" y="22"/>
                      <a:pt x="92" y="24"/>
                      <a:pt x="91" y="24"/>
                    </a:cubicBezTo>
                    <a:cubicBezTo>
                      <a:pt x="96" y="24"/>
                      <a:pt x="88" y="21"/>
                      <a:pt x="97" y="20"/>
                    </a:cubicBezTo>
                    <a:cubicBezTo>
                      <a:pt x="99" y="20"/>
                      <a:pt x="101" y="21"/>
                      <a:pt x="103" y="20"/>
                    </a:cubicBezTo>
                    <a:cubicBezTo>
                      <a:pt x="110" y="19"/>
                      <a:pt x="122" y="19"/>
                      <a:pt x="132" y="2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52C53660-A4FB-44D5-9DA9-CCBE0ABDFA80}"/>
                  </a:ext>
                </a:extLst>
              </p:cNvPr>
              <p:cNvSpPr/>
              <p:nvPr/>
            </p:nvSpPr>
            <p:spPr bwMode="auto">
              <a:xfrm>
                <a:off x="6475433" y="655820"/>
                <a:ext cx="278756" cy="198911"/>
              </a:xfrm>
              <a:custGeom>
                <a:avLst/>
                <a:gdLst>
                  <a:gd name="T0" fmla="*/ 110 w 134"/>
                  <a:gd name="T1" fmla="*/ 3 h 96"/>
                  <a:gd name="T2" fmla="*/ 132 w 134"/>
                  <a:gd name="T3" fmla="*/ 1 h 96"/>
                  <a:gd name="T4" fmla="*/ 130 w 134"/>
                  <a:gd name="T5" fmla="*/ 10 h 96"/>
                  <a:gd name="T6" fmla="*/ 106 w 134"/>
                  <a:gd name="T7" fmla="*/ 14 h 96"/>
                  <a:gd name="T8" fmla="*/ 102 w 134"/>
                  <a:gd name="T9" fmla="*/ 18 h 96"/>
                  <a:gd name="T10" fmla="*/ 98 w 134"/>
                  <a:gd name="T11" fmla="*/ 18 h 96"/>
                  <a:gd name="T12" fmla="*/ 95 w 134"/>
                  <a:gd name="T13" fmla="*/ 21 h 96"/>
                  <a:gd name="T14" fmla="*/ 91 w 134"/>
                  <a:gd name="T15" fmla="*/ 19 h 96"/>
                  <a:gd name="T16" fmla="*/ 83 w 134"/>
                  <a:gd name="T17" fmla="*/ 21 h 96"/>
                  <a:gd name="T18" fmla="*/ 76 w 134"/>
                  <a:gd name="T19" fmla="*/ 23 h 96"/>
                  <a:gd name="T20" fmla="*/ 74 w 134"/>
                  <a:gd name="T21" fmla="*/ 27 h 96"/>
                  <a:gd name="T22" fmla="*/ 65 w 134"/>
                  <a:gd name="T23" fmla="*/ 32 h 96"/>
                  <a:gd name="T24" fmla="*/ 59 w 134"/>
                  <a:gd name="T25" fmla="*/ 36 h 96"/>
                  <a:gd name="T26" fmla="*/ 56 w 134"/>
                  <a:gd name="T27" fmla="*/ 40 h 96"/>
                  <a:gd name="T28" fmla="*/ 54 w 134"/>
                  <a:gd name="T29" fmla="*/ 44 h 96"/>
                  <a:gd name="T30" fmla="*/ 44 w 134"/>
                  <a:gd name="T31" fmla="*/ 47 h 96"/>
                  <a:gd name="T32" fmla="*/ 43 w 134"/>
                  <a:gd name="T33" fmla="*/ 49 h 96"/>
                  <a:gd name="T34" fmla="*/ 35 w 134"/>
                  <a:gd name="T35" fmla="*/ 53 h 96"/>
                  <a:gd name="T36" fmla="*/ 31 w 134"/>
                  <a:gd name="T37" fmla="*/ 60 h 96"/>
                  <a:gd name="T38" fmla="*/ 33 w 134"/>
                  <a:gd name="T39" fmla="*/ 72 h 96"/>
                  <a:gd name="T40" fmla="*/ 28 w 134"/>
                  <a:gd name="T41" fmla="*/ 75 h 96"/>
                  <a:gd name="T42" fmla="*/ 31 w 134"/>
                  <a:gd name="T43" fmla="*/ 83 h 96"/>
                  <a:gd name="T44" fmla="*/ 29 w 134"/>
                  <a:gd name="T45" fmla="*/ 85 h 96"/>
                  <a:gd name="T46" fmla="*/ 31 w 134"/>
                  <a:gd name="T47" fmla="*/ 87 h 96"/>
                  <a:gd name="T48" fmla="*/ 33 w 134"/>
                  <a:gd name="T49" fmla="*/ 85 h 96"/>
                  <a:gd name="T50" fmla="*/ 39 w 134"/>
                  <a:gd name="T51" fmla="*/ 88 h 96"/>
                  <a:gd name="T52" fmla="*/ 37 w 134"/>
                  <a:gd name="T53" fmla="*/ 96 h 96"/>
                  <a:gd name="T54" fmla="*/ 20 w 134"/>
                  <a:gd name="T55" fmla="*/ 96 h 96"/>
                  <a:gd name="T56" fmla="*/ 22 w 134"/>
                  <a:gd name="T57" fmla="*/ 92 h 96"/>
                  <a:gd name="T58" fmla="*/ 16 w 134"/>
                  <a:gd name="T59" fmla="*/ 90 h 96"/>
                  <a:gd name="T60" fmla="*/ 13 w 134"/>
                  <a:gd name="T61" fmla="*/ 87 h 96"/>
                  <a:gd name="T62" fmla="*/ 9 w 134"/>
                  <a:gd name="T63" fmla="*/ 87 h 96"/>
                  <a:gd name="T64" fmla="*/ 3 w 134"/>
                  <a:gd name="T65" fmla="*/ 87 h 96"/>
                  <a:gd name="T66" fmla="*/ 2 w 134"/>
                  <a:gd name="T67" fmla="*/ 73 h 96"/>
                  <a:gd name="T68" fmla="*/ 11 w 134"/>
                  <a:gd name="T69" fmla="*/ 70 h 96"/>
                  <a:gd name="T70" fmla="*/ 9 w 134"/>
                  <a:gd name="T71" fmla="*/ 68 h 96"/>
                  <a:gd name="T72" fmla="*/ 11 w 134"/>
                  <a:gd name="T73" fmla="*/ 64 h 96"/>
                  <a:gd name="T74" fmla="*/ 20 w 134"/>
                  <a:gd name="T75" fmla="*/ 60 h 96"/>
                  <a:gd name="T76" fmla="*/ 20 w 134"/>
                  <a:gd name="T77" fmla="*/ 53 h 96"/>
                  <a:gd name="T78" fmla="*/ 26 w 134"/>
                  <a:gd name="T79" fmla="*/ 51 h 96"/>
                  <a:gd name="T80" fmla="*/ 29 w 134"/>
                  <a:gd name="T81" fmla="*/ 46 h 96"/>
                  <a:gd name="T82" fmla="*/ 29 w 134"/>
                  <a:gd name="T83" fmla="*/ 36 h 96"/>
                  <a:gd name="T84" fmla="*/ 44 w 134"/>
                  <a:gd name="T85" fmla="*/ 31 h 96"/>
                  <a:gd name="T86" fmla="*/ 46 w 134"/>
                  <a:gd name="T87" fmla="*/ 27 h 96"/>
                  <a:gd name="T88" fmla="*/ 48 w 134"/>
                  <a:gd name="T89" fmla="*/ 29 h 96"/>
                  <a:gd name="T90" fmla="*/ 52 w 134"/>
                  <a:gd name="T91" fmla="*/ 25 h 96"/>
                  <a:gd name="T92" fmla="*/ 54 w 134"/>
                  <a:gd name="T93" fmla="*/ 21 h 96"/>
                  <a:gd name="T94" fmla="*/ 63 w 134"/>
                  <a:gd name="T95" fmla="*/ 19 h 96"/>
                  <a:gd name="T96" fmla="*/ 74 w 134"/>
                  <a:gd name="T97" fmla="*/ 18 h 96"/>
                  <a:gd name="T98" fmla="*/ 76 w 134"/>
                  <a:gd name="T99" fmla="*/ 16 h 96"/>
                  <a:gd name="T100" fmla="*/ 80 w 134"/>
                  <a:gd name="T101" fmla="*/ 18 h 96"/>
                  <a:gd name="T102" fmla="*/ 82 w 134"/>
                  <a:gd name="T103" fmla="*/ 14 h 96"/>
                  <a:gd name="T104" fmla="*/ 83 w 134"/>
                  <a:gd name="T105" fmla="*/ 14 h 96"/>
                  <a:gd name="T106" fmla="*/ 97 w 134"/>
                  <a:gd name="T107" fmla="*/ 12 h 96"/>
                  <a:gd name="T108" fmla="*/ 100 w 134"/>
                  <a:gd name="T109" fmla="*/ 10 h 96"/>
                  <a:gd name="T110" fmla="*/ 102 w 134"/>
                  <a:gd name="T111" fmla="*/ 8 h 96"/>
                  <a:gd name="T112" fmla="*/ 110 w 134"/>
                  <a:gd name="T113" fmla="*/ 3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34" h="96">
                    <a:moveTo>
                      <a:pt x="110" y="3"/>
                    </a:moveTo>
                    <a:cubicBezTo>
                      <a:pt x="116" y="7"/>
                      <a:pt x="124" y="0"/>
                      <a:pt x="132" y="1"/>
                    </a:cubicBezTo>
                    <a:cubicBezTo>
                      <a:pt x="134" y="6"/>
                      <a:pt x="129" y="6"/>
                      <a:pt x="130" y="10"/>
                    </a:cubicBezTo>
                    <a:cubicBezTo>
                      <a:pt x="124" y="7"/>
                      <a:pt x="114" y="13"/>
                      <a:pt x="106" y="14"/>
                    </a:cubicBezTo>
                    <a:cubicBezTo>
                      <a:pt x="104" y="14"/>
                      <a:pt x="103" y="17"/>
                      <a:pt x="102" y="18"/>
                    </a:cubicBezTo>
                    <a:cubicBezTo>
                      <a:pt x="101" y="18"/>
                      <a:pt x="99" y="17"/>
                      <a:pt x="98" y="18"/>
                    </a:cubicBezTo>
                    <a:cubicBezTo>
                      <a:pt x="98" y="18"/>
                      <a:pt x="95" y="21"/>
                      <a:pt x="95" y="21"/>
                    </a:cubicBezTo>
                    <a:cubicBezTo>
                      <a:pt x="93" y="22"/>
                      <a:pt x="93" y="19"/>
                      <a:pt x="91" y="19"/>
                    </a:cubicBezTo>
                    <a:cubicBezTo>
                      <a:pt x="89" y="20"/>
                      <a:pt x="86" y="21"/>
                      <a:pt x="83" y="21"/>
                    </a:cubicBezTo>
                    <a:cubicBezTo>
                      <a:pt x="82" y="22"/>
                      <a:pt x="78" y="22"/>
                      <a:pt x="76" y="23"/>
                    </a:cubicBezTo>
                    <a:cubicBezTo>
                      <a:pt x="74" y="24"/>
                      <a:pt x="76" y="26"/>
                      <a:pt x="74" y="27"/>
                    </a:cubicBezTo>
                    <a:cubicBezTo>
                      <a:pt x="73" y="28"/>
                      <a:pt x="65" y="27"/>
                      <a:pt x="65" y="32"/>
                    </a:cubicBezTo>
                    <a:cubicBezTo>
                      <a:pt x="65" y="34"/>
                      <a:pt x="61" y="35"/>
                      <a:pt x="59" y="36"/>
                    </a:cubicBezTo>
                    <a:cubicBezTo>
                      <a:pt x="58" y="37"/>
                      <a:pt x="56" y="39"/>
                      <a:pt x="56" y="40"/>
                    </a:cubicBezTo>
                    <a:cubicBezTo>
                      <a:pt x="55" y="41"/>
                      <a:pt x="53" y="42"/>
                      <a:pt x="54" y="44"/>
                    </a:cubicBezTo>
                    <a:cubicBezTo>
                      <a:pt x="48" y="46"/>
                      <a:pt x="48" y="42"/>
                      <a:pt x="44" y="47"/>
                    </a:cubicBezTo>
                    <a:cubicBezTo>
                      <a:pt x="44" y="48"/>
                      <a:pt x="43" y="47"/>
                      <a:pt x="43" y="49"/>
                    </a:cubicBezTo>
                    <a:cubicBezTo>
                      <a:pt x="42" y="52"/>
                      <a:pt x="38" y="51"/>
                      <a:pt x="35" y="53"/>
                    </a:cubicBezTo>
                    <a:cubicBezTo>
                      <a:pt x="35" y="56"/>
                      <a:pt x="37" y="62"/>
                      <a:pt x="31" y="60"/>
                    </a:cubicBezTo>
                    <a:cubicBezTo>
                      <a:pt x="32" y="64"/>
                      <a:pt x="29" y="71"/>
                      <a:pt x="33" y="72"/>
                    </a:cubicBezTo>
                    <a:cubicBezTo>
                      <a:pt x="32" y="73"/>
                      <a:pt x="30" y="74"/>
                      <a:pt x="28" y="75"/>
                    </a:cubicBezTo>
                    <a:cubicBezTo>
                      <a:pt x="25" y="80"/>
                      <a:pt x="32" y="79"/>
                      <a:pt x="31" y="83"/>
                    </a:cubicBezTo>
                    <a:cubicBezTo>
                      <a:pt x="31" y="83"/>
                      <a:pt x="28" y="83"/>
                      <a:pt x="29" y="85"/>
                    </a:cubicBezTo>
                    <a:cubicBezTo>
                      <a:pt x="29" y="84"/>
                      <a:pt x="33" y="87"/>
                      <a:pt x="31" y="87"/>
                    </a:cubicBezTo>
                    <a:cubicBezTo>
                      <a:pt x="33" y="87"/>
                      <a:pt x="34" y="85"/>
                      <a:pt x="33" y="85"/>
                    </a:cubicBezTo>
                    <a:cubicBezTo>
                      <a:pt x="35" y="86"/>
                      <a:pt x="35" y="89"/>
                      <a:pt x="39" y="88"/>
                    </a:cubicBezTo>
                    <a:cubicBezTo>
                      <a:pt x="39" y="92"/>
                      <a:pt x="36" y="92"/>
                      <a:pt x="37" y="96"/>
                    </a:cubicBezTo>
                    <a:cubicBezTo>
                      <a:pt x="31" y="96"/>
                      <a:pt x="26" y="96"/>
                      <a:pt x="20" y="96"/>
                    </a:cubicBezTo>
                    <a:cubicBezTo>
                      <a:pt x="20" y="95"/>
                      <a:pt x="23" y="93"/>
                      <a:pt x="22" y="92"/>
                    </a:cubicBezTo>
                    <a:cubicBezTo>
                      <a:pt x="21" y="90"/>
                      <a:pt x="18" y="91"/>
                      <a:pt x="16" y="90"/>
                    </a:cubicBezTo>
                    <a:cubicBezTo>
                      <a:pt x="15" y="90"/>
                      <a:pt x="14" y="87"/>
                      <a:pt x="13" y="87"/>
                    </a:cubicBezTo>
                    <a:cubicBezTo>
                      <a:pt x="12" y="86"/>
                      <a:pt x="9" y="87"/>
                      <a:pt x="9" y="87"/>
                    </a:cubicBezTo>
                    <a:cubicBezTo>
                      <a:pt x="7" y="84"/>
                      <a:pt x="7" y="87"/>
                      <a:pt x="3" y="87"/>
                    </a:cubicBezTo>
                    <a:cubicBezTo>
                      <a:pt x="3" y="82"/>
                      <a:pt x="0" y="80"/>
                      <a:pt x="2" y="73"/>
                    </a:cubicBezTo>
                    <a:cubicBezTo>
                      <a:pt x="7" y="80"/>
                      <a:pt x="2" y="66"/>
                      <a:pt x="11" y="70"/>
                    </a:cubicBezTo>
                    <a:cubicBezTo>
                      <a:pt x="12" y="68"/>
                      <a:pt x="9" y="68"/>
                      <a:pt x="9" y="68"/>
                    </a:cubicBezTo>
                    <a:cubicBezTo>
                      <a:pt x="9" y="66"/>
                      <a:pt x="15" y="65"/>
                      <a:pt x="11" y="64"/>
                    </a:cubicBezTo>
                    <a:cubicBezTo>
                      <a:pt x="12" y="61"/>
                      <a:pt x="17" y="61"/>
                      <a:pt x="20" y="60"/>
                    </a:cubicBezTo>
                    <a:cubicBezTo>
                      <a:pt x="18" y="57"/>
                      <a:pt x="26" y="54"/>
                      <a:pt x="20" y="53"/>
                    </a:cubicBezTo>
                    <a:cubicBezTo>
                      <a:pt x="20" y="51"/>
                      <a:pt x="24" y="51"/>
                      <a:pt x="26" y="51"/>
                    </a:cubicBezTo>
                    <a:cubicBezTo>
                      <a:pt x="26" y="48"/>
                      <a:pt x="27" y="46"/>
                      <a:pt x="29" y="46"/>
                    </a:cubicBezTo>
                    <a:cubicBezTo>
                      <a:pt x="26" y="42"/>
                      <a:pt x="31" y="42"/>
                      <a:pt x="29" y="36"/>
                    </a:cubicBezTo>
                    <a:cubicBezTo>
                      <a:pt x="37" y="37"/>
                      <a:pt x="39" y="32"/>
                      <a:pt x="44" y="31"/>
                    </a:cubicBezTo>
                    <a:cubicBezTo>
                      <a:pt x="47" y="31"/>
                      <a:pt x="45" y="27"/>
                      <a:pt x="46" y="27"/>
                    </a:cubicBezTo>
                    <a:cubicBezTo>
                      <a:pt x="47" y="26"/>
                      <a:pt x="49" y="28"/>
                      <a:pt x="48" y="29"/>
                    </a:cubicBezTo>
                    <a:cubicBezTo>
                      <a:pt x="49" y="28"/>
                      <a:pt x="51" y="26"/>
                      <a:pt x="52" y="25"/>
                    </a:cubicBezTo>
                    <a:cubicBezTo>
                      <a:pt x="53" y="24"/>
                      <a:pt x="54" y="23"/>
                      <a:pt x="54" y="21"/>
                    </a:cubicBezTo>
                    <a:cubicBezTo>
                      <a:pt x="57" y="22"/>
                      <a:pt x="60" y="21"/>
                      <a:pt x="63" y="19"/>
                    </a:cubicBezTo>
                    <a:cubicBezTo>
                      <a:pt x="66" y="18"/>
                      <a:pt x="68" y="19"/>
                      <a:pt x="74" y="18"/>
                    </a:cubicBezTo>
                    <a:cubicBezTo>
                      <a:pt x="76" y="17"/>
                      <a:pt x="75" y="16"/>
                      <a:pt x="76" y="16"/>
                    </a:cubicBezTo>
                    <a:cubicBezTo>
                      <a:pt x="78" y="15"/>
                      <a:pt x="80" y="18"/>
                      <a:pt x="80" y="18"/>
                    </a:cubicBezTo>
                    <a:cubicBezTo>
                      <a:pt x="83" y="17"/>
                      <a:pt x="78" y="14"/>
                      <a:pt x="82" y="14"/>
                    </a:cubicBezTo>
                    <a:cubicBezTo>
                      <a:pt x="82" y="14"/>
                      <a:pt x="83" y="14"/>
                      <a:pt x="83" y="14"/>
                    </a:cubicBezTo>
                    <a:cubicBezTo>
                      <a:pt x="85" y="13"/>
                      <a:pt x="91" y="13"/>
                      <a:pt x="97" y="12"/>
                    </a:cubicBezTo>
                    <a:cubicBezTo>
                      <a:pt x="100" y="11"/>
                      <a:pt x="99" y="12"/>
                      <a:pt x="100" y="10"/>
                    </a:cubicBezTo>
                    <a:cubicBezTo>
                      <a:pt x="100" y="10"/>
                      <a:pt x="102" y="8"/>
                      <a:pt x="102" y="8"/>
                    </a:cubicBezTo>
                    <a:cubicBezTo>
                      <a:pt x="107" y="6"/>
                      <a:pt x="110" y="12"/>
                      <a:pt x="11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C46AB823-F5DB-4C15-8B92-D3A4F2B8BB65}"/>
                  </a:ext>
                </a:extLst>
              </p:cNvPr>
              <p:cNvSpPr/>
              <p:nvPr/>
            </p:nvSpPr>
            <p:spPr bwMode="auto">
              <a:xfrm>
                <a:off x="4053480" y="668427"/>
                <a:ext cx="29417" cy="12607"/>
              </a:xfrm>
              <a:custGeom>
                <a:avLst/>
                <a:gdLst>
                  <a:gd name="T0" fmla="*/ 10 w 14"/>
                  <a:gd name="T1" fmla="*/ 0 h 6"/>
                  <a:gd name="T2" fmla="*/ 14 w 14"/>
                  <a:gd name="T3" fmla="*/ 0 h 6"/>
                  <a:gd name="T4" fmla="*/ 10 w 14"/>
                  <a:gd name="T5" fmla="*/ 0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6">
                    <a:moveTo>
                      <a:pt x="10" y="0"/>
                    </a:moveTo>
                    <a:cubicBezTo>
                      <a:pt x="11" y="0"/>
                      <a:pt x="12" y="0"/>
                      <a:pt x="14" y="0"/>
                    </a:cubicBezTo>
                    <a:cubicBezTo>
                      <a:pt x="14" y="6"/>
                      <a:pt x="0" y="0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D78DFF8-5156-4203-A147-B5257A2311BD}"/>
                  </a:ext>
                </a:extLst>
              </p:cNvPr>
              <p:cNvSpPr/>
              <p:nvPr/>
            </p:nvSpPr>
            <p:spPr bwMode="auto">
              <a:xfrm>
                <a:off x="7827188" y="682435"/>
                <a:ext cx="85448" cy="67238"/>
              </a:xfrm>
              <a:custGeom>
                <a:avLst/>
                <a:gdLst>
                  <a:gd name="T0" fmla="*/ 11 w 41"/>
                  <a:gd name="T1" fmla="*/ 1 h 32"/>
                  <a:gd name="T2" fmla="*/ 13 w 41"/>
                  <a:gd name="T3" fmla="*/ 3 h 32"/>
                  <a:gd name="T4" fmla="*/ 24 w 41"/>
                  <a:gd name="T5" fmla="*/ 8 h 32"/>
                  <a:gd name="T6" fmla="*/ 30 w 41"/>
                  <a:gd name="T7" fmla="*/ 5 h 32"/>
                  <a:gd name="T8" fmla="*/ 41 w 41"/>
                  <a:gd name="T9" fmla="*/ 6 h 32"/>
                  <a:gd name="T10" fmla="*/ 37 w 41"/>
                  <a:gd name="T11" fmla="*/ 16 h 32"/>
                  <a:gd name="T12" fmla="*/ 23 w 41"/>
                  <a:gd name="T13" fmla="*/ 19 h 32"/>
                  <a:gd name="T14" fmla="*/ 23 w 41"/>
                  <a:gd name="T15" fmla="*/ 21 h 32"/>
                  <a:gd name="T16" fmla="*/ 19 w 41"/>
                  <a:gd name="T17" fmla="*/ 25 h 32"/>
                  <a:gd name="T18" fmla="*/ 13 w 41"/>
                  <a:gd name="T19" fmla="*/ 27 h 32"/>
                  <a:gd name="T20" fmla="*/ 6 w 41"/>
                  <a:gd name="T21" fmla="*/ 23 h 32"/>
                  <a:gd name="T22" fmla="*/ 0 w 41"/>
                  <a:gd name="T23" fmla="*/ 8 h 32"/>
                  <a:gd name="T24" fmla="*/ 11 w 41"/>
                  <a:gd name="T25" fmla="*/ 1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1" h="32">
                    <a:moveTo>
                      <a:pt x="11" y="1"/>
                    </a:moveTo>
                    <a:cubicBezTo>
                      <a:pt x="13" y="0"/>
                      <a:pt x="13" y="2"/>
                      <a:pt x="13" y="3"/>
                    </a:cubicBezTo>
                    <a:cubicBezTo>
                      <a:pt x="15" y="7"/>
                      <a:pt x="21" y="6"/>
                      <a:pt x="24" y="8"/>
                    </a:cubicBezTo>
                    <a:cubicBezTo>
                      <a:pt x="28" y="10"/>
                      <a:pt x="29" y="5"/>
                      <a:pt x="30" y="5"/>
                    </a:cubicBezTo>
                    <a:cubicBezTo>
                      <a:pt x="32" y="4"/>
                      <a:pt x="35" y="8"/>
                      <a:pt x="41" y="6"/>
                    </a:cubicBezTo>
                    <a:cubicBezTo>
                      <a:pt x="40" y="8"/>
                      <a:pt x="31" y="12"/>
                      <a:pt x="37" y="16"/>
                    </a:cubicBezTo>
                    <a:cubicBezTo>
                      <a:pt x="36" y="20"/>
                      <a:pt x="29" y="20"/>
                      <a:pt x="23" y="19"/>
                    </a:cubicBezTo>
                    <a:cubicBezTo>
                      <a:pt x="20" y="20"/>
                      <a:pt x="21" y="21"/>
                      <a:pt x="23" y="21"/>
                    </a:cubicBezTo>
                    <a:cubicBezTo>
                      <a:pt x="24" y="25"/>
                      <a:pt x="12" y="22"/>
                      <a:pt x="19" y="25"/>
                    </a:cubicBezTo>
                    <a:cubicBezTo>
                      <a:pt x="19" y="32"/>
                      <a:pt x="13" y="21"/>
                      <a:pt x="13" y="27"/>
                    </a:cubicBezTo>
                    <a:cubicBezTo>
                      <a:pt x="10" y="26"/>
                      <a:pt x="12" y="21"/>
                      <a:pt x="6" y="23"/>
                    </a:cubicBezTo>
                    <a:cubicBezTo>
                      <a:pt x="4" y="18"/>
                      <a:pt x="5" y="10"/>
                      <a:pt x="0" y="8"/>
                    </a:cubicBezTo>
                    <a:cubicBezTo>
                      <a:pt x="2" y="4"/>
                      <a:pt x="13" y="8"/>
                      <a:pt x="11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23B047A0-CAA0-42AF-9A2C-6DE9B5EC02D6}"/>
                  </a:ext>
                </a:extLst>
              </p:cNvPr>
              <p:cNvSpPr/>
              <p:nvPr/>
            </p:nvSpPr>
            <p:spPr bwMode="auto">
              <a:xfrm>
                <a:off x="3770522" y="692241"/>
                <a:ext cx="23814" cy="15409"/>
              </a:xfrm>
              <a:custGeom>
                <a:avLst/>
                <a:gdLst>
                  <a:gd name="T0" fmla="*/ 6 w 11"/>
                  <a:gd name="T1" fmla="*/ 0 h 7"/>
                  <a:gd name="T2" fmla="*/ 8 w 11"/>
                  <a:gd name="T3" fmla="*/ 7 h 7"/>
                  <a:gd name="T4" fmla="*/ 0 w 11"/>
                  <a:gd name="T5" fmla="*/ 5 h 7"/>
                  <a:gd name="T6" fmla="*/ 6 w 11"/>
                  <a:gd name="T7" fmla="*/ 0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" h="7">
                    <a:moveTo>
                      <a:pt x="6" y="0"/>
                    </a:moveTo>
                    <a:cubicBezTo>
                      <a:pt x="11" y="1"/>
                      <a:pt x="8" y="2"/>
                      <a:pt x="8" y="7"/>
                    </a:cubicBezTo>
                    <a:cubicBezTo>
                      <a:pt x="6" y="6"/>
                      <a:pt x="4" y="5"/>
                      <a:pt x="0" y="5"/>
                    </a:cubicBezTo>
                    <a:cubicBezTo>
                      <a:pt x="1" y="2"/>
                      <a:pt x="7" y="4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175193BE-F04A-41A2-89B9-0D57A791A8DE}"/>
                  </a:ext>
                </a:extLst>
              </p:cNvPr>
              <p:cNvSpPr/>
              <p:nvPr/>
            </p:nvSpPr>
            <p:spPr bwMode="auto">
              <a:xfrm>
                <a:off x="7921040" y="692241"/>
                <a:ext cx="39222" cy="36420"/>
              </a:xfrm>
              <a:custGeom>
                <a:avLst/>
                <a:gdLst>
                  <a:gd name="T0" fmla="*/ 0 w 19"/>
                  <a:gd name="T1" fmla="*/ 5 h 17"/>
                  <a:gd name="T2" fmla="*/ 19 w 19"/>
                  <a:gd name="T3" fmla="*/ 9 h 17"/>
                  <a:gd name="T4" fmla="*/ 11 w 19"/>
                  <a:gd name="T5" fmla="*/ 16 h 17"/>
                  <a:gd name="T6" fmla="*/ 7 w 19"/>
                  <a:gd name="T7" fmla="*/ 13 h 17"/>
                  <a:gd name="T8" fmla="*/ 4 w 19"/>
                  <a:gd name="T9" fmla="*/ 13 h 17"/>
                  <a:gd name="T10" fmla="*/ 0 w 19"/>
                  <a:gd name="T11" fmla="*/ 5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7">
                    <a:moveTo>
                      <a:pt x="0" y="5"/>
                    </a:moveTo>
                    <a:cubicBezTo>
                      <a:pt x="6" y="0"/>
                      <a:pt x="16" y="5"/>
                      <a:pt x="19" y="9"/>
                    </a:cubicBezTo>
                    <a:cubicBezTo>
                      <a:pt x="18" y="13"/>
                      <a:pt x="10" y="10"/>
                      <a:pt x="11" y="16"/>
                    </a:cubicBezTo>
                    <a:cubicBezTo>
                      <a:pt x="9" y="17"/>
                      <a:pt x="8" y="13"/>
                      <a:pt x="7" y="13"/>
                    </a:cubicBezTo>
                    <a:cubicBezTo>
                      <a:pt x="7" y="12"/>
                      <a:pt x="4" y="13"/>
                      <a:pt x="4" y="13"/>
                    </a:cubicBezTo>
                    <a:cubicBezTo>
                      <a:pt x="2" y="10"/>
                      <a:pt x="4" y="6"/>
                      <a:pt x="0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AE75A08-B66D-4CFE-A9E5-F0EE84746B24}"/>
                  </a:ext>
                </a:extLst>
              </p:cNvPr>
              <p:cNvSpPr/>
              <p:nvPr/>
            </p:nvSpPr>
            <p:spPr bwMode="auto">
              <a:xfrm>
                <a:off x="7971468" y="703447"/>
                <a:ext cx="60234" cy="30817"/>
              </a:xfrm>
              <a:custGeom>
                <a:avLst/>
                <a:gdLst>
                  <a:gd name="T0" fmla="*/ 2 w 29"/>
                  <a:gd name="T1" fmla="*/ 2 h 15"/>
                  <a:gd name="T2" fmla="*/ 6 w 29"/>
                  <a:gd name="T3" fmla="*/ 2 h 15"/>
                  <a:gd name="T4" fmla="*/ 15 w 29"/>
                  <a:gd name="T5" fmla="*/ 6 h 15"/>
                  <a:gd name="T6" fmla="*/ 24 w 29"/>
                  <a:gd name="T7" fmla="*/ 9 h 15"/>
                  <a:gd name="T8" fmla="*/ 28 w 29"/>
                  <a:gd name="T9" fmla="*/ 13 h 15"/>
                  <a:gd name="T10" fmla="*/ 6 w 29"/>
                  <a:gd name="T11" fmla="*/ 9 h 15"/>
                  <a:gd name="T12" fmla="*/ 2 w 29"/>
                  <a:gd name="T13" fmla="*/ 2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15">
                    <a:moveTo>
                      <a:pt x="2" y="2"/>
                    </a:moveTo>
                    <a:cubicBezTo>
                      <a:pt x="3" y="2"/>
                      <a:pt x="4" y="2"/>
                      <a:pt x="6" y="2"/>
                    </a:cubicBezTo>
                    <a:cubicBezTo>
                      <a:pt x="11" y="0"/>
                      <a:pt x="11" y="5"/>
                      <a:pt x="15" y="6"/>
                    </a:cubicBezTo>
                    <a:cubicBezTo>
                      <a:pt x="19" y="7"/>
                      <a:pt x="21" y="8"/>
                      <a:pt x="24" y="9"/>
                    </a:cubicBezTo>
                    <a:cubicBezTo>
                      <a:pt x="26" y="11"/>
                      <a:pt x="29" y="9"/>
                      <a:pt x="28" y="13"/>
                    </a:cubicBezTo>
                    <a:cubicBezTo>
                      <a:pt x="17" y="15"/>
                      <a:pt x="14" y="10"/>
                      <a:pt x="6" y="9"/>
                    </a:cubicBezTo>
                    <a:cubicBezTo>
                      <a:pt x="8" y="3"/>
                      <a:pt x="0" y="8"/>
                      <a:pt x="2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8EAD622B-555A-4717-9361-58818729D04E}"/>
                  </a:ext>
                </a:extLst>
              </p:cNvPr>
              <p:cNvSpPr/>
              <p:nvPr/>
            </p:nvSpPr>
            <p:spPr bwMode="auto">
              <a:xfrm>
                <a:off x="4035270" y="752474"/>
                <a:ext cx="98055" cy="81245"/>
              </a:xfrm>
              <a:custGeom>
                <a:avLst/>
                <a:gdLst>
                  <a:gd name="T0" fmla="*/ 15 w 47"/>
                  <a:gd name="T1" fmla="*/ 8 h 39"/>
                  <a:gd name="T2" fmla="*/ 15 w 47"/>
                  <a:gd name="T3" fmla="*/ 6 h 39"/>
                  <a:gd name="T4" fmla="*/ 36 w 47"/>
                  <a:gd name="T5" fmla="*/ 0 h 39"/>
                  <a:gd name="T6" fmla="*/ 39 w 47"/>
                  <a:gd name="T7" fmla="*/ 8 h 39"/>
                  <a:gd name="T8" fmla="*/ 36 w 47"/>
                  <a:gd name="T9" fmla="*/ 13 h 39"/>
                  <a:gd name="T10" fmla="*/ 45 w 47"/>
                  <a:gd name="T11" fmla="*/ 15 h 39"/>
                  <a:gd name="T12" fmla="*/ 47 w 47"/>
                  <a:gd name="T13" fmla="*/ 30 h 39"/>
                  <a:gd name="T14" fmla="*/ 41 w 47"/>
                  <a:gd name="T15" fmla="*/ 30 h 39"/>
                  <a:gd name="T16" fmla="*/ 41 w 47"/>
                  <a:gd name="T17" fmla="*/ 34 h 39"/>
                  <a:gd name="T18" fmla="*/ 36 w 47"/>
                  <a:gd name="T19" fmla="*/ 34 h 39"/>
                  <a:gd name="T20" fmla="*/ 30 w 47"/>
                  <a:gd name="T21" fmla="*/ 38 h 39"/>
                  <a:gd name="T22" fmla="*/ 24 w 47"/>
                  <a:gd name="T23" fmla="*/ 32 h 39"/>
                  <a:gd name="T24" fmla="*/ 19 w 47"/>
                  <a:gd name="T25" fmla="*/ 26 h 39"/>
                  <a:gd name="T26" fmla="*/ 15 w 47"/>
                  <a:gd name="T27" fmla="*/ 23 h 39"/>
                  <a:gd name="T28" fmla="*/ 6 w 47"/>
                  <a:gd name="T29" fmla="*/ 21 h 39"/>
                  <a:gd name="T30" fmla="*/ 0 w 47"/>
                  <a:gd name="T31" fmla="*/ 17 h 39"/>
                  <a:gd name="T32" fmla="*/ 19 w 47"/>
                  <a:gd name="T33" fmla="*/ 19 h 39"/>
                  <a:gd name="T34" fmla="*/ 21 w 47"/>
                  <a:gd name="T35" fmla="*/ 12 h 39"/>
                  <a:gd name="T36" fmla="*/ 13 w 47"/>
                  <a:gd name="T37" fmla="*/ 6 h 39"/>
                  <a:gd name="T38" fmla="*/ 15 w 47"/>
                  <a:gd name="T39" fmla="*/ 8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7" h="39">
                    <a:moveTo>
                      <a:pt x="15" y="8"/>
                    </a:moveTo>
                    <a:cubicBezTo>
                      <a:pt x="17" y="7"/>
                      <a:pt x="16" y="6"/>
                      <a:pt x="15" y="6"/>
                    </a:cubicBezTo>
                    <a:cubicBezTo>
                      <a:pt x="19" y="2"/>
                      <a:pt x="33" y="6"/>
                      <a:pt x="36" y="0"/>
                    </a:cubicBezTo>
                    <a:cubicBezTo>
                      <a:pt x="38" y="2"/>
                      <a:pt x="39" y="4"/>
                      <a:pt x="39" y="8"/>
                    </a:cubicBezTo>
                    <a:cubicBezTo>
                      <a:pt x="40" y="12"/>
                      <a:pt x="36" y="11"/>
                      <a:pt x="36" y="13"/>
                    </a:cubicBezTo>
                    <a:cubicBezTo>
                      <a:pt x="37" y="19"/>
                      <a:pt x="41" y="16"/>
                      <a:pt x="45" y="15"/>
                    </a:cubicBezTo>
                    <a:cubicBezTo>
                      <a:pt x="47" y="23"/>
                      <a:pt x="45" y="22"/>
                      <a:pt x="47" y="30"/>
                    </a:cubicBezTo>
                    <a:cubicBezTo>
                      <a:pt x="46" y="31"/>
                      <a:pt x="42" y="29"/>
                      <a:pt x="41" y="30"/>
                    </a:cubicBezTo>
                    <a:cubicBezTo>
                      <a:pt x="41" y="31"/>
                      <a:pt x="42" y="34"/>
                      <a:pt x="41" y="34"/>
                    </a:cubicBezTo>
                    <a:cubicBezTo>
                      <a:pt x="40" y="35"/>
                      <a:pt x="37" y="34"/>
                      <a:pt x="36" y="34"/>
                    </a:cubicBezTo>
                    <a:cubicBezTo>
                      <a:pt x="33" y="34"/>
                      <a:pt x="33" y="37"/>
                      <a:pt x="30" y="38"/>
                    </a:cubicBezTo>
                    <a:cubicBezTo>
                      <a:pt x="26" y="39"/>
                      <a:pt x="26" y="34"/>
                      <a:pt x="24" y="32"/>
                    </a:cubicBezTo>
                    <a:cubicBezTo>
                      <a:pt x="23" y="31"/>
                      <a:pt x="17" y="31"/>
                      <a:pt x="19" y="26"/>
                    </a:cubicBezTo>
                    <a:cubicBezTo>
                      <a:pt x="16" y="27"/>
                      <a:pt x="15" y="25"/>
                      <a:pt x="15" y="23"/>
                    </a:cubicBezTo>
                    <a:cubicBezTo>
                      <a:pt x="12" y="24"/>
                      <a:pt x="9" y="22"/>
                      <a:pt x="6" y="21"/>
                    </a:cubicBezTo>
                    <a:cubicBezTo>
                      <a:pt x="3" y="20"/>
                      <a:pt x="0" y="22"/>
                      <a:pt x="0" y="17"/>
                    </a:cubicBezTo>
                    <a:cubicBezTo>
                      <a:pt x="8" y="16"/>
                      <a:pt x="11" y="20"/>
                      <a:pt x="19" y="19"/>
                    </a:cubicBezTo>
                    <a:cubicBezTo>
                      <a:pt x="21" y="18"/>
                      <a:pt x="20" y="14"/>
                      <a:pt x="21" y="12"/>
                    </a:cubicBezTo>
                    <a:cubicBezTo>
                      <a:pt x="21" y="7"/>
                      <a:pt x="10" y="13"/>
                      <a:pt x="13" y="6"/>
                    </a:cubicBezTo>
                    <a:cubicBezTo>
                      <a:pt x="15" y="6"/>
                      <a:pt x="15" y="7"/>
                      <a:pt x="15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C08936F-7D47-4FCA-9F33-C7A962D8AC5C}"/>
                  </a:ext>
                </a:extLst>
              </p:cNvPr>
              <p:cNvSpPr/>
              <p:nvPr/>
            </p:nvSpPr>
            <p:spPr bwMode="auto">
              <a:xfrm>
                <a:off x="4384064" y="760879"/>
                <a:ext cx="58833" cy="28016"/>
              </a:xfrm>
              <a:custGeom>
                <a:avLst/>
                <a:gdLst>
                  <a:gd name="T0" fmla="*/ 0 w 28"/>
                  <a:gd name="T1" fmla="*/ 2 h 13"/>
                  <a:gd name="T2" fmla="*/ 7 w 28"/>
                  <a:gd name="T3" fmla="*/ 0 h 13"/>
                  <a:gd name="T4" fmla="*/ 28 w 28"/>
                  <a:gd name="T5" fmla="*/ 6 h 13"/>
                  <a:gd name="T6" fmla="*/ 26 w 28"/>
                  <a:gd name="T7" fmla="*/ 13 h 13"/>
                  <a:gd name="T8" fmla="*/ 6 w 28"/>
                  <a:gd name="T9" fmla="*/ 6 h 13"/>
                  <a:gd name="T10" fmla="*/ 0 w 28"/>
                  <a:gd name="T11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13">
                    <a:moveTo>
                      <a:pt x="0" y="2"/>
                    </a:moveTo>
                    <a:cubicBezTo>
                      <a:pt x="0" y="0"/>
                      <a:pt x="5" y="0"/>
                      <a:pt x="7" y="0"/>
                    </a:cubicBezTo>
                    <a:cubicBezTo>
                      <a:pt x="14" y="1"/>
                      <a:pt x="22" y="5"/>
                      <a:pt x="28" y="6"/>
                    </a:cubicBezTo>
                    <a:cubicBezTo>
                      <a:pt x="28" y="9"/>
                      <a:pt x="26" y="10"/>
                      <a:pt x="26" y="13"/>
                    </a:cubicBezTo>
                    <a:cubicBezTo>
                      <a:pt x="16" y="13"/>
                      <a:pt x="12" y="11"/>
                      <a:pt x="6" y="6"/>
                    </a:cubicBezTo>
                    <a:cubicBezTo>
                      <a:pt x="4" y="4"/>
                      <a:pt x="4" y="1"/>
                      <a:pt x="0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3D2223F4-082D-4F33-A1FF-EA13B85B0EAE}"/>
                  </a:ext>
                </a:extLst>
              </p:cNvPr>
              <p:cNvSpPr/>
              <p:nvPr/>
            </p:nvSpPr>
            <p:spPr bwMode="auto">
              <a:xfrm>
                <a:off x="7881818" y="760879"/>
                <a:ext cx="39222" cy="15409"/>
              </a:xfrm>
              <a:custGeom>
                <a:avLst/>
                <a:gdLst>
                  <a:gd name="T0" fmla="*/ 19 w 19"/>
                  <a:gd name="T1" fmla="*/ 6 h 7"/>
                  <a:gd name="T2" fmla="*/ 0 w 19"/>
                  <a:gd name="T3" fmla="*/ 4 h 7"/>
                  <a:gd name="T4" fmla="*/ 6 w 19"/>
                  <a:gd name="T5" fmla="*/ 0 h 7"/>
                  <a:gd name="T6" fmla="*/ 19 w 19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9" h="7">
                    <a:moveTo>
                      <a:pt x="19" y="6"/>
                    </a:moveTo>
                    <a:cubicBezTo>
                      <a:pt x="16" y="7"/>
                      <a:pt x="5" y="6"/>
                      <a:pt x="0" y="4"/>
                    </a:cubicBezTo>
                    <a:cubicBezTo>
                      <a:pt x="1" y="1"/>
                      <a:pt x="6" y="3"/>
                      <a:pt x="6" y="0"/>
                    </a:cubicBezTo>
                    <a:cubicBezTo>
                      <a:pt x="10" y="2"/>
                      <a:pt x="19" y="0"/>
                      <a:pt x="19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E7BB0E68-7C9C-4925-B20E-A58420A990CA}"/>
                  </a:ext>
                </a:extLst>
              </p:cNvPr>
              <p:cNvSpPr/>
              <p:nvPr/>
            </p:nvSpPr>
            <p:spPr bwMode="auto">
              <a:xfrm>
                <a:off x="4811304" y="846327"/>
                <a:ext cx="30817" cy="21012"/>
              </a:xfrm>
              <a:custGeom>
                <a:avLst/>
                <a:gdLst>
                  <a:gd name="T0" fmla="*/ 15 w 15"/>
                  <a:gd name="T1" fmla="*/ 8 h 10"/>
                  <a:gd name="T2" fmla="*/ 0 w 15"/>
                  <a:gd name="T3" fmla="*/ 4 h 10"/>
                  <a:gd name="T4" fmla="*/ 15 w 15"/>
                  <a:gd name="T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10">
                    <a:moveTo>
                      <a:pt x="15" y="8"/>
                    </a:moveTo>
                    <a:cubicBezTo>
                      <a:pt x="6" y="10"/>
                      <a:pt x="8" y="2"/>
                      <a:pt x="0" y="4"/>
                    </a:cubicBezTo>
                    <a:cubicBezTo>
                      <a:pt x="3" y="0"/>
                      <a:pt x="15" y="2"/>
                      <a:pt x="15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EACE7468-733B-4CE5-A3C8-C9C87017623F}"/>
                  </a:ext>
                </a:extLst>
              </p:cNvPr>
              <p:cNvSpPr/>
              <p:nvPr/>
            </p:nvSpPr>
            <p:spPr bwMode="auto">
              <a:xfrm>
                <a:off x="4790291" y="867338"/>
                <a:ext cx="43425" cy="25214"/>
              </a:xfrm>
              <a:custGeom>
                <a:avLst/>
                <a:gdLst>
                  <a:gd name="T0" fmla="*/ 21 w 21"/>
                  <a:gd name="T1" fmla="*/ 7 h 12"/>
                  <a:gd name="T2" fmla="*/ 3 w 21"/>
                  <a:gd name="T3" fmla="*/ 7 h 12"/>
                  <a:gd name="T4" fmla="*/ 8 w 21"/>
                  <a:gd name="T5" fmla="*/ 1 h 12"/>
                  <a:gd name="T6" fmla="*/ 21 w 21"/>
                  <a:gd name="T7" fmla="*/ 7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1" h="12">
                    <a:moveTo>
                      <a:pt x="21" y="7"/>
                    </a:moveTo>
                    <a:cubicBezTo>
                      <a:pt x="19" y="12"/>
                      <a:pt x="5" y="12"/>
                      <a:pt x="3" y="7"/>
                    </a:cubicBezTo>
                    <a:cubicBezTo>
                      <a:pt x="0" y="0"/>
                      <a:pt x="9" y="6"/>
                      <a:pt x="8" y="1"/>
                    </a:cubicBezTo>
                    <a:cubicBezTo>
                      <a:pt x="12" y="4"/>
                      <a:pt x="16" y="6"/>
                      <a:pt x="21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218DBEA9-7107-425E-9866-96AAB38E3752}"/>
                  </a:ext>
                </a:extLst>
              </p:cNvPr>
              <p:cNvSpPr/>
              <p:nvPr/>
            </p:nvSpPr>
            <p:spPr bwMode="auto">
              <a:xfrm>
                <a:off x="6419400" y="885549"/>
                <a:ext cx="29417" cy="23814"/>
              </a:xfrm>
              <a:custGeom>
                <a:avLst/>
                <a:gdLst>
                  <a:gd name="T0" fmla="*/ 6 w 14"/>
                  <a:gd name="T1" fmla="*/ 0 h 11"/>
                  <a:gd name="T2" fmla="*/ 14 w 14"/>
                  <a:gd name="T3" fmla="*/ 7 h 11"/>
                  <a:gd name="T4" fmla="*/ 4 w 14"/>
                  <a:gd name="T5" fmla="*/ 11 h 11"/>
                  <a:gd name="T6" fmla="*/ 2 w 14"/>
                  <a:gd name="T7" fmla="*/ 2 h 11"/>
                  <a:gd name="T8" fmla="*/ 6 w 14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4" h="11">
                    <a:moveTo>
                      <a:pt x="6" y="0"/>
                    </a:moveTo>
                    <a:cubicBezTo>
                      <a:pt x="11" y="0"/>
                      <a:pt x="13" y="2"/>
                      <a:pt x="14" y="7"/>
                    </a:cubicBezTo>
                    <a:cubicBezTo>
                      <a:pt x="9" y="7"/>
                      <a:pt x="5" y="7"/>
                      <a:pt x="4" y="11"/>
                    </a:cubicBezTo>
                    <a:cubicBezTo>
                      <a:pt x="0" y="11"/>
                      <a:pt x="3" y="4"/>
                      <a:pt x="2" y="2"/>
                    </a:cubicBezTo>
                    <a:cubicBezTo>
                      <a:pt x="5" y="2"/>
                      <a:pt x="6" y="1"/>
                      <a:pt x="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F650BED3-C416-486D-A267-A75F300CDE3A}"/>
                  </a:ext>
                </a:extLst>
              </p:cNvPr>
              <p:cNvSpPr/>
              <p:nvPr/>
            </p:nvSpPr>
            <p:spPr bwMode="auto">
              <a:xfrm>
                <a:off x="3945620" y="900957"/>
                <a:ext cx="29417" cy="21012"/>
              </a:xfrm>
              <a:custGeom>
                <a:avLst/>
                <a:gdLst>
                  <a:gd name="T0" fmla="*/ 13 w 14"/>
                  <a:gd name="T1" fmla="*/ 8 h 10"/>
                  <a:gd name="T2" fmla="*/ 0 w 14"/>
                  <a:gd name="T3" fmla="*/ 10 h 10"/>
                  <a:gd name="T4" fmla="*/ 13 w 14"/>
                  <a:gd name="T5" fmla="*/ 8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0">
                    <a:moveTo>
                      <a:pt x="13" y="8"/>
                    </a:moveTo>
                    <a:cubicBezTo>
                      <a:pt x="7" y="7"/>
                      <a:pt x="5" y="9"/>
                      <a:pt x="0" y="10"/>
                    </a:cubicBezTo>
                    <a:cubicBezTo>
                      <a:pt x="1" y="6"/>
                      <a:pt x="14" y="0"/>
                      <a:pt x="13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64DF32F0-4B59-4941-9D37-C82B9F2CE633}"/>
                  </a:ext>
                </a:extLst>
              </p:cNvPr>
              <p:cNvSpPr/>
              <p:nvPr/>
            </p:nvSpPr>
            <p:spPr bwMode="auto">
              <a:xfrm>
                <a:off x="4434494" y="917766"/>
                <a:ext cx="47627" cy="29417"/>
              </a:xfrm>
              <a:custGeom>
                <a:avLst/>
                <a:gdLst>
                  <a:gd name="T0" fmla="*/ 19 w 23"/>
                  <a:gd name="T1" fmla="*/ 2 h 14"/>
                  <a:gd name="T2" fmla="*/ 21 w 23"/>
                  <a:gd name="T3" fmla="*/ 13 h 14"/>
                  <a:gd name="T4" fmla="*/ 2 w 23"/>
                  <a:gd name="T5" fmla="*/ 9 h 14"/>
                  <a:gd name="T6" fmla="*/ 6 w 23"/>
                  <a:gd name="T7" fmla="*/ 2 h 14"/>
                  <a:gd name="T8" fmla="*/ 19 w 23"/>
                  <a:gd name="T9" fmla="*/ 2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" h="14">
                    <a:moveTo>
                      <a:pt x="19" y="2"/>
                    </a:moveTo>
                    <a:cubicBezTo>
                      <a:pt x="21" y="4"/>
                      <a:pt x="23" y="11"/>
                      <a:pt x="21" y="13"/>
                    </a:cubicBezTo>
                    <a:cubicBezTo>
                      <a:pt x="13" y="12"/>
                      <a:pt x="4" y="14"/>
                      <a:pt x="2" y="9"/>
                    </a:cubicBezTo>
                    <a:cubicBezTo>
                      <a:pt x="0" y="3"/>
                      <a:pt x="8" y="8"/>
                      <a:pt x="6" y="2"/>
                    </a:cubicBezTo>
                    <a:cubicBezTo>
                      <a:pt x="11" y="0"/>
                      <a:pt x="19" y="5"/>
                      <a:pt x="19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3C46F9BC-7867-4B3B-ABB7-3D771C9C9BD9}"/>
                  </a:ext>
                </a:extLst>
              </p:cNvPr>
              <p:cNvSpPr/>
              <p:nvPr/>
            </p:nvSpPr>
            <p:spPr bwMode="auto">
              <a:xfrm>
                <a:off x="4416282" y="999012"/>
                <a:ext cx="57433" cy="26615"/>
              </a:xfrm>
              <a:custGeom>
                <a:avLst/>
                <a:gdLst>
                  <a:gd name="T0" fmla="*/ 26 w 28"/>
                  <a:gd name="T1" fmla="*/ 5 h 13"/>
                  <a:gd name="T2" fmla="*/ 19 w 28"/>
                  <a:gd name="T3" fmla="*/ 9 h 13"/>
                  <a:gd name="T4" fmla="*/ 11 w 28"/>
                  <a:gd name="T5" fmla="*/ 11 h 13"/>
                  <a:gd name="T6" fmla="*/ 4 w 28"/>
                  <a:gd name="T7" fmla="*/ 9 h 13"/>
                  <a:gd name="T8" fmla="*/ 5 w 28"/>
                  <a:gd name="T9" fmla="*/ 4 h 13"/>
                  <a:gd name="T10" fmla="*/ 11 w 28"/>
                  <a:gd name="T11" fmla="*/ 0 h 13"/>
                  <a:gd name="T12" fmla="*/ 26 w 28"/>
                  <a:gd name="T13" fmla="*/ 5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8" h="13">
                    <a:moveTo>
                      <a:pt x="26" y="5"/>
                    </a:moveTo>
                    <a:cubicBezTo>
                      <a:pt x="28" y="11"/>
                      <a:pt x="21" y="9"/>
                      <a:pt x="19" y="9"/>
                    </a:cubicBezTo>
                    <a:cubicBezTo>
                      <a:pt x="18" y="9"/>
                      <a:pt x="13" y="13"/>
                      <a:pt x="11" y="11"/>
                    </a:cubicBezTo>
                    <a:cubicBezTo>
                      <a:pt x="10" y="9"/>
                      <a:pt x="6" y="10"/>
                      <a:pt x="4" y="9"/>
                    </a:cubicBezTo>
                    <a:cubicBezTo>
                      <a:pt x="0" y="4"/>
                      <a:pt x="12" y="6"/>
                      <a:pt x="5" y="4"/>
                    </a:cubicBezTo>
                    <a:cubicBezTo>
                      <a:pt x="6" y="1"/>
                      <a:pt x="11" y="3"/>
                      <a:pt x="11" y="0"/>
                    </a:cubicBezTo>
                    <a:cubicBezTo>
                      <a:pt x="16" y="1"/>
                      <a:pt x="22" y="2"/>
                      <a:pt x="26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8E16781C-A1A5-43D3-B3CC-987F5A1B7A58}"/>
                  </a:ext>
                </a:extLst>
              </p:cNvPr>
              <p:cNvSpPr/>
              <p:nvPr/>
            </p:nvSpPr>
            <p:spPr bwMode="auto">
              <a:xfrm>
                <a:off x="4417683" y="1039635"/>
                <a:ext cx="26615" cy="12607"/>
              </a:xfrm>
              <a:custGeom>
                <a:avLst/>
                <a:gdLst>
                  <a:gd name="T0" fmla="*/ 10 w 13"/>
                  <a:gd name="T1" fmla="*/ 6 h 6"/>
                  <a:gd name="T2" fmla="*/ 3 w 13"/>
                  <a:gd name="T3" fmla="*/ 6 h 6"/>
                  <a:gd name="T4" fmla="*/ 10 w 13"/>
                  <a:gd name="T5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6">
                    <a:moveTo>
                      <a:pt x="10" y="6"/>
                    </a:moveTo>
                    <a:cubicBezTo>
                      <a:pt x="6" y="3"/>
                      <a:pt x="8" y="6"/>
                      <a:pt x="3" y="6"/>
                    </a:cubicBezTo>
                    <a:cubicBezTo>
                      <a:pt x="0" y="0"/>
                      <a:pt x="13" y="0"/>
                      <a:pt x="1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36D057EF-B318-4511-836D-413193E33351}"/>
                  </a:ext>
                </a:extLst>
              </p:cNvPr>
              <p:cNvSpPr/>
              <p:nvPr/>
            </p:nvSpPr>
            <p:spPr bwMode="auto">
              <a:xfrm>
                <a:off x="4330835" y="1059246"/>
                <a:ext cx="30817" cy="18211"/>
              </a:xfrm>
              <a:custGeom>
                <a:avLst/>
                <a:gdLst>
                  <a:gd name="T0" fmla="*/ 13 w 15"/>
                  <a:gd name="T1" fmla="*/ 1 h 9"/>
                  <a:gd name="T2" fmla="*/ 15 w 15"/>
                  <a:gd name="T3" fmla="*/ 4 h 9"/>
                  <a:gd name="T4" fmla="*/ 7 w 15"/>
                  <a:gd name="T5" fmla="*/ 6 h 9"/>
                  <a:gd name="T6" fmla="*/ 0 w 15"/>
                  <a:gd name="T7" fmla="*/ 6 h 9"/>
                  <a:gd name="T8" fmla="*/ 13 w 15"/>
                  <a:gd name="T9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9">
                    <a:moveTo>
                      <a:pt x="13" y="1"/>
                    </a:moveTo>
                    <a:cubicBezTo>
                      <a:pt x="13" y="3"/>
                      <a:pt x="13" y="4"/>
                      <a:pt x="15" y="4"/>
                    </a:cubicBezTo>
                    <a:cubicBezTo>
                      <a:pt x="15" y="8"/>
                      <a:pt x="9" y="5"/>
                      <a:pt x="7" y="6"/>
                    </a:cubicBezTo>
                    <a:cubicBezTo>
                      <a:pt x="5" y="9"/>
                      <a:pt x="7" y="6"/>
                      <a:pt x="0" y="6"/>
                    </a:cubicBezTo>
                    <a:cubicBezTo>
                      <a:pt x="3" y="3"/>
                      <a:pt x="6" y="0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5BF1DC7D-C12A-4650-8BFD-AB77CDD22F79}"/>
                  </a:ext>
                </a:extLst>
              </p:cNvPr>
              <p:cNvSpPr/>
              <p:nvPr/>
            </p:nvSpPr>
            <p:spPr bwMode="auto">
              <a:xfrm>
                <a:off x="4388266" y="1076055"/>
                <a:ext cx="12607" cy="18211"/>
              </a:xfrm>
              <a:custGeom>
                <a:avLst/>
                <a:gdLst>
                  <a:gd name="T0" fmla="*/ 2 w 6"/>
                  <a:gd name="T1" fmla="*/ 0 h 9"/>
                  <a:gd name="T2" fmla="*/ 5 w 6"/>
                  <a:gd name="T3" fmla="*/ 8 h 9"/>
                  <a:gd name="T4" fmla="*/ 2 w 6"/>
                  <a:gd name="T5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6" h="9">
                    <a:moveTo>
                      <a:pt x="2" y="0"/>
                    </a:moveTo>
                    <a:cubicBezTo>
                      <a:pt x="5" y="1"/>
                      <a:pt x="6" y="3"/>
                      <a:pt x="5" y="8"/>
                    </a:cubicBezTo>
                    <a:cubicBezTo>
                      <a:pt x="0" y="9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696F1A36-D917-4779-8C56-DC2A64873EC2}"/>
                  </a:ext>
                </a:extLst>
              </p:cNvPr>
              <p:cNvSpPr/>
              <p:nvPr/>
            </p:nvSpPr>
            <p:spPr bwMode="auto">
              <a:xfrm>
                <a:off x="5499087" y="1237145"/>
                <a:ext cx="68639" cy="84047"/>
              </a:xfrm>
              <a:custGeom>
                <a:avLst/>
                <a:gdLst>
                  <a:gd name="T0" fmla="*/ 12 w 33"/>
                  <a:gd name="T1" fmla="*/ 0 h 40"/>
                  <a:gd name="T2" fmla="*/ 14 w 33"/>
                  <a:gd name="T3" fmla="*/ 2 h 40"/>
                  <a:gd name="T4" fmla="*/ 27 w 33"/>
                  <a:gd name="T5" fmla="*/ 2 h 40"/>
                  <a:gd name="T6" fmla="*/ 32 w 33"/>
                  <a:gd name="T7" fmla="*/ 6 h 40"/>
                  <a:gd name="T8" fmla="*/ 31 w 33"/>
                  <a:gd name="T9" fmla="*/ 10 h 40"/>
                  <a:gd name="T10" fmla="*/ 27 w 33"/>
                  <a:gd name="T11" fmla="*/ 12 h 40"/>
                  <a:gd name="T12" fmla="*/ 31 w 33"/>
                  <a:gd name="T13" fmla="*/ 21 h 40"/>
                  <a:gd name="T14" fmla="*/ 29 w 33"/>
                  <a:gd name="T15" fmla="*/ 30 h 40"/>
                  <a:gd name="T16" fmla="*/ 19 w 33"/>
                  <a:gd name="T17" fmla="*/ 30 h 40"/>
                  <a:gd name="T18" fmla="*/ 18 w 33"/>
                  <a:gd name="T19" fmla="*/ 36 h 40"/>
                  <a:gd name="T20" fmla="*/ 14 w 33"/>
                  <a:gd name="T21" fmla="*/ 40 h 40"/>
                  <a:gd name="T22" fmla="*/ 3 w 33"/>
                  <a:gd name="T23" fmla="*/ 40 h 40"/>
                  <a:gd name="T24" fmla="*/ 6 w 33"/>
                  <a:gd name="T25" fmla="*/ 28 h 40"/>
                  <a:gd name="T26" fmla="*/ 6 w 33"/>
                  <a:gd name="T27" fmla="*/ 21 h 40"/>
                  <a:gd name="T28" fmla="*/ 3 w 33"/>
                  <a:gd name="T29" fmla="*/ 12 h 40"/>
                  <a:gd name="T30" fmla="*/ 10 w 33"/>
                  <a:gd name="T31" fmla="*/ 13 h 40"/>
                  <a:gd name="T32" fmla="*/ 12 w 33"/>
                  <a:gd name="T3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3" h="40">
                    <a:moveTo>
                      <a:pt x="12" y="0"/>
                    </a:moveTo>
                    <a:cubicBezTo>
                      <a:pt x="14" y="0"/>
                      <a:pt x="14" y="1"/>
                      <a:pt x="14" y="2"/>
                    </a:cubicBezTo>
                    <a:cubicBezTo>
                      <a:pt x="14" y="5"/>
                      <a:pt x="22" y="0"/>
                      <a:pt x="27" y="2"/>
                    </a:cubicBezTo>
                    <a:cubicBezTo>
                      <a:pt x="28" y="5"/>
                      <a:pt x="29" y="6"/>
                      <a:pt x="32" y="6"/>
                    </a:cubicBezTo>
                    <a:cubicBezTo>
                      <a:pt x="33" y="8"/>
                      <a:pt x="32" y="9"/>
                      <a:pt x="31" y="10"/>
                    </a:cubicBezTo>
                    <a:cubicBezTo>
                      <a:pt x="31" y="11"/>
                      <a:pt x="28" y="11"/>
                      <a:pt x="27" y="12"/>
                    </a:cubicBezTo>
                    <a:cubicBezTo>
                      <a:pt x="27" y="16"/>
                      <a:pt x="30" y="17"/>
                      <a:pt x="31" y="21"/>
                    </a:cubicBezTo>
                    <a:cubicBezTo>
                      <a:pt x="31" y="24"/>
                      <a:pt x="28" y="26"/>
                      <a:pt x="29" y="30"/>
                    </a:cubicBezTo>
                    <a:cubicBezTo>
                      <a:pt x="26" y="30"/>
                      <a:pt x="23" y="30"/>
                      <a:pt x="19" y="30"/>
                    </a:cubicBezTo>
                    <a:cubicBezTo>
                      <a:pt x="17" y="30"/>
                      <a:pt x="19" y="34"/>
                      <a:pt x="18" y="36"/>
                    </a:cubicBezTo>
                    <a:cubicBezTo>
                      <a:pt x="17" y="37"/>
                      <a:pt x="12" y="36"/>
                      <a:pt x="14" y="40"/>
                    </a:cubicBezTo>
                    <a:cubicBezTo>
                      <a:pt x="10" y="40"/>
                      <a:pt x="6" y="40"/>
                      <a:pt x="3" y="40"/>
                    </a:cubicBezTo>
                    <a:cubicBezTo>
                      <a:pt x="4" y="36"/>
                      <a:pt x="0" y="27"/>
                      <a:pt x="6" y="28"/>
                    </a:cubicBezTo>
                    <a:cubicBezTo>
                      <a:pt x="7" y="23"/>
                      <a:pt x="3" y="25"/>
                      <a:pt x="6" y="21"/>
                    </a:cubicBezTo>
                    <a:cubicBezTo>
                      <a:pt x="8" y="15"/>
                      <a:pt x="1" y="17"/>
                      <a:pt x="3" y="12"/>
                    </a:cubicBezTo>
                    <a:cubicBezTo>
                      <a:pt x="7" y="11"/>
                      <a:pt x="8" y="13"/>
                      <a:pt x="10" y="13"/>
                    </a:cubicBezTo>
                    <a:cubicBezTo>
                      <a:pt x="14" y="13"/>
                      <a:pt x="11" y="4"/>
                      <a:pt x="1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8" name="任意多边形: 形状 67">
                <a:extLst>
                  <a:ext uri="{FF2B5EF4-FFF2-40B4-BE49-F238E27FC236}">
                    <a16:creationId xmlns:a16="http://schemas.microsoft.com/office/drawing/2014/main" id="{F3DF3DC2-B189-4FCC-AF74-CD3D1F74B5BC}"/>
                  </a:ext>
                </a:extLst>
              </p:cNvPr>
              <p:cNvSpPr/>
              <p:nvPr/>
            </p:nvSpPr>
            <p:spPr bwMode="auto">
              <a:xfrm>
                <a:off x="3054722" y="1241347"/>
                <a:ext cx="21012" cy="19611"/>
              </a:xfrm>
              <a:custGeom>
                <a:avLst/>
                <a:gdLst>
                  <a:gd name="T0" fmla="*/ 9 w 10"/>
                  <a:gd name="T1" fmla="*/ 0 h 9"/>
                  <a:gd name="T2" fmla="*/ 7 w 10"/>
                  <a:gd name="T3" fmla="*/ 4 h 9"/>
                  <a:gd name="T4" fmla="*/ 0 w 10"/>
                  <a:gd name="T5" fmla="*/ 6 h 9"/>
                  <a:gd name="T6" fmla="*/ 9 w 10"/>
                  <a:gd name="T7" fmla="*/ 0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9">
                    <a:moveTo>
                      <a:pt x="9" y="0"/>
                    </a:moveTo>
                    <a:cubicBezTo>
                      <a:pt x="10" y="3"/>
                      <a:pt x="8" y="3"/>
                      <a:pt x="7" y="4"/>
                    </a:cubicBezTo>
                    <a:cubicBezTo>
                      <a:pt x="5" y="7"/>
                      <a:pt x="4" y="9"/>
                      <a:pt x="0" y="6"/>
                    </a:cubicBezTo>
                    <a:cubicBezTo>
                      <a:pt x="1" y="2"/>
                      <a:pt x="5" y="1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69" name="任意多边形: 形状 68">
                <a:extLst>
                  <a:ext uri="{FF2B5EF4-FFF2-40B4-BE49-F238E27FC236}">
                    <a16:creationId xmlns:a16="http://schemas.microsoft.com/office/drawing/2014/main" id="{DC18F869-F515-4BA7-BD56-646D2C5D1737}"/>
                  </a:ext>
                </a:extLst>
              </p:cNvPr>
              <p:cNvSpPr/>
              <p:nvPr/>
            </p:nvSpPr>
            <p:spPr bwMode="auto">
              <a:xfrm>
                <a:off x="3560405" y="1258157"/>
                <a:ext cx="25214" cy="37822"/>
              </a:xfrm>
              <a:custGeom>
                <a:avLst/>
                <a:gdLst>
                  <a:gd name="T0" fmla="*/ 3 w 12"/>
                  <a:gd name="T1" fmla="*/ 0 h 18"/>
                  <a:gd name="T2" fmla="*/ 12 w 12"/>
                  <a:gd name="T3" fmla="*/ 13 h 18"/>
                  <a:gd name="T4" fmla="*/ 5 w 12"/>
                  <a:gd name="T5" fmla="*/ 9 h 18"/>
                  <a:gd name="T6" fmla="*/ 3 w 12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2" h="18">
                    <a:moveTo>
                      <a:pt x="3" y="0"/>
                    </a:moveTo>
                    <a:cubicBezTo>
                      <a:pt x="6" y="4"/>
                      <a:pt x="7" y="11"/>
                      <a:pt x="12" y="13"/>
                    </a:cubicBezTo>
                    <a:cubicBezTo>
                      <a:pt x="10" y="18"/>
                      <a:pt x="5" y="12"/>
                      <a:pt x="5" y="9"/>
                    </a:cubicBezTo>
                    <a:cubicBezTo>
                      <a:pt x="0" y="9"/>
                      <a:pt x="0" y="2"/>
                      <a:pt x="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0" name="任意多边形: 形状 69">
                <a:extLst>
                  <a:ext uri="{FF2B5EF4-FFF2-40B4-BE49-F238E27FC236}">
                    <a16:creationId xmlns:a16="http://schemas.microsoft.com/office/drawing/2014/main" id="{CCBE3C39-BD68-4574-B336-2ED7490BCAC1}"/>
                  </a:ext>
                </a:extLst>
              </p:cNvPr>
              <p:cNvSpPr/>
              <p:nvPr/>
            </p:nvSpPr>
            <p:spPr bwMode="auto">
              <a:xfrm>
                <a:off x="7900029" y="1241347"/>
                <a:ext cx="40623" cy="180701"/>
              </a:xfrm>
              <a:custGeom>
                <a:avLst/>
                <a:gdLst>
                  <a:gd name="T0" fmla="*/ 6 w 19"/>
                  <a:gd name="T1" fmla="*/ 10 h 87"/>
                  <a:gd name="T2" fmla="*/ 10 w 19"/>
                  <a:gd name="T3" fmla="*/ 23 h 87"/>
                  <a:gd name="T4" fmla="*/ 12 w 19"/>
                  <a:gd name="T5" fmla="*/ 30 h 87"/>
                  <a:gd name="T6" fmla="*/ 12 w 19"/>
                  <a:gd name="T7" fmla="*/ 36 h 87"/>
                  <a:gd name="T8" fmla="*/ 14 w 19"/>
                  <a:gd name="T9" fmla="*/ 51 h 87"/>
                  <a:gd name="T10" fmla="*/ 19 w 19"/>
                  <a:gd name="T11" fmla="*/ 58 h 87"/>
                  <a:gd name="T12" fmla="*/ 12 w 19"/>
                  <a:gd name="T13" fmla="*/ 60 h 87"/>
                  <a:gd name="T14" fmla="*/ 12 w 19"/>
                  <a:gd name="T15" fmla="*/ 73 h 87"/>
                  <a:gd name="T16" fmla="*/ 8 w 19"/>
                  <a:gd name="T17" fmla="*/ 73 h 87"/>
                  <a:gd name="T18" fmla="*/ 12 w 19"/>
                  <a:gd name="T19" fmla="*/ 86 h 87"/>
                  <a:gd name="T20" fmla="*/ 2 w 19"/>
                  <a:gd name="T21" fmla="*/ 84 h 87"/>
                  <a:gd name="T22" fmla="*/ 4 w 19"/>
                  <a:gd name="T23" fmla="*/ 73 h 87"/>
                  <a:gd name="T24" fmla="*/ 1 w 19"/>
                  <a:gd name="T25" fmla="*/ 67 h 87"/>
                  <a:gd name="T26" fmla="*/ 4 w 19"/>
                  <a:gd name="T27" fmla="*/ 45 h 87"/>
                  <a:gd name="T28" fmla="*/ 1 w 19"/>
                  <a:gd name="T29" fmla="*/ 36 h 87"/>
                  <a:gd name="T30" fmla="*/ 1 w 19"/>
                  <a:gd name="T31" fmla="*/ 23 h 87"/>
                  <a:gd name="T32" fmla="*/ 6 w 19"/>
                  <a:gd name="T33" fmla="*/ 17 h 87"/>
                  <a:gd name="T34" fmla="*/ 8 w 19"/>
                  <a:gd name="T35" fmla="*/ 11 h 87"/>
                  <a:gd name="T36" fmla="*/ 6 w 19"/>
                  <a:gd name="T37" fmla="*/ 10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9" h="87">
                    <a:moveTo>
                      <a:pt x="6" y="10"/>
                    </a:moveTo>
                    <a:cubicBezTo>
                      <a:pt x="14" y="0"/>
                      <a:pt x="7" y="20"/>
                      <a:pt x="10" y="23"/>
                    </a:cubicBezTo>
                    <a:cubicBezTo>
                      <a:pt x="13" y="25"/>
                      <a:pt x="8" y="26"/>
                      <a:pt x="12" y="30"/>
                    </a:cubicBezTo>
                    <a:cubicBezTo>
                      <a:pt x="14" y="33"/>
                      <a:pt x="12" y="33"/>
                      <a:pt x="12" y="36"/>
                    </a:cubicBezTo>
                    <a:cubicBezTo>
                      <a:pt x="12" y="38"/>
                      <a:pt x="15" y="43"/>
                      <a:pt x="14" y="51"/>
                    </a:cubicBezTo>
                    <a:cubicBezTo>
                      <a:pt x="13" y="55"/>
                      <a:pt x="16" y="56"/>
                      <a:pt x="19" y="58"/>
                    </a:cubicBezTo>
                    <a:cubicBezTo>
                      <a:pt x="19" y="62"/>
                      <a:pt x="14" y="62"/>
                      <a:pt x="12" y="60"/>
                    </a:cubicBezTo>
                    <a:cubicBezTo>
                      <a:pt x="11" y="65"/>
                      <a:pt x="11" y="73"/>
                      <a:pt x="12" y="73"/>
                    </a:cubicBezTo>
                    <a:cubicBezTo>
                      <a:pt x="12" y="73"/>
                      <a:pt x="8" y="73"/>
                      <a:pt x="8" y="73"/>
                    </a:cubicBezTo>
                    <a:cubicBezTo>
                      <a:pt x="8" y="77"/>
                      <a:pt x="13" y="78"/>
                      <a:pt x="12" y="86"/>
                    </a:cubicBezTo>
                    <a:cubicBezTo>
                      <a:pt x="6" y="84"/>
                      <a:pt x="7" y="87"/>
                      <a:pt x="2" y="84"/>
                    </a:cubicBezTo>
                    <a:cubicBezTo>
                      <a:pt x="6" y="79"/>
                      <a:pt x="2" y="78"/>
                      <a:pt x="4" y="73"/>
                    </a:cubicBezTo>
                    <a:cubicBezTo>
                      <a:pt x="4" y="70"/>
                      <a:pt x="3" y="68"/>
                      <a:pt x="1" y="67"/>
                    </a:cubicBezTo>
                    <a:cubicBezTo>
                      <a:pt x="2" y="63"/>
                      <a:pt x="6" y="55"/>
                      <a:pt x="4" y="45"/>
                    </a:cubicBezTo>
                    <a:cubicBezTo>
                      <a:pt x="4" y="41"/>
                      <a:pt x="1" y="39"/>
                      <a:pt x="1" y="36"/>
                    </a:cubicBezTo>
                    <a:cubicBezTo>
                      <a:pt x="0" y="30"/>
                      <a:pt x="5" y="26"/>
                      <a:pt x="1" y="23"/>
                    </a:cubicBezTo>
                    <a:cubicBezTo>
                      <a:pt x="2" y="20"/>
                      <a:pt x="3" y="18"/>
                      <a:pt x="6" y="17"/>
                    </a:cubicBezTo>
                    <a:cubicBezTo>
                      <a:pt x="6" y="14"/>
                      <a:pt x="6" y="12"/>
                      <a:pt x="8" y="11"/>
                    </a:cubicBezTo>
                    <a:cubicBezTo>
                      <a:pt x="8" y="10"/>
                      <a:pt x="7" y="10"/>
                      <a:pt x="6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1" name="任意多边形: 形状 70">
                <a:extLst>
                  <a:ext uri="{FF2B5EF4-FFF2-40B4-BE49-F238E27FC236}">
                    <a16:creationId xmlns:a16="http://schemas.microsoft.com/office/drawing/2014/main" id="{35881F4E-C14B-4A19-ABD1-83ADB86FB972}"/>
                  </a:ext>
                </a:extLst>
              </p:cNvPr>
              <p:cNvSpPr/>
              <p:nvPr/>
            </p:nvSpPr>
            <p:spPr bwMode="auto">
              <a:xfrm>
                <a:off x="3023905" y="1260958"/>
                <a:ext cx="9806" cy="18211"/>
              </a:xfrm>
              <a:custGeom>
                <a:avLst/>
                <a:gdLst>
                  <a:gd name="T0" fmla="*/ 2 w 5"/>
                  <a:gd name="T1" fmla="*/ 1 h 9"/>
                  <a:gd name="T2" fmla="*/ 0 w 5"/>
                  <a:gd name="T3" fmla="*/ 6 h 9"/>
                  <a:gd name="T4" fmla="*/ 0 w 5"/>
                  <a:gd name="T5" fmla="*/ 2 h 9"/>
                  <a:gd name="T6" fmla="*/ 2 w 5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" h="9">
                    <a:moveTo>
                      <a:pt x="2" y="1"/>
                    </a:moveTo>
                    <a:cubicBezTo>
                      <a:pt x="5" y="0"/>
                      <a:pt x="4" y="9"/>
                      <a:pt x="0" y="6"/>
                    </a:cubicBezTo>
                    <a:cubicBezTo>
                      <a:pt x="0" y="5"/>
                      <a:pt x="0" y="4"/>
                      <a:pt x="0" y="2"/>
                    </a:cubicBezTo>
                    <a:cubicBezTo>
                      <a:pt x="1" y="3"/>
                      <a:pt x="1" y="2"/>
                      <a:pt x="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2" name="任意多边形: 形状 71">
                <a:extLst>
                  <a:ext uri="{FF2B5EF4-FFF2-40B4-BE49-F238E27FC236}">
                    <a16:creationId xmlns:a16="http://schemas.microsoft.com/office/drawing/2014/main" id="{302AD753-0BC5-46CC-B423-5D9307276108}"/>
                  </a:ext>
                </a:extLst>
              </p:cNvPr>
              <p:cNvSpPr/>
              <p:nvPr/>
            </p:nvSpPr>
            <p:spPr bwMode="auto">
              <a:xfrm>
                <a:off x="4717451" y="1322593"/>
                <a:ext cx="116265" cy="98055"/>
              </a:xfrm>
              <a:custGeom>
                <a:avLst/>
                <a:gdLst>
                  <a:gd name="T0" fmla="*/ 25 w 56"/>
                  <a:gd name="T1" fmla="*/ 0 h 47"/>
                  <a:gd name="T2" fmla="*/ 30 w 56"/>
                  <a:gd name="T3" fmla="*/ 4 h 47"/>
                  <a:gd name="T4" fmla="*/ 28 w 56"/>
                  <a:gd name="T5" fmla="*/ 12 h 47"/>
                  <a:gd name="T6" fmla="*/ 36 w 56"/>
                  <a:gd name="T7" fmla="*/ 15 h 47"/>
                  <a:gd name="T8" fmla="*/ 47 w 56"/>
                  <a:gd name="T9" fmla="*/ 19 h 47"/>
                  <a:gd name="T10" fmla="*/ 45 w 56"/>
                  <a:gd name="T11" fmla="*/ 26 h 47"/>
                  <a:gd name="T12" fmla="*/ 51 w 56"/>
                  <a:gd name="T13" fmla="*/ 28 h 47"/>
                  <a:gd name="T14" fmla="*/ 54 w 56"/>
                  <a:gd name="T15" fmla="*/ 34 h 47"/>
                  <a:gd name="T16" fmla="*/ 51 w 56"/>
                  <a:gd name="T17" fmla="*/ 43 h 47"/>
                  <a:gd name="T18" fmla="*/ 49 w 56"/>
                  <a:gd name="T19" fmla="*/ 40 h 47"/>
                  <a:gd name="T20" fmla="*/ 38 w 56"/>
                  <a:gd name="T21" fmla="*/ 40 h 47"/>
                  <a:gd name="T22" fmla="*/ 30 w 56"/>
                  <a:gd name="T23" fmla="*/ 47 h 47"/>
                  <a:gd name="T24" fmla="*/ 26 w 56"/>
                  <a:gd name="T25" fmla="*/ 41 h 47"/>
                  <a:gd name="T26" fmla="*/ 21 w 56"/>
                  <a:gd name="T27" fmla="*/ 40 h 47"/>
                  <a:gd name="T28" fmla="*/ 13 w 56"/>
                  <a:gd name="T29" fmla="*/ 34 h 47"/>
                  <a:gd name="T30" fmla="*/ 0 w 56"/>
                  <a:gd name="T31" fmla="*/ 36 h 47"/>
                  <a:gd name="T32" fmla="*/ 2 w 56"/>
                  <a:gd name="T33" fmla="*/ 28 h 47"/>
                  <a:gd name="T34" fmla="*/ 10 w 56"/>
                  <a:gd name="T35" fmla="*/ 25 h 47"/>
                  <a:gd name="T36" fmla="*/ 13 w 56"/>
                  <a:gd name="T37" fmla="*/ 17 h 47"/>
                  <a:gd name="T38" fmla="*/ 15 w 56"/>
                  <a:gd name="T39" fmla="*/ 8 h 47"/>
                  <a:gd name="T40" fmla="*/ 19 w 56"/>
                  <a:gd name="T41" fmla="*/ 8 h 47"/>
                  <a:gd name="T42" fmla="*/ 19 w 56"/>
                  <a:gd name="T43" fmla="*/ 4 h 47"/>
                  <a:gd name="T44" fmla="*/ 25 w 56"/>
                  <a:gd name="T4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56" h="47">
                    <a:moveTo>
                      <a:pt x="25" y="0"/>
                    </a:moveTo>
                    <a:cubicBezTo>
                      <a:pt x="27" y="1"/>
                      <a:pt x="27" y="4"/>
                      <a:pt x="30" y="4"/>
                    </a:cubicBezTo>
                    <a:cubicBezTo>
                      <a:pt x="29" y="8"/>
                      <a:pt x="24" y="8"/>
                      <a:pt x="28" y="12"/>
                    </a:cubicBezTo>
                    <a:cubicBezTo>
                      <a:pt x="27" y="16"/>
                      <a:pt x="33" y="14"/>
                      <a:pt x="36" y="15"/>
                    </a:cubicBezTo>
                    <a:cubicBezTo>
                      <a:pt x="37" y="16"/>
                      <a:pt x="40" y="22"/>
                      <a:pt x="47" y="19"/>
                    </a:cubicBezTo>
                    <a:cubicBezTo>
                      <a:pt x="47" y="24"/>
                      <a:pt x="50" y="25"/>
                      <a:pt x="45" y="26"/>
                    </a:cubicBezTo>
                    <a:cubicBezTo>
                      <a:pt x="45" y="29"/>
                      <a:pt x="49" y="27"/>
                      <a:pt x="51" y="28"/>
                    </a:cubicBezTo>
                    <a:cubicBezTo>
                      <a:pt x="52" y="30"/>
                      <a:pt x="49" y="36"/>
                      <a:pt x="54" y="34"/>
                    </a:cubicBezTo>
                    <a:cubicBezTo>
                      <a:pt x="56" y="40"/>
                      <a:pt x="49" y="38"/>
                      <a:pt x="51" y="43"/>
                    </a:cubicBezTo>
                    <a:cubicBezTo>
                      <a:pt x="49" y="43"/>
                      <a:pt x="49" y="41"/>
                      <a:pt x="49" y="40"/>
                    </a:cubicBezTo>
                    <a:cubicBezTo>
                      <a:pt x="42" y="40"/>
                      <a:pt x="43" y="42"/>
                      <a:pt x="38" y="40"/>
                    </a:cubicBezTo>
                    <a:cubicBezTo>
                      <a:pt x="35" y="42"/>
                      <a:pt x="30" y="42"/>
                      <a:pt x="30" y="47"/>
                    </a:cubicBezTo>
                    <a:cubicBezTo>
                      <a:pt x="27" y="47"/>
                      <a:pt x="28" y="43"/>
                      <a:pt x="26" y="41"/>
                    </a:cubicBezTo>
                    <a:cubicBezTo>
                      <a:pt x="25" y="40"/>
                      <a:pt x="22" y="41"/>
                      <a:pt x="21" y="40"/>
                    </a:cubicBezTo>
                    <a:cubicBezTo>
                      <a:pt x="19" y="38"/>
                      <a:pt x="18" y="35"/>
                      <a:pt x="13" y="34"/>
                    </a:cubicBezTo>
                    <a:cubicBezTo>
                      <a:pt x="7" y="33"/>
                      <a:pt x="7" y="37"/>
                      <a:pt x="0" y="36"/>
                    </a:cubicBezTo>
                    <a:cubicBezTo>
                      <a:pt x="2" y="34"/>
                      <a:pt x="2" y="32"/>
                      <a:pt x="2" y="28"/>
                    </a:cubicBezTo>
                    <a:cubicBezTo>
                      <a:pt x="8" y="31"/>
                      <a:pt x="4" y="22"/>
                      <a:pt x="10" y="25"/>
                    </a:cubicBezTo>
                    <a:cubicBezTo>
                      <a:pt x="7" y="20"/>
                      <a:pt x="12" y="19"/>
                      <a:pt x="13" y="17"/>
                    </a:cubicBezTo>
                    <a:cubicBezTo>
                      <a:pt x="14" y="15"/>
                      <a:pt x="13" y="11"/>
                      <a:pt x="15" y="8"/>
                    </a:cubicBezTo>
                    <a:cubicBezTo>
                      <a:pt x="16" y="7"/>
                      <a:pt x="18" y="8"/>
                      <a:pt x="19" y="8"/>
                    </a:cubicBezTo>
                    <a:cubicBezTo>
                      <a:pt x="20" y="7"/>
                      <a:pt x="18" y="5"/>
                      <a:pt x="19" y="4"/>
                    </a:cubicBezTo>
                    <a:cubicBezTo>
                      <a:pt x="21" y="3"/>
                      <a:pt x="25" y="4"/>
                      <a:pt x="25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3" name="任意多边形: 形状 72">
                <a:extLst>
                  <a:ext uri="{FF2B5EF4-FFF2-40B4-BE49-F238E27FC236}">
                    <a16:creationId xmlns:a16="http://schemas.microsoft.com/office/drawing/2014/main" id="{1BFFB2B7-E674-4610-A7D5-DB1020141221}"/>
                  </a:ext>
                </a:extLst>
              </p:cNvPr>
              <p:cNvSpPr/>
              <p:nvPr/>
            </p:nvSpPr>
            <p:spPr bwMode="auto">
              <a:xfrm>
                <a:off x="4654415" y="1353410"/>
                <a:ext cx="29417" cy="25214"/>
              </a:xfrm>
              <a:custGeom>
                <a:avLst/>
                <a:gdLst>
                  <a:gd name="T0" fmla="*/ 0 w 14"/>
                  <a:gd name="T1" fmla="*/ 0 h 12"/>
                  <a:gd name="T2" fmla="*/ 14 w 14"/>
                  <a:gd name="T3" fmla="*/ 6 h 12"/>
                  <a:gd name="T4" fmla="*/ 0 w 14"/>
                  <a:gd name="T5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0" y="0"/>
                    </a:moveTo>
                    <a:cubicBezTo>
                      <a:pt x="7" y="0"/>
                      <a:pt x="7" y="6"/>
                      <a:pt x="14" y="6"/>
                    </a:cubicBezTo>
                    <a:cubicBezTo>
                      <a:pt x="12" y="12"/>
                      <a:pt x="1" y="6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4" name="任意多边形: 形状 73">
                <a:extLst>
                  <a:ext uri="{FF2B5EF4-FFF2-40B4-BE49-F238E27FC236}">
                    <a16:creationId xmlns:a16="http://schemas.microsoft.com/office/drawing/2014/main" id="{FE949AA3-A845-48C3-932E-2E6C21292A86}"/>
                  </a:ext>
                </a:extLst>
              </p:cNvPr>
              <p:cNvSpPr/>
              <p:nvPr/>
            </p:nvSpPr>
            <p:spPr bwMode="auto">
              <a:xfrm>
                <a:off x="7886021" y="1451465"/>
                <a:ext cx="81245" cy="58833"/>
              </a:xfrm>
              <a:custGeom>
                <a:avLst/>
                <a:gdLst>
                  <a:gd name="T0" fmla="*/ 11 w 39"/>
                  <a:gd name="T1" fmla="*/ 0 h 28"/>
                  <a:gd name="T2" fmla="*/ 13 w 39"/>
                  <a:gd name="T3" fmla="*/ 2 h 28"/>
                  <a:gd name="T4" fmla="*/ 21 w 39"/>
                  <a:gd name="T5" fmla="*/ 9 h 28"/>
                  <a:gd name="T6" fmla="*/ 39 w 39"/>
                  <a:gd name="T7" fmla="*/ 7 h 28"/>
                  <a:gd name="T8" fmla="*/ 32 w 39"/>
                  <a:gd name="T9" fmla="*/ 19 h 28"/>
                  <a:gd name="T10" fmla="*/ 26 w 39"/>
                  <a:gd name="T11" fmla="*/ 17 h 28"/>
                  <a:gd name="T12" fmla="*/ 19 w 39"/>
                  <a:gd name="T13" fmla="*/ 20 h 28"/>
                  <a:gd name="T14" fmla="*/ 17 w 39"/>
                  <a:gd name="T15" fmla="*/ 26 h 28"/>
                  <a:gd name="T16" fmla="*/ 8 w 39"/>
                  <a:gd name="T17" fmla="*/ 22 h 28"/>
                  <a:gd name="T18" fmla="*/ 11 w 39"/>
                  <a:gd name="T19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9" h="28">
                    <a:moveTo>
                      <a:pt x="11" y="0"/>
                    </a:moveTo>
                    <a:cubicBezTo>
                      <a:pt x="13" y="0"/>
                      <a:pt x="13" y="1"/>
                      <a:pt x="13" y="2"/>
                    </a:cubicBezTo>
                    <a:cubicBezTo>
                      <a:pt x="13" y="7"/>
                      <a:pt x="20" y="4"/>
                      <a:pt x="21" y="9"/>
                    </a:cubicBezTo>
                    <a:cubicBezTo>
                      <a:pt x="27" y="7"/>
                      <a:pt x="32" y="10"/>
                      <a:pt x="39" y="7"/>
                    </a:cubicBezTo>
                    <a:cubicBezTo>
                      <a:pt x="39" y="13"/>
                      <a:pt x="32" y="13"/>
                      <a:pt x="32" y="19"/>
                    </a:cubicBezTo>
                    <a:cubicBezTo>
                      <a:pt x="29" y="19"/>
                      <a:pt x="29" y="17"/>
                      <a:pt x="26" y="17"/>
                    </a:cubicBezTo>
                    <a:cubicBezTo>
                      <a:pt x="22" y="16"/>
                      <a:pt x="20" y="25"/>
                      <a:pt x="19" y="20"/>
                    </a:cubicBezTo>
                    <a:cubicBezTo>
                      <a:pt x="17" y="21"/>
                      <a:pt x="17" y="24"/>
                      <a:pt x="17" y="26"/>
                    </a:cubicBezTo>
                    <a:cubicBezTo>
                      <a:pt x="12" y="28"/>
                      <a:pt x="12" y="15"/>
                      <a:pt x="8" y="22"/>
                    </a:cubicBezTo>
                    <a:cubicBezTo>
                      <a:pt x="0" y="17"/>
                      <a:pt x="6" y="3"/>
                      <a:pt x="1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5" name="任意多边形: 形状 74">
                <a:extLst>
                  <a:ext uri="{FF2B5EF4-FFF2-40B4-BE49-F238E27FC236}">
                    <a16:creationId xmlns:a16="http://schemas.microsoft.com/office/drawing/2014/main" id="{7F3BE6B4-CC4E-444F-89D1-34D83FD9A140}"/>
                  </a:ext>
                </a:extLst>
              </p:cNvPr>
              <p:cNvSpPr/>
              <p:nvPr/>
            </p:nvSpPr>
            <p:spPr bwMode="auto">
              <a:xfrm>
                <a:off x="7743141" y="1520103"/>
                <a:ext cx="156888" cy="137277"/>
              </a:xfrm>
              <a:custGeom>
                <a:avLst/>
                <a:gdLst>
                  <a:gd name="T0" fmla="*/ 67 w 76"/>
                  <a:gd name="T1" fmla="*/ 0 h 66"/>
                  <a:gd name="T2" fmla="*/ 73 w 76"/>
                  <a:gd name="T3" fmla="*/ 2 h 66"/>
                  <a:gd name="T4" fmla="*/ 73 w 76"/>
                  <a:gd name="T5" fmla="*/ 30 h 66"/>
                  <a:gd name="T6" fmla="*/ 71 w 76"/>
                  <a:gd name="T7" fmla="*/ 27 h 66"/>
                  <a:gd name="T8" fmla="*/ 71 w 76"/>
                  <a:gd name="T9" fmla="*/ 38 h 66"/>
                  <a:gd name="T10" fmla="*/ 67 w 76"/>
                  <a:gd name="T11" fmla="*/ 36 h 66"/>
                  <a:gd name="T12" fmla="*/ 67 w 76"/>
                  <a:gd name="T13" fmla="*/ 55 h 66"/>
                  <a:gd name="T14" fmla="*/ 64 w 76"/>
                  <a:gd name="T15" fmla="*/ 53 h 66"/>
                  <a:gd name="T16" fmla="*/ 58 w 76"/>
                  <a:gd name="T17" fmla="*/ 56 h 66"/>
                  <a:gd name="T18" fmla="*/ 54 w 76"/>
                  <a:gd name="T19" fmla="*/ 55 h 66"/>
                  <a:gd name="T20" fmla="*/ 47 w 76"/>
                  <a:gd name="T21" fmla="*/ 56 h 66"/>
                  <a:gd name="T22" fmla="*/ 37 w 76"/>
                  <a:gd name="T23" fmla="*/ 58 h 66"/>
                  <a:gd name="T24" fmla="*/ 34 w 76"/>
                  <a:gd name="T25" fmla="*/ 66 h 66"/>
                  <a:gd name="T26" fmla="*/ 26 w 76"/>
                  <a:gd name="T27" fmla="*/ 56 h 66"/>
                  <a:gd name="T28" fmla="*/ 23 w 76"/>
                  <a:gd name="T29" fmla="*/ 60 h 66"/>
                  <a:gd name="T30" fmla="*/ 19 w 76"/>
                  <a:gd name="T31" fmla="*/ 58 h 66"/>
                  <a:gd name="T32" fmla="*/ 0 w 76"/>
                  <a:gd name="T33" fmla="*/ 62 h 66"/>
                  <a:gd name="T34" fmla="*/ 2 w 76"/>
                  <a:gd name="T35" fmla="*/ 55 h 66"/>
                  <a:gd name="T36" fmla="*/ 6 w 76"/>
                  <a:gd name="T37" fmla="*/ 56 h 66"/>
                  <a:gd name="T38" fmla="*/ 8 w 76"/>
                  <a:gd name="T39" fmla="*/ 53 h 66"/>
                  <a:gd name="T40" fmla="*/ 34 w 76"/>
                  <a:gd name="T41" fmla="*/ 51 h 66"/>
                  <a:gd name="T42" fmla="*/ 37 w 76"/>
                  <a:gd name="T43" fmla="*/ 38 h 66"/>
                  <a:gd name="T44" fmla="*/ 41 w 76"/>
                  <a:gd name="T45" fmla="*/ 34 h 66"/>
                  <a:gd name="T46" fmla="*/ 52 w 76"/>
                  <a:gd name="T47" fmla="*/ 36 h 66"/>
                  <a:gd name="T48" fmla="*/ 52 w 76"/>
                  <a:gd name="T49" fmla="*/ 28 h 66"/>
                  <a:gd name="T50" fmla="*/ 54 w 76"/>
                  <a:gd name="T51" fmla="*/ 32 h 66"/>
                  <a:gd name="T52" fmla="*/ 56 w 76"/>
                  <a:gd name="T53" fmla="*/ 23 h 66"/>
                  <a:gd name="T54" fmla="*/ 62 w 76"/>
                  <a:gd name="T55" fmla="*/ 8 h 66"/>
                  <a:gd name="T56" fmla="*/ 67 w 76"/>
                  <a:gd name="T57" fmla="*/ 0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76" h="66">
                    <a:moveTo>
                      <a:pt x="67" y="0"/>
                    </a:moveTo>
                    <a:cubicBezTo>
                      <a:pt x="70" y="0"/>
                      <a:pt x="70" y="2"/>
                      <a:pt x="73" y="2"/>
                    </a:cubicBezTo>
                    <a:cubicBezTo>
                      <a:pt x="73" y="16"/>
                      <a:pt x="76" y="22"/>
                      <a:pt x="73" y="30"/>
                    </a:cubicBezTo>
                    <a:cubicBezTo>
                      <a:pt x="71" y="30"/>
                      <a:pt x="71" y="28"/>
                      <a:pt x="71" y="27"/>
                    </a:cubicBezTo>
                    <a:cubicBezTo>
                      <a:pt x="66" y="28"/>
                      <a:pt x="71" y="34"/>
                      <a:pt x="71" y="38"/>
                    </a:cubicBezTo>
                    <a:cubicBezTo>
                      <a:pt x="69" y="37"/>
                      <a:pt x="69" y="36"/>
                      <a:pt x="67" y="36"/>
                    </a:cubicBezTo>
                    <a:cubicBezTo>
                      <a:pt x="67" y="42"/>
                      <a:pt x="67" y="48"/>
                      <a:pt x="67" y="55"/>
                    </a:cubicBezTo>
                    <a:cubicBezTo>
                      <a:pt x="66" y="54"/>
                      <a:pt x="65" y="53"/>
                      <a:pt x="64" y="53"/>
                    </a:cubicBezTo>
                    <a:cubicBezTo>
                      <a:pt x="60" y="51"/>
                      <a:pt x="59" y="56"/>
                      <a:pt x="58" y="56"/>
                    </a:cubicBezTo>
                    <a:cubicBezTo>
                      <a:pt x="57" y="57"/>
                      <a:pt x="56" y="55"/>
                      <a:pt x="54" y="55"/>
                    </a:cubicBezTo>
                    <a:cubicBezTo>
                      <a:pt x="54" y="54"/>
                      <a:pt x="49" y="56"/>
                      <a:pt x="47" y="56"/>
                    </a:cubicBezTo>
                    <a:cubicBezTo>
                      <a:pt x="46" y="57"/>
                      <a:pt x="42" y="59"/>
                      <a:pt x="37" y="58"/>
                    </a:cubicBezTo>
                    <a:cubicBezTo>
                      <a:pt x="34" y="58"/>
                      <a:pt x="36" y="65"/>
                      <a:pt x="34" y="66"/>
                    </a:cubicBezTo>
                    <a:cubicBezTo>
                      <a:pt x="30" y="64"/>
                      <a:pt x="26" y="62"/>
                      <a:pt x="26" y="56"/>
                    </a:cubicBezTo>
                    <a:cubicBezTo>
                      <a:pt x="23" y="54"/>
                      <a:pt x="23" y="60"/>
                      <a:pt x="23" y="60"/>
                    </a:cubicBezTo>
                    <a:cubicBezTo>
                      <a:pt x="20" y="61"/>
                      <a:pt x="19" y="58"/>
                      <a:pt x="19" y="58"/>
                    </a:cubicBezTo>
                    <a:cubicBezTo>
                      <a:pt x="12" y="59"/>
                      <a:pt x="5" y="65"/>
                      <a:pt x="0" y="62"/>
                    </a:cubicBezTo>
                    <a:cubicBezTo>
                      <a:pt x="2" y="60"/>
                      <a:pt x="2" y="58"/>
                      <a:pt x="2" y="55"/>
                    </a:cubicBezTo>
                    <a:cubicBezTo>
                      <a:pt x="4" y="53"/>
                      <a:pt x="6" y="56"/>
                      <a:pt x="6" y="56"/>
                    </a:cubicBezTo>
                    <a:cubicBezTo>
                      <a:pt x="8" y="56"/>
                      <a:pt x="7" y="53"/>
                      <a:pt x="8" y="53"/>
                    </a:cubicBezTo>
                    <a:cubicBezTo>
                      <a:pt x="14" y="52"/>
                      <a:pt x="26" y="54"/>
                      <a:pt x="34" y="51"/>
                    </a:cubicBezTo>
                    <a:cubicBezTo>
                      <a:pt x="31" y="42"/>
                      <a:pt x="39" y="45"/>
                      <a:pt x="37" y="38"/>
                    </a:cubicBezTo>
                    <a:cubicBezTo>
                      <a:pt x="41" y="40"/>
                      <a:pt x="42" y="39"/>
                      <a:pt x="41" y="34"/>
                    </a:cubicBezTo>
                    <a:cubicBezTo>
                      <a:pt x="45" y="38"/>
                      <a:pt x="49" y="31"/>
                      <a:pt x="52" y="36"/>
                    </a:cubicBezTo>
                    <a:cubicBezTo>
                      <a:pt x="53" y="35"/>
                      <a:pt x="51" y="29"/>
                      <a:pt x="52" y="28"/>
                    </a:cubicBezTo>
                    <a:cubicBezTo>
                      <a:pt x="54" y="27"/>
                      <a:pt x="54" y="32"/>
                      <a:pt x="54" y="32"/>
                    </a:cubicBezTo>
                    <a:cubicBezTo>
                      <a:pt x="56" y="33"/>
                      <a:pt x="60" y="31"/>
                      <a:pt x="56" y="23"/>
                    </a:cubicBezTo>
                    <a:cubicBezTo>
                      <a:pt x="63" y="21"/>
                      <a:pt x="59" y="13"/>
                      <a:pt x="62" y="8"/>
                    </a:cubicBezTo>
                    <a:cubicBezTo>
                      <a:pt x="63" y="5"/>
                      <a:pt x="70" y="5"/>
                      <a:pt x="67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6" name="任意多边形: 形状 75">
                <a:extLst>
                  <a:ext uri="{FF2B5EF4-FFF2-40B4-BE49-F238E27FC236}">
                    <a16:creationId xmlns:a16="http://schemas.microsoft.com/office/drawing/2014/main" id="{E87B46D7-4D8E-4A03-9A68-DD75694DC8E4}"/>
                  </a:ext>
                </a:extLst>
              </p:cNvPr>
              <p:cNvSpPr/>
              <p:nvPr/>
            </p:nvSpPr>
            <p:spPr bwMode="auto">
              <a:xfrm>
                <a:off x="5794652" y="1528507"/>
                <a:ext cx="28016" cy="30817"/>
              </a:xfrm>
              <a:custGeom>
                <a:avLst/>
                <a:gdLst>
                  <a:gd name="T0" fmla="*/ 4 w 13"/>
                  <a:gd name="T1" fmla="*/ 0 h 15"/>
                  <a:gd name="T2" fmla="*/ 0 w 13"/>
                  <a:gd name="T3" fmla="*/ 13 h 15"/>
                  <a:gd name="T4" fmla="*/ 4 w 13"/>
                  <a:gd name="T5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3" h="15">
                    <a:moveTo>
                      <a:pt x="4" y="0"/>
                    </a:moveTo>
                    <a:cubicBezTo>
                      <a:pt x="13" y="0"/>
                      <a:pt x="10" y="15"/>
                      <a:pt x="0" y="13"/>
                    </a:cubicBezTo>
                    <a:cubicBezTo>
                      <a:pt x="4" y="12"/>
                      <a:pt x="0" y="1"/>
                      <a:pt x="4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7" name="任意多边形: 形状 76">
                <a:extLst>
                  <a:ext uri="{FF2B5EF4-FFF2-40B4-BE49-F238E27FC236}">
                    <a16:creationId xmlns:a16="http://schemas.microsoft.com/office/drawing/2014/main" id="{09B49600-1CF4-45D8-8463-5197F9C4C9FF}"/>
                  </a:ext>
                </a:extLst>
              </p:cNvPr>
              <p:cNvSpPr/>
              <p:nvPr/>
            </p:nvSpPr>
            <p:spPr bwMode="auto">
              <a:xfrm>
                <a:off x="5861890" y="1571932"/>
                <a:ext cx="39222" cy="29417"/>
              </a:xfrm>
              <a:custGeom>
                <a:avLst/>
                <a:gdLst>
                  <a:gd name="T0" fmla="*/ 15 w 19"/>
                  <a:gd name="T1" fmla="*/ 3 h 14"/>
                  <a:gd name="T2" fmla="*/ 19 w 19"/>
                  <a:gd name="T3" fmla="*/ 13 h 14"/>
                  <a:gd name="T4" fmla="*/ 9 w 19"/>
                  <a:gd name="T5" fmla="*/ 13 h 14"/>
                  <a:gd name="T6" fmla="*/ 9 w 19"/>
                  <a:gd name="T7" fmla="*/ 11 h 14"/>
                  <a:gd name="T8" fmla="*/ 2 w 19"/>
                  <a:gd name="T9" fmla="*/ 9 h 14"/>
                  <a:gd name="T10" fmla="*/ 15 w 19"/>
                  <a:gd name="T11" fmla="*/ 3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14">
                    <a:moveTo>
                      <a:pt x="15" y="3"/>
                    </a:moveTo>
                    <a:cubicBezTo>
                      <a:pt x="18" y="5"/>
                      <a:pt x="19" y="8"/>
                      <a:pt x="19" y="13"/>
                    </a:cubicBezTo>
                    <a:cubicBezTo>
                      <a:pt x="17" y="12"/>
                      <a:pt x="11" y="14"/>
                      <a:pt x="9" y="13"/>
                    </a:cubicBezTo>
                    <a:cubicBezTo>
                      <a:pt x="9" y="13"/>
                      <a:pt x="10" y="11"/>
                      <a:pt x="9" y="11"/>
                    </a:cubicBezTo>
                    <a:cubicBezTo>
                      <a:pt x="7" y="10"/>
                      <a:pt x="2" y="12"/>
                      <a:pt x="2" y="9"/>
                    </a:cubicBezTo>
                    <a:cubicBezTo>
                      <a:pt x="0" y="0"/>
                      <a:pt x="15" y="9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8" name="任意多边形: 形状 77">
                <a:extLst>
                  <a:ext uri="{FF2B5EF4-FFF2-40B4-BE49-F238E27FC236}">
                    <a16:creationId xmlns:a16="http://schemas.microsoft.com/office/drawing/2014/main" id="{3B62B532-63DE-49A9-8D77-554C1E1915DC}"/>
                  </a:ext>
                </a:extLst>
              </p:cNvPr>
              <p:cNvSpPr/>
              <p:nvPr/>
            </p:nvSpPr>
            <p:spPr bwMode="auto">
              <a:xfrm>
                <a:off x="6175665" y="1627963"/>
                <a:ext cx="29417" cy="15409"/>
              </a:xfrm>
              <a:custGeom>
                <a:avLst/>
                <a:gdLst>
                  <a:gd name="T0" fmla="*/ 0 w 14"/>
                  <a:gd name="T1" fmla="*/ 6 h 7"/>
                  <a:gd name="T2" fmla="*/ 8 w 14"/>
                  <a:gd name="T3" fmla="*/ 1 h 7"/>
                  <a:gd name="T4" fmla="*/ 6 w 14"/>
                  <a:gd name="T5" fmla="*/ 3 h 7"/>
                  <a:gd name="T6" fmla="*/ 0 w 14"/>
                  <a:gd name="T7" fmla="*/ 6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7">
                    <a:moveTo>
                      <a:pt x="0" y="6"/>
                    </a:moveTo>
                    <a:cubicBezTo>
                      <a:pt x="0" y="1"/>
                      <a:pt x="3" y="0"/>
                      <a:pt x="8" y="1"/>
                    </a:cubicBezTo>
                    <a:cubicBezTo>
                      <a:pt x="14" y="0"/>
                      <a:pt x="10" y="4"/>
                      <a:pt x="6" y="3"/>
                    </a:cubicBezTo>
                    <a:cubicBezTo>
                      <a:pt x="4" y="4"/>
                      <a:pt x="4" y="7"/>
                      <a:pt x="0" y="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79" name="任意多边形: 形状 78">
                <a:extLst>
                  <a:ext uri="{FF2B5EF4-FFF2-40B4-BE49-F238E27FC236}">
                    <a16:creationId xmlns:a16="http://schemas.microsoft.com/office/drawing/2014/main" id="{3CB17618-8F69-4EF6-8355-A534C8780DF0}"/>
                  </a:ext>
                </a:extLst>
              </p:cNvPr>
              <p:cNvSpPr/>
              <p:nvPr/>
            </p:nvSpPr>
            <p:spPr bwMode="auto">
              <a:xfrm>
                <a:off x="7757148" y="1651776"/>
                <a:ext cx="29417" cy="18211"/>
              </a:xfrm>
              <a:custGeom>
                <a:avLst/>
                <a:gdLst>
                  <a:gd name="T0" fmla="*/ 12 w 14"/>
                  <a:gd name="T1" fmla="*/ 1 h 9"/>
                  <a:gd name="T2" fmla="*/ 8 w 14"/>
                  <a:gd name="T3" fmla="*/ 8 h 9"/>
                  <a:gd name="T4" fmla="*/ 1 w 14"/>
                  <a:gd name="T5" fmla="*/ 3 h 9"/>
                  <a:gd name="T6" fmla="*/ 12 w 14"/>
                  <a:gd name="T7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4" h="9">
                    <a:moveTo>
                      <a:pt x="12" y="1"/>
                    </a:moveTo>
                    <a:cubicBezTo>
                      <a:pt x="14" y="7"/>
                      <a:pt x="6" y="2"/>
                      <a:pt x="8" y="8"/>
                    </a:cubicBezTo>
                    <a:cubicBezTo>
                      <a:pt x="3" y="9"/>
                      <a:pt x="0" y="8"/>
                      <a:pt x="1" y="3"/>
                    </a:cubicBezTo>
                    <a:cubicBezTo>
                      <a:pt x="5" y="8"/>
                      <a:pt x="6" y="0"/>
                      <a:pt x="12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0" name="任意多边形: 形状 79">
                <a:extLst>
                  <a:ext uri="{FF2B5EF4-FFF2-40B4-BE49-F238E27FC236}">
                    <a16:creationId xmlns:a16="http://schemas.microsoft.com/office/drawing/2014/main" id="{EE45CBD6-6A04-40E2-96C3-C254D06DA4B7}"/>
                  </a:ext>
                </a:extLst>
              </p:cNvPr>
              <p:cNvSpPr/>
              <p:nvPr/>
            </p:nvSpPr>
            <p:spPr bwMode="auto">
              <a:xfrm>
                <a:off x="7706721" y="1653177"/>
                <a:ext cx="42023" cy="43425"/>
              </a:xfrm>
              <a:custGeom>
                <a:avLst/>
                <a:gdLst>
                  <a:gd name="T0" fmla="*/ 17 w 20"/>
                  <a:gd name="T1" fmla="*/ 4 h 21"/>
                  <a:gd name="T2" fmla="*/ 17 w 20"/>
                  <a:gd name="T3" fmla="*/ 17 h 21"/>
                  <a:gd name="T4" fmla="*/ 6 w 20"/>
                  <a:gd name="T5" fmla="*/ 18 h 21"/>
                  <a:gd name="T6" fmla="*/ 0 w 20"/>
                  <a:gd name="T7" fmla="*/ 11 h 21"/>
                  <a:gd name="T8" fmla="*/ 17 w 20"/>
                  <a:gd name="T9" fmla="*/ 4 h 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" h="21">
                    <a:moveTo>
                      <a:pt x="17" y="4"/>
                    </a:moveTo>
                    <a:cubicBezTo>
                      <a:pt x="20" y="9"/>
                      <a:pt x="12" y="14"/>
                      <a:pt x="17" y="17"/>
                    </a:cubicBezTo>
                    <a:cubicBezTo>
                      <a:pt x="17" y="21"/>
                      <a:pt x="9" y="17"/>
                      <a:pt x="6" y="18"/>
                    </a:cubicBezTo>
                    <a:cubicBezTo>
                      <a:pt x="6" y="11"/>
                      <a:pt x="7" y="8"/>
                      <a:pt x="0" y="11"/>
                    </a:cubicBezTo>
                    <a:cubicBezTo>
                      <a:pt x="0" y="2"/>
                      <a:pt x="10" y="0"/>
                      <a:pt x="17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1" name="任意多边形: 形状 80">
                <a:extLst>
                  <a:ext uri="{FF2B5EF4-FFF2-40B4-BE49-F238E27FC236}">
                    <a16:creationId xmlns:a16="http://schemas.microsoft.com/office/drawing/2014/main" id="{F04F8BE9-4A7B-4EE7-92E7-44FA39FFA868}"/>
                  </a:ext>
                </a:extLst>
              </p:cNvPr>
              <p:cNvSpPr/>
              <p:nvPr/>
            </p:nvSpPr>
            <p:spPr bwMode="auto">
              <a:xfrm>
                <a:off x="7561039" y="1807263"/>
                <a:ext cx="25214" cy="39222"/>
              </a:xfrm>
              <a:custGeom>
                <a:avLst/>
                <a:gdLst>
                  <a:gd name="T0" fmla="*/ 11 w 12"/>
                  <a:gd name="T1" fmla="*/ 8 h 19"/>
                  <a:gd name="T2" fmla="*/ 7 w 12"/>
                  <a:gd name="T3" fmla="*/ 19 h 19"/>
                  <a:gd name="T4" fmla="*/ 0 w 12"/>
                  <a:gd name="T5" fmla="*/ 19 h 19"/>
                  <a:gd name="T6" fmla="*/ 1 w 12"/>
                  <a:gd name="T7" fmla="*/ 6 h 19"/>
                  <a:gd name="T8" fmla="*/ 11 w 12"/>
                  <a:gd name="T9" fmla="*/ 8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19">
                    <a:moveTo>
                      <a:pt x="11" y="8"/>
                    </a:moveTo>
                    <a:cubicBezTo>
                      <a:pt x="11" y="13"/>
                      <a:pt x="4" y="11"/>
                      <a:pt x="7" y="19"/>
                    </a:cubicBezTo>
                    <a:cubicBezTo>
                      <a:pt x="5" y="19"/>
                      <a:pt x="2" y="19"/>
                      <a:pt x="0" y="19"/>
                    </a:cubicBezTo>
                    <a:cubicBezTo>
                      <a:pt x="0" y="16"/>
                      <a:pt x="6" y="9"/>
                      <a:pt x="1" y="6"/>
                    </a:cubicBezTo>
                    <a:cubicBezTo>
                      <a:pt x="3" y="2"/>
                      <a:pt x="12" y="0"/>
                      <a:pt x="11" y="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2" name="任意多边形: 形状 81">
                <a:extLst>
                  <a:ext uri="{FF2B5EF4-FFF2-40B4-BE49-F238E27FC236}">
                    <a16:creationId xmlns:a16="http://schemas.microsoft.com/office/drawing/2014/main" id="{4295198C-C66A-4FD2-8052-C371B0730631}"/>
                  </a:ext>
                </a:extLst>
              </p:cNvPr>
              <p:cNvSpPr/>
              <p:nvPr/>
            </p:nvSpPr>
            <p:spPr bwMode="auto">
              <a:xfrm>
                <a:off x="3912001" y="1825473"/>
                <a:ext cx="16809" cy="12607"/>
              </a:xfrm>
              <a:custGeom>
                <a:avLst/>
                <a:gdLst>
                  <a:gd name="T0" fmla="*/ 0 w 8"/>
                  <a:gd name="T1" fmla="*/ 3 h 6"/>
                  <a:gd name="T2" fmla="*/ 7 w 8"/>
                  <a:gd name="T3" fmla="*/ 1 h 6"/>
                  <a:gd name="T4" fmla="*/ 5 w 8"/>
                  <a:gd name="T5" fmla="*/ 6 h 6"/>
                  <a:gd name="T6" fmla="*/ 1 w 8"/>
                  <a:gd name="T7" fmla="*/ 6 h 6"/>
                  <a:gd name="T8" fmla="*/ 0 w 8"/>
                  <a:gd name="T9" fmla="*/ 3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6">
                    <a:moveTo>
                      <a:pt x="0" y="3"/>
                    </a:moveTo>
                    <a:cubicBezTo>
                      <a:pt x="0" y="0"/>
                      <a:pt x="4" y="1"/>
                      <a:pt x="7" y="1"/>
                    </a:cubicBezTo>
                    <a:cubicBezTo>
                      <a:pt x="8" y="4"/>
                      <a:pt x="5" y="4"/>
                      <a:pt x="5" y="6"/>
                    </a:cubicBezTo>
                    <a:cubicBezTo>
                      <a:pt x="4" y="6"/>
                      <a:pt x="3" y="6"/>
                      <a:pt x="1" y="6"/>
                    </a:cubicBezTo>
                    <a:cubicBezTo>
                      <a:pt x="2" y="4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3" name="任意多边形: 形状 82">
                <a:extLst>
                  <a:ext uri="{FF2B5EF4-FFF2-40B4-BE49-F238E27FC236}">
                    <a16:creationId xmlns:a16="http://schemas.microsoft.com/office/drawing/2014/main" id="{C3637D21-353C-4798-B222-A0FF5045B43F}"/>
                  </a:ext>
                </a:extLst>
              </p:cNvPr>
              <p:cNvSpPr/>
              <p:nvPr/>
            </p:nvSpPr>
            <p:spPr bwMode="auto">
              <a:xfrm>
                <a:off x="4322430" y="1838081"/>
                <a:ext cx="158289" cy="63036"/>
              </a:xfrm>
              <a:custGeom>
                <a:avLst/>
                <a:gdLst>
                  <a:gd name="T0" fmla="*/ 75 w 76"/>
                  <a:gd name="T1" fmla="*/ 21 h 30"/>
                  <a:gd name="T2" fmla="*/ 58 w 76"/>
                  <a:gd name="T3" fmla="*/ 26 h 30"/>
                  <a:gd name="T4" fmla="*/ 54 w 76"/>
                  <a:gd name="T5" fmla="*/ 17 h 30"/>
                  <a:gd name="T6" fmla="*/ 34 w 76"/>
                  <a:gd name="T7" fmla="*/ 13 h 30"/>
                  <a:gd name="T8" fmla="*/ 32 w 76"/>
                  <a:gd name="T9" fmla="*/ 8 h 30"/>
                  <a:gd name="T10" fmla="*/ 13 w 76"/>
                  <a:gd name="T11" fmla="*/ 8 h 30"/>
                  <a:gd name="T12" fmla="*/ 0 w 76"/>
                  <a:gd name="T13" fmla="*/ 11 h 30"/>
                  <a:gd name="T14" fmla="*/ 8 w 76"/>
                  <a:gd name="T15" fmla="*/ 2 h 30"/>
                  <a:gd name="T16" fmla="*/ 24 w 76"/>
                  <a:gd name="T17" fmla="*/ 0 h 30"/>
                  <a:gd name="T18" fmla="*/ 30 w 76"/>
                  <a:gd name="T19" fmla="*/ 4 h 30"/>
                  <a:gd name="T20" fmla="*/ 36 w 76"/>
                  <a:gd name="T21" fmla="*/ 6 h 30"/>
                  <a:gd name="T22" fmla="*/ 50 w 76"/>
                  <a:gd name="T23" fmla="*/ 8 h 30"/>
                  <a:gd name="T24" fmla="*/ 56 w 76"/>
                  <a:gd name="T25" fmla="*/ 17 h 30"/>
                  <a:gd name="T26" fmla="*/ 62 w 76"/>
                  <a:gd name="T27" fmla="*/ 19 h 30"/>
                  <a:gd name="T28" fmla="*/ 75 w 76"/>
                  <a:gd name="T29" fmla="*/ 21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30">
                    <a:moveTo>
                      <a:pt x="75" y="21"/>
                    </a:moveTo>
                    <a:cubicBezTo>
                      <a:pt x="76" y="30"/>
                      <a:pt x="59" y="20"/>
                      <a:pt x="58" y="26"/>
                    </a:cubicBezTo>
                    <a:cubicBezTo>
                      <a:pt x="54" y="26"/>
                      <a:pt x="57" y="18"/>
                      <a:pt x="54" y="17"/>
                    </a:cubicBezTo>
                    <a:cubicBezTo>
                      <a:pt x="48" y="15"/>
                      <a:pt x="41" y="15"/>
                      <a:pt x="34" y="13"/>
                    </a:cubicBezTo>
                    <a:cubicBezTo>
                      <a:pt x="33" y="12"/>
                      <a:pt x="32" y="10"/>
                      <a:pt x="32" y="8"/>
                    </a:cubicBezTo>
                    <a:cubicBezTo>
                      <a:pt x="24" y="8"/>
                      <a:pt x="19" y="7"/>
                      <a:pt x="13" y="8"/>
                    </a:cubicBezTo>
                    <a:cubicBezTo>
                      <a:pt x="9" y="8"/>
                      <a:pt x="5" y="13"/>
                      <a:pt x="0" y="11"/>
                    </a:cubicBezTo>
                    <a:cubicBezTo>
                      <a:pt x="0" y="6"/>
                      <a:pt x="8" y="8"/>
                      <a:pt x="8" y="2"/>
                    </a:cubicBezTo>
                    <a:cubicBezTo>
                      <a:pt x="13" y="1"/>
                      <a:pt x="22" y="4"/>
                      <a:pt x="24" y="0"/>
                    </a:cubicBezTo>
                    <a:cubicBezTo>
                      <a:pt x="33" y="2"/>
                      <a:pt x="22" y="2"/>
                      <a:pt x="30" y="4"/>
                    </a:cubicBezTo>
                    <a:cubicBezTo>
                      <a:pt x="30" y="4"/>
                      <a:pt x="35" y="6"/>
                      <a:pt x="36" y="6"/>
                    </a:cubicBezTo>
                    <a:cubicBezTo>
                      <a:pt x="37" y="8"/>
                      <a:pt x="43" y="8"/>
                      <a:pt x="50" y="8"/>
                    </a:cubicBezTo>
                    <a:cubicBezTo>
                      <a:pt x="49" y="14"/>
                      <a:pt x="60" y="9"/>
                      <a:pt x="56" y="17"/>
                    </a:cubicBezTo>
                    <a:cubicBezTo>
                      <a:pt x="59" y="15"/>
                      <a:pt x="61" y="15"/>
                      <a:pt x="62" y="19"/>
                    </a:cubicBezTo>
                    <a:cubicBezTo>
                      <a:pt x="66" y="20"/>
                      <a:pt x="74" y="17"/>
                      <a:pt x="75" y="2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4" name="任意多边形: 形状 83">
                <a:extLst>
                  <a:ext uri="{FF2B5EF4-FFF2-40B4-BE49-F238E27FC236}">
                    <a16:creationId xmlns:a16="http://schemas.microsoft.com/office/drawing/2014/main" id="{AAFE4786-A674-46E6-9FDE-680962A00AB5}"/>
                  </a:ext>
                </a:extLst>
              </p:cNvPr>
              <p:cNvSpPr/>
              <p:nvPr/>
            </p:nvSpPr>
            <p:spPr bwMode="auto">
              <a:xfrm>
                <a:off x="4508734" y="1892711"/>
                <a:ext cx="64436" cy="35020"/>
              </a:xfrm>
              <a:custGeom>
                <a:avLst/>
                <a:gdLst>
                  <a:gd name="T0" fmla="*/ 1 w 31"/>
                  <a:gd name="T1" fmla="*/ 0 h 17"/>
                  <a:gd name="T2" fmla="*/ 16 w 31"/>
                  <a:gd name="T3" fmla="*/ 2 h 17"/>
                  <a:gd name="T4" fmla="*/ 24 w 31"/>
                  <a:gd name="T5" fmla="*/ 4 h 17"/>
                  <a:gd name="T6" fmla="*/ 31 w 31"/>
                  <a:gd name="T7" fmla="*/ 8 h 17"/>
                  <a:gd name="T8" fmla="*/ 5 w 31"/>
                  <a:gd name="T9" fmla="*/ 12 h 17"/>
                  <a:gd name="T10" fmla="*/ 9 w 31"/>
                  <a:gd name="T11" fmla="*/ 10 h 17"/>
                  <a:gd name="T12" fmla="*/ 1 w 31"/>
                  <a:gd name="T13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" h="17">
                    <a:moveTo>
                      <a:pt x="1" y="0"/>
                    </a:moveTo>
                    <a:cubicBezTo>
                      <a:pt x="5" y="3"/>
                      <a:pt x="12" y="1"/>
                      <a:pt x="16" y="2"/>
                    </a:cubicBezTo>
                    <a:cubicBezTo>
                      <a:pt x="17" y="2"/>
                      <a:pt x="22" y="9"/>
                      <a:pt x="24" y="4"/>
                    </a:cubicBezTo>
                    <a:cubicBezTo>
                      <a:pt x="27" y="5"/>
                      <a:pt x="25" y="10"/>
                      <a:pt x="31" y="8"/>
                    </a:cubicBezTo>
                    <a:cubicBezTo>
                      <a:pt x="31" y="17"/>
                      <a:pt x="11" y="13"/>
                      <a:pt x="5" y="12"/>
                    </a:cubicBezTo>
                    <a:cubicBezTo>
                      <a:pt x="4" y="10"/>
                      <a:pt x="9" y="10"/>
                      <a:pt x="9" y="10"/>
                    </a:cubicBezTo>
                    <a:cubicBezTo>
                      <a:pt x="9" y="7"/>
                      <a:pt x="0" y="7"/>
                      <a:pt x="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5" name="任意多边形: 形状 84">
                <a:extLst>
                  <a:ext uri="{FF2B5EF4-FFF2-40B4-BE49-F238E27FC236}">
                    <a16:creationId xmlns:a16="http://schemas.microsoft.com/office/drawing/2014/main" id="{D8E79DE5-4618-4585-8153-7B82C58AB89C}"/>
                  </a:ext>
                </a:extLst>
              </p:cNvPr>
              <p:cNvSpPr/>
              <p:nvPr/>
            </p:nvSpPr>
            <p:spPr bwMode="auto">
              <a:xfrm>
                <a:off x="7378938" y="1896914"/>
                <a:ext cx="30817" cy="22413"/>
              </a:xfrm>
              <a:custGeom>
                <a:avLst/>
                <a:gdLst>
                  <a:gd name="T0" fmla="*/ 13 w 15"/>
                  <a:gd name="T1" fmla="*/ 0 h 11"/>
                  <a:gd name="T2" fmla="*/ 9 w 15"/>
                  <a:gd name="T3" fmla="*/ 11 h 11"/>
                  <a:gd name="T4" fmla="*/ 0 w 15"/>
                  <a:gd name="T5" fmla="*/ 4 h 11"/>
                  <a:gd name="T6" fmla="*/ 4 w 15"/>
                  <a:gd name="T7" fmla="*/ 0 h 11"/>
                  <a:gd name="T8" fmla="*/ 13 w 15"/>
                  <a:gd name="T9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1">
                    <a:moveTo>
                      <a:pt x="13" y="0"/>
                    </a:moveTo>
                    <a:cubicBezTo>
                      <a:pt x="15" y="7"/>
                      <a:pt x="8" y="6"/>
                      <a:pt x="9" y="11"/>
                    </a:cubicBezTo>
                    <a:cubicBezTo>
                      <a:pt x="5" y="10"/>
                      <a:pt x="0" y="10"/>
                      <a:pt x="0" y="4"/>
                    </a:cubicBezTo>
                    <a:cubicBezTo>
                      <a:pt x="3" y="5"/>
                      <a:pt x="3" y="2"/>
                      <a:pt x="4" y="0"/>
                    </a:cubicBezTo>
                    <a:cubicBezTo>
                      <a:pt x="7" y="0"/>
                      <a:pt x="10" y="0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6" name="任意多边形: 形状 85">
                <a:extLst>
                  <a:ext uri="{FF2B5EF4-FFF2-40B4-BE49-F238E27FC236}">
                    <a16:creationId xmlns:a16="http://schemas.microsoft.com/office/drawing/2014/main" id="{5E92CF99-9A0E-4827-B9E2-2E9E4529E0B5}"/>
                  </a:ext>
                </a:extLst>
              </p:cNvPr>
              <p:cNvSpPr/>
              <p:nvPr/>
            </p:nvSpPr>
            <p:spPr bwMode="auto">
              <a:xfrm>
                <a:off x="4484921" y="1905318"/>
                <a:ext cx="23814" cy="18211"/>
              </a:xfrm>
              <a:custGeom>
                <a:avLst/>
                <a:gdLst>
                  <a:gd name="T0" fmla="*/ 10 w 12"/>
                  <a:gd name="T1" fmla="*/ 9 h 9"/>
                  <a:gd name="T2" fmla="*/ 0 w 12"/>
                  <a:gd name="T3" fmla="*/ 7 h 9"/>
                  <a:gd name="T4" fmla="*/ 10 w 12"/>
                  <a:gd name="T5" fmla="*/ 9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2" h="9">
                    <a:moveTo>
                      <a:pt x="10" y="9"/>
                    </a:moveTo>
                    <a:cubicBezTo>
                      <a:pt x="8" y="8"/>
                      <a:pt x="5" y="7"/>
                      <a:pt x="0" y="7"/>
                    </a:cubicBezTo>
                    <a:cubicBezTo>
                      <a:pt x="1" y="4"/>
                      <a:pt x="12" y="0"/>
                      <a:pt x="10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7" name="任意多边形: 形状 86">
                <a:extLst>
                  <a:ext uri="{FF2B5EF4-FFF2-40B4-BE49-F238E27FC236}">
                    <a16:creationId xmlns:a16="http://schemas.microsoft.com/office/drawing/2014/main" id="{A375AD30-AACB-4990-8C12-B0048A7BE211}"/>
                  </a:ext>
                </a:extLst>
              </p:cNvPr>
              <p:cNvSpPr/>
              <p:nvPr/>
            </p:nvSpPr>
            <p:spPr bwMode="auto">
              <a:xfrm>
                <a:off x="4420485" y="1910921"/>
                <a:ext cx="30817" cy="19611"/>
              </a:xfrm>
              <a:custGeom>
                <a:avLst/>
                <a:gdLst>
                  <a:gd name="T0" fmla="*/ 2 w 15"/>
                  <a:gd name="T1" fmla="*/ 3 h 9"/>
                  <a:gd name="T2" fmla="*/ 13 w 15"/>
                  <a:gd name="T3" fmla="*/ 6 h 9"/>
                  <a:gd name="T4" fmla="*/ 2 w 15"/>
                  <a:gd name="T5" fmla="*/ 3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9">
                    <a:moveTo>
                      <a:pt x="2" y="3"/>
                    </a:moveTo>
                    <a:cubicBezTo>
                      <a:pt x="5" y="4"/>
                      <a:pt x="15" y="0"/>
                      <a:pt x="13" y="6"/>
                    </a:cubicBezTo>
                    <a:cubicBezTo>
                      <a:pt x="9" y="5"/>
                      <a:pt x="0" y="9"/>
                      <a:pt x="2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8" name="任意多边形: 形状 87">
                <a:extLst>
                  <a:ext uri="{FF2B5EF4-FFF2-40B4-BE49-F238E27FC236}">
                    <a16:creationId xmlns:a16="http://schemas.microsoft.com/office/drawing/2014/main" id="{7A1285B1-4842-475C-8C6A-6E5F0C8A15D6}"/>
                  </a:ext>
                </a:extLst>
              </p:cNvPr>
              <p:cNvSpPr/>
              <p:nvPr/>
            </p:nvSpPr>
            <p:spPr bwMode="auto">
              <a:xfrm>
                <a:off x="7551233" y="1919326"/>
                <a:ext cx="43425" cy="77043"/>
              </a:xfrm>
              <a:custGeom>
                <a:avLst/>
                <a:gdLst>
                  <a:gd name="T0" fmla="*/ 10 w 21"/>
                  <a:gd name="T1" fmla="*/ 0 h 37"/>
                  <a:gd name="T2" fmla="*/ 18 w 21"/>
                  <a:gd name="T3" fmla="*/ 0 h 37"/>
                  <a:gd name="T4" fmla="*/ 21 w 21"/>
                  <a:gd name="T5" fmla="*/ 13 h 37"/>
                  <a:gd name="T6" fmla="*/ 16 w 21"/>
                  <a:gd name="T7" fmla="*/ 19 h 37"/>
                  <a:gd name="T8" fmla="*/ 14 w 21"/>
                  <a:gd name="T9" fmla="*/ 25 h 37"/>
                  <a:gd name="T10" fmla="*/ 12 w 21"/>
                  <a:gd name="T11" fmla="*/ 34 h 37"/>
                  <a:gd name="T12" fmla="*/ 6 w 21"/>
                  <a:gd name="T13" fmla="*/ 28 h 37"/>
                  <a:gd name="T14" fmla="*/ 1 w 21"/>
                  <a:gd name="T15" fmla="*/ 21 h 37"/>
                  <a:gd name="T16" fmla="*/ 5 w 21"/>
                  <a:gd name="T17" fmla="*/ 10 h 37"/>
                  <a:gd name="T18" fmla="*/ 10 w 21"/>
                  <a:gd name="T19" fmla="*/ 0 h 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1" h="37">
                    <a:moveTo>
                      <a:pt x="10" y="0"/>
                    </a:moveTo>
                    <a:cubicBezTo>
                      <a:pt x="13" y="0"/>
                      <a:pt x="15" y="0"/>
                      <a:pt x="18" y="0"/>
                    </a:cubicBezTo>
                    <a:cubicBezTo>
                      <a:pt x="20" y="4"/>
                      <a:pt x="20" y="9"/>
                      <a:pt x="21" y="13"/>
                    </a:cubicBezTo>
                    <a:cubicBezTo>
                      <a:pt x="18" y="14"/>
                      <a:pt x="20" y="20"/>
                      <a:pt x="16" y="19"/>
                    </a:cubicBezTo>
                    <a:cubicBezTo>
                      <a:pt x="16" y="22"/>
                      <a:pt x="16" y="24"/>
                      <a:pt x="14" y="25"/>
                    </a:cubicBezTo>
                    <a:cubicBezTo>
                      <a:pt x="13" y="27"/>
                      <a:pt x="16" y="34"/>
                      <a:pt x="12" y="34"/>
                    </a:cubicBezTo>
                    <a:cubicBezTo>
                      <a:pt x="6" y="37"/>
                      <a:pt x="11" y="29"/>
                      <a:pt x="6" y="28"/>
                    </a:cubicBezTo>
                    <a:cubicBezTo>
                      <a:pt x="4" y="28"/>
                      <a:pt x="3" y="23"/>
                      <a:pt x="1" y="21"/>
                    </a:cubicBezTo>
                    <a:cubicBezTo>
                      <a:pt x="0" y="16"/>
                      <a:pt x="7" y="17"/>
                      <a:pt x="5" y="10"/>
                    </a:cubicBezTo>
                    <a:cubicBezTo>
                      <a:pt x="9" y="14"/>
                      <a:pt x="9" y="5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89" name="任意多边形: 形状 88">
                <a:extLst>
                  <a:ext uri="{FF2B5EF4-FFF2-40B4-BE49-F238E27FC236}">
                    <a16:creationId xmlns:a16="http://schemas.microsoft.com/office/drawing/2014/main" id="{790C6B49-0064-470C-A026-C11BF38ABED2}"/>
                  </a:ext>
                </a:extLst>
              </p:cNvPr>
              <p:cNvSpPr/>
              <p:nvPr/>
            </p:nvSpPr>
            <p:spPr bwMode="auto">
              <a:xfrm>
                <a:off x="7594658" y="1983762"/>
                <a:ext cx="58833" cy="60234"/>
              </a:xfrm>
              <a:custGeom>
                <a:avLst/>
                <a:gdLst>
                  <a:gd name="T0" fmla="*/ 15 w 28"/>
                  <a:gd name="T1" fmla="*/ 3 h 29"/>
                  <a:gd name="T2" fmla="*/ 21 w 28"/>
                  <a:gd name="T3" fmla="*/ 9 h 29"/>
                  <a:gd name="T4" fmla="*/ 19 w 28"/>
                  <a:gd name="T5" fmla="*/ 10 h 29"/>
                  <a:gd name="T6" fmla="*/ 21 w 28"/>
                  <a:gd name="T7" fmla="*/ 14 h 29"/>
                  <a:gd name="T8" fmla="*/ 28 w 28"/>
                  <a:gd name="T9" fmla="*/ 23 h 29"/>
                  <a:gd name="T10" fmla="*/ 25 w 28"/>
                  <a:gd name="T11" fmla="*/ 29 h 29"/>
                  <a:gd name="T12" fmla="*/ 19 w 28"/>
                  <a:gd name="T13" fmla="*/ 29 h 29"/>
                  <a:gd name="T14" fmla="*/ 10 w 28"/>
                  <a:gd name="T15" fmla="*/ 20 h 29"/>
                  <a:gd name="T16" fmla="*/ 13 w 28"/>
                  <a:gd name="T17" fmla="*/ 16 h 29"/>
                  <a:gd name="T18" fmla="*/ 0 w 28"/>
                  <a:gd name="T19" fmla="*/ 5 h 29"/>
                  <a:gd name="T20" fmla="*/ 15 w 28"/>
                  <a:gd name="T21" fmla="*/ 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8" h="29">
                    <a:moveTo>
                      <a:pt x="15" y="3"/>
                    </a:moveTo>
                    <a:cubicBezTo>
                      <a:pt x="10" y="9"/>
                      <a:pt x="20" y="7"/>
                      <a:pt x="21" y="9"/>
                    </a:cubicBezTo>
                    <a:cubicBezTo>
                      <a:pt x="22" y="10"/>
                      <a:pt x="19" y="10"/>
                      <a:pt x="19" y="10"/>
                    </a:cubicBezTo>
                    <a:cubicBezTo>
                      <a:pt x="19" y="11"/>
                      <a:pt x="21" y="14"/>
                      <a:pt x="21" y="14"/>
                    </a:cubicBezTo>
                    <a:cubicBezTo>
                      <a:pt x="23" y="18"/>
                      <a:pt x="28" y="18"/>
                      <a:pt x="28" y="23"/>
                    </a:cubicBezTo>
                    <a:cubicBezTo>
                      <a:pt x="24" y="23"/>
                      <a:pt x="25" y="26"/>
                      <a:pt x="25" y="29"/>
                    </a:cubicBezTo>
                    <a:cubicBezTo>
                      <a:pt x="23" y="28"/>
                      <a:pt x="19" y="26"/>
                      <a:pt x="19" y="29"/>
                    </a:cubicBezTo>
                    <a:cubicBezTo>
                      <a:pt x="14" y="28"/>
                      <a:pt x="15" y="21"/>
                      <a:pt x="10" y="20"/>
                    </a:cubicBezTo>
                    <a:cubicBezTo>
                      <a:pt x="10" y="18"/>
                      <a:pt x="13" y="18"/>
                      <a:pt x="13" y="16"/>
                    </a:cubicBezTo>
                    <a:cubicBezTo>
                      <a:pt x="9" y="13"/>
                      <a:pt x="6" y="7"/>
                      <a:pt x="0" y="5"/>
                    </a:cubicBezTo>
                    <a:cubicBezTo>
                      <a:pt x="5" y="0"/>
                      <a:pt x="9" y="2"/>
                      <a:pt x="1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0" name="任意多边形: 形状 89">
                <a:extLst>
                  <a:ext uri="{FF2B5EF4-FFF2-40B4-BE49-F238E27FC236}">
                    <a16:creationId xmlns:a16="http://schemas.microsoft.com/office/drawing/2014/main" id="{11FDACF1-CD99-471E-806A-698A52DAB791}"/>
                  </a:ext>
                </a:extLst>
              </p:cNvPr>
              <p:cNvSpPr/>
              <p:nvPr/>
            </p:nvSpPr>
            <p:spPr bwMode="auto">
              <a:xfrm>
                <a:off x="7572246" y="2008976"/>
                <a:ext cx="12607" cy="8405"/>
              </a:xfrm>
              <a:custGeom>
                <a:avLst/>
                <a:gdLst>
                  <a:gd name="T0" fmla="*/ 0 w 6"/>
                  <a:gd name="T1" fmla="*/ 0 h 4"/>
                  <a:gd name="T2" fmla="*/ 6 w 6"/>
                  <a:gd name="T3" fmla="*/ 0 h 4"/>
                  <a:gd name="T4" fmla="*/ 6 w 6"/>
                  <a:gd name="T5" fmla="*/ 4 h 4"/>
                  <a:gd name="T6" fmla="*/ 0 w 6"/>
                  <a:gd name="T7" fmla="*/ 4 h 4"/>
                  <a:gd name="T8" fmla="*/ 0 w 6"/>
                  <a:gd name="T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" h="4">
                    <a:moveTo>
                      <a:pt x="0" y="0"/>
                    </a:moveTo>
                    <a:cubicBezTo>
                      <a:pt x="2" y="0"/>
                      <a:pt x="4" y="0"/>
                      <a:pt x="6" y="0"/>
                    </a:cubicBezTo>
                    <a:cubicBezTo>
                      <a:pt x="6" y="2"/>
                      <a:pt x="6" y="3"/>
                      <a:pt x="6" y="4"/>
                    </a:cubicBezTo>
                    <a:cubicBezTo>
                      <a:pt x="4" y="4"/>
                      <a:pt x="2" y="4"/>
                      <a:pt x="0" y="4"/>
                    </a:cubicBezTo>
                    <a:cubicBezTo>
                      <a:pt x="0" y="3"/>
                      <a:pt x="0" y="2"/>
                      <a:pt x="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1" name="任意多边形: 形状 90">
                <a:extLst>
                  <a:ext uri="{FF2B5EF4-FFF2-40B4-BE49-F238E27FC236}">
                    <a16:creationId xmlns:a16="http://schemas.microsoft.com/office/drawing/2014/main" id="{C534FFD9-B588-4A2F-9327-488D4ACA6291}"/>
                  </a:ext>
                </a:extLst>
              </p:cNvPr>
              <p:cNvSpPr/>
              <p:nvPr/>
            </p:nvSpPr>
            <p:spPr bwMode="auto">
              <a:xfrm>
                <a:off x="7590455" y="2018781"/>
                <a:ext cx="33619" cy="50428"/>
              </a:xfrm>
              <a:custGeom>
                <a:avLst/>
                <a:gdLst>
                  <a:gd name="T0" fmla="*/ 15 w 16"/>
                  <a:gd name="T1" fmla="*/ 20 h 24"/>
                  <a:gd name="T2" fmla="*/ 6 w 16"/>
                  <a:gd name="T3" fmla="*/ 21 h 24"/>
                  <a:gd name="T4" fmla="*/ 0 w 16"/>
                  <a:gd name="T5" fmla="*/ 12 h 24"/>
                  <a:gd name="T6" fmla="*/ 15 w 16"/>
                  <a:gd name="T7" fmla="*/ 2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6" h="24">
                    <a:moveTo>
                      <a:pt x="15" y="20"/>
                    </a:moveTo>
                    <a:cubicBezTo>
                      <a:pt x="16" y="24"/>
                      <a:pt x="9" y="20"/>
                      <a:pt x="6" y="21"/>
                    </a:cubicBezTo>
                    <a:cubicBezTo>
                      <a:pt x="6" y="16"/>
                      <a:pt x="8" y="10"/>
                      <a:pt x="0" y="12"/>
                    </a:cubicBezTo>
                    <a:cubicBezTo>
                      <a:pt x="7" y="0"/>
                      <a:pt x="7" y="21"/>
                      <a:pt x="15" y="2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2" name="任意多边形: 形状 91">
                <a:extLst>
                  <a:ext uri="{FF2B5EF4-FFF2-40B4-BE49-F238E27FC236}">
                    <a16:creationId xmlns:a16="http://schemas.microsoft.com/office/drawing/2014/main" id="{7A4FF9E5-E9A6-4944-BC65-56E743EE162F}"/>
                  </a:ext>
                </a:extLst>
              </p:cNvPr>
              <p:cNvSpPr/>
              <p:nvPr/>
            </p:nvSpPr>
            <p:spPr bwMode="auto">
              <a:xfrm>
                <a:off x="6922283" y="2060805"/>
                <a:ext cx="33619" cy="56031"/>
              </a:xfrm>
              <a:custGeom>
                <a:avLst/>
                <a:gdLst>
                  <a:gd name="T0" fmla="*/ 3 w 16"/>
                  <a:gd name="T1" fmla="*/ 1 h 27"/>
                  <a:gd name="T2" fmla="*/ 8 w 16"/>
                  <a:gd name="T3" fmla="*/ 7 h 27"/>
                  <a:gd name="T4" fmla="*/ 10 w 16"/>
                  <a:gd name="T5" fmla="*/ 9 h 27"/>
                  <a:gd name="T6" fmla="*/ 14 w 16"/>
                  <a:gd name="T7" fmla="*/ 13 h 27"/>
                  <a:gd name="T8" fmla="*/ 12 w 16"/>
                  <a:gd name="T9" fmla="*/ 14 h 27"/>
                  <a:gd name="T10" fmla="*/ 14 w 16"/>
                  <a:gd name="T11" fmla="*/ 24 h 27"/>
                  <a:gd name="T12" fmla="*/ 10 w 16"/>
                  <a:gd name="T13" fmla="*/ 27 h 27"/>
                  <a:gd name="T14" fmla="*/ 3 w 16"/>
                  <a:gd name="T1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6" h="27">
                    <a:moveTo>
                      <a:pt x="3" y="1"/>
                    </a:moveTo>
                    <a:cubicBezTo>
                      <a:pt x="6" y="0"/>
                      <a:pt x="7" y="5"/>
                      <a:pt x="8" y="7"/>
                    </a:cubicBezTo>
                    <a:cubicBezTo>
                      <a:pt x="9" y="8"/>
                      <a:pt x="10" y="7"/>
                      <a:pt x="10" y="9"/>
                    </a:cubicBezTo>
                    <a:cubicBezTo>
                      <a:pt x="10" y="11"/>
                      <a:pt x="13" y="11"/>
                      <a:pt x="14" y="13"/>
                    </a:cubicBezTo>
                    <a:cubicBezTo>
                      <a:pt x="15" y="15"/>
                      <a:pt x="12" y="14"/>
                      <a:pt x="12" y="14"/>
                    </a:cubicBezTo>
                    <a:cubicBezTo>
                      <a:pt x="12" y="16"/>
                      <a:pt x="16" y="18"/>
                      <a:pt x="14" y="24"/>
                    </a:cubicBezTo>
                    <a:cubicBezTo>
                      <a:pt x="11" y="23"/>
                      <a:pt x="10" y="25"/>
                      <a:pt x="10" y="27"/>
                    </a:cubicBezTo>
                    <a:cubicBezTo>
                      <a:pt x="0" y="24"/>
                      <a:pt x="1" y="13"/>
                      <a:pt x="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3" name="任意多边形: 形状 92">
                <a:extLst>
                  <a:ext uri="{FF2B5EF4-FFF2-40B4-BE49-F238E27FC236}">
                    <a16:creationId xmlns:a16="http://schemas.microsoft.com/office/drawing/2014/main" id="{214C9FF6-8EB4-463C-9334-84813F9C7DE0}"/>
                  </a:ext>
                </a:extLst>
              </p:cNvPr>
              <p:cNvSpPr/>
              <p:nvPr/>
            </p:nvSpPr>
            <p:spPr bwMode="auto">
              <a:xfrm>
                <a:off x="7619872" y="2063606"/>
                <a:ext cx="42023" cy="64436"/>
              </a:xfrm>
              <a:custGeom>
                <a:avLst/>
                <a:gdLst>
                  <a:gd name="T0" fmla="*/ 16 w 20"/>
                  <a:gd name="T1" fmla="*/ 0 h 31"/>
                  <a:gd name="T2" fmla="*/ 20 w 20"/>
                  <a:gd name="T3" fmla="*/ 15 h 31"/>
                  <a:gd name="T4" fmla="*/ 14 w 20"/>
                  <a:gd name="T5" fmla="*/ 17 h 31"/>
                  <a:gd name="T6" fmla="*/ 14 w 20"/>
                  <a:gd name="T7" fmla="*/ 30 h 31"/>
                  <a:gd name="T8" fmla="*/ 5 w 20"/>
                  <a:gd name="T9" fmla="*/ 25 h 31"/>
                  <a:gd name="T10" fmla="*/ 7 w 20"/>
                  <a:gd name="T11" fmla="*/ 17 h 31"/>
                  <a:gd name="T12" fmla="*/ 7 w 20"/>
                  <a:gd name="T13" fmla="*/ 13 h 31"/>
                  <a:gd name="T14" fmla="*/ 5 w 20"/>
                  <a:gd name="T15" fmla="*/ 13 h 31"/>
                  <a:gd name="T16" fmla="*/ 9 w 20"/>
                  <a:gd name="T17" fmla="*/ 8 h 31"/>
                  <a:gd name="T18" fmla="*/ 13 w 20"/>
                  <a:gd name="T19" fmla="*/ 2 h 31"/>
                  <a:gd name="T20" fmla="*/ 16 w 20"/>
                  <a:gd name="T2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20" h="31">
                    <a:moveTo>
                      <a:pt x="16" y="0"/>
                    </a:moveTo>
                    <a:cubicBezTo>
                      <a:pt x="16" y="7"/>
                      <a:pt x="16" y="13"/>
                      <a:pt x="20" y="15"/>
                    </a:cubicBezTo>
                    <a:cubicBezTo>
                      <a:pt x="20" y="17"/>
                      <a:pt x="17" y="17"/>
                      <a:pt x="14" y="17"/>
                    </a:cubicBezTo>
                    <a:cubicBezTo>
                      <a:pt x="18" y="20"/>
                      <a:pt x="13" y="23"/>
                      <a:pt x="14" y="30"/>
                    </a:cubicBezTo>
                    <a:cubicBezTo>
                      <a:pt x="9" y="31"/>
                      <a:pt x="10" y="25"/>
                      <a:pt x="5" y="25"/>
                    </a:cubicBezTo>
                    <a:cubicBezTo>
                      <a:pt x="4" y="21"/>
                      <a:pt x="7" y="20"/>
                      <a:pt x="7" y="17"/>
                    </a:cubicBezTo>
                    <a:cubicBezTo>
                      <a:pt x="7" y="16"/>
                      <a:pt x="4" y="14"/>
                      <a:pt x="7" y="13"/>
                    </a:cubicBezTo>
                    <a:cubicBezTo>
                      <a:pt x="7" y="11"/>
                      <a:pt x="5" y="12"/>
                      <a:pt x="5" y="13"/>
                    </a:cubicBezTo>
                    <a:cubicBezTo>
                      <a:pt x="0" y="13"/>
                      <a:pt x="5" y="6"/>
                      <a:pt x="9" y="8"/>
                    </a:cubicBezTo>
                    <a:cubicBezTo>
                      <a:pt x="9" y="5"/>
                      <a:pt x="11" y="3"/>
                      <a:pt x="13" y="2"/>
                    </a:cubicBezTo>
                    <a:cubicBezTo>
                      <a:pt x="13" y="2"/>
                      <a:pt x="14" y="0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4" name="任意多边形: 形状 93">
                <a:extLst>
                  <a:ext uri="{FF2B5EF4-FFF2-40B4-BE49-F238E27FC236}">
                    <a16:creationId xmlns:a16="http://schemas.microsoft.com/office/drawing/2014/main" id="{46A44DFE-B12B-4FB9-A258-877117091FF0}"/>
                  </a:ext>
                </a:extLst>
              </p:cNvPr>
              <p:cNvSpPr/>
              <p:nvPr/>
            </p:nvSpPr>
            <p:spPr bwMode="auto">
              <a:xfrm>
                <a:off x="7589055" y="2074812"/>
                <a:ext cx="30817" cy="28016"/>
              </a:xfrm>
              <a:custGeom>
                <a:avLst/>
                <a:gdLst>
                  <a:gd name="T0" fmla="*/ 9 w 15"/>
                  <a:gd name="T1" fmla="*/ 0 h 13"/>
                  <a:gd name="T2" fmla="*/ 15 w 15"/>
                  <a:gd name="T3" fmla="*/ 6 h 13"/>
                  <a:gd name="T4" fmla="*/ 13 w 15"/>
                  <a:gd name="T5" fmla="*/ 7 h 13"/>
                  <a:gd name="T6" fmla="*/ 1 w 15"/>
                  <a:gd name="T7" fmla="*/ 13 h 13"/>
                  <a:gd name="T8" fmla="*/ 9 w 15"/>
                  <a:gd name="T9" fmla="*/ 0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3">
                    <a:moveTo>
                      <a:pt x="9" y="0"/>
                    </a:moveTo>
                    <a:cubicBezTo>
                      <a:pt x="13" y="0"/>
                      <a:pt x="15" y="2"/>
                      <a:pt x="15" y="6"/>
                    </a:cubicBezTo>
                    <a:cubicBezTo>
                      <a:pt x="11" y="5"/>
                      <a:pt x="11" y="7"/>
                      <a:pt x="13" y="7"/>
                    </a:cubicBezTo>
                    <a:cubicBezTo>
                      <a:pt x="11" y="9"/>
                      <a:pt x="6" y="12"/>
                      <a:pt x="1" y="13"/>
                    </a:cubicBezTo>
                    <a:cubicBezTo>
                      <a:pt x="0" y="5"/>
                      <a:pt x="9" y="7"/>
                      <a:pt x="9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5" name="任意多边形: 形状 94">
                <a:extLst>
                  <a:ext uri="{FF2B5EF4-FFF2-40B4-BE49-F238E27FC236}">
                    <a16:creationId xmlns:a16="http://schemas.microsoft.com/office/drawing/2014/main" id="{EE9C8BEC-BBD6-4401-9276-9D05DFAAF2D5}"/>
                  </a:ext>
                </a:extLst>
              </p:cNvPr>
              <p:cNvSpPr/>
              <p:nvPr/>
            </p:nvSpPr>
            <p:spPr bwMode="auto">
              <a:xfrm>
                <a:off x="7675903" y="2175669"/>
                <a:ext cx="21012" cy="39222"/>
              </a:xfrm>
              <a:custGeom>
                <a:avLst/>
                <a:gdLst>
                  <a:gd name="T0" fmla="*/ 2 w 10"/>
                  <a:gd name="T1" fmla="*/ 0 h 19"/>
                  <a:gd name="T2" fmla="*/ 10 w 10"/>
                  <a:gd name="T3" fmla="*/ 6 h 19"/>
                  <a:gd name="T4" fmla="*/ 0 w 10"/>
                  <a:gd name="T5" fmla="*/ 17 h 19"/>
                  <a:gd name="T6" fmla="*/ 4 w 10"/>
                  <a:gd name="T7" fmla="*/ 15 h 19"/>
                  <a:gd name="T8" fmla="*/ 2 w 10"/>
                  <a:gd name="T9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" h="19">
                    <a:moveTo>
                      <a:pt x="2" y="0"/>
                    </a:moveTo>
                    <a:cubicBezTo>
                      <a:pt x="7" y="0"/>
                      <a:pt x="4" y="8"/>
                      <a:pt x="10" y="6"/>
                    </a:cubicBezTo>
                    <a:cubicBezTo>
                      <a:pt x="8" y="11"/>
                      <a:pt x="9" y="19"/>
                      <a:pt x="0" y="17"/>
                    </a:cubicBezTo>
                    <a:cubicBezTo>
                      <a:pt x="0" y="15"/>
                      <a:pt x="3" y="16"/>
                      <a:pt x="4" y="15"/>
                    </a:cubicBezTo>
                    <a:cubicBezTo>
                      <a:pt x="1" y="8"/>
                      <a:pt x="1" y="10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6" name="任意多边形: 形状 95">
                <a:extLst>
                  <a:ext uri="{FF2B5EF4-FFF2-40B4-BE49-F238E27FC236}">
                    <a16:creationId xmlns:a16="http://schemas.microsoft.com/office/drawing/2014/main" id="{6DBA6B41-080F-4F45-B5CC-4F10AD74F9F0}"/>
                  </a:ext>
                </a:extLst>
              </p:cNvPr>
              <p:cNvSpPr/>
              <p:nvPr/>
            </p:nvSpPr>
            <p:spPr bwMode="auto">
              <a:xfrm>
                <a:off x="7556836" y="2185475"/>
                <a:ext cx="79845" cy="25214"/>
              </a:xfrm>
              <a:custGeom>
                <a:avLst/>
                <a:gdLst>
                  <a:gd name="T0" fmla="*/ 37 w 38"/>
                  <a:gd name="T1" fmla="*/ 5 h 12"/>
                  <a:gd name="T2" fmla="*/ 26 w 38"/>
                  <a:gd name="T3" fmla="*/ 10 h 12"/>
                  <a:gd name="T4" fmla="*/ 0 w 38"/>
                  <a:gd name="T5" fmla="*/ 12 h 12"/>
                  <a:gd name="T6" fmla="*/ 31 w 38"/>
                  <a:gd name="T7" fmla="*/ 3 h 12"/>
                  <a:gd name="T8" fmla="*/ 37 w 38"/>
                  <a:gd name="T9" fmla="*/ 5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" h="12">
                    <a:moveTo>
                      <a:pt x="37" y="5"/>
                    </a:moveTo>
                    <a:cubicBezTo>
                      <a:pt x="38" y="10"/>
                      <a:pt x="30" y="10"/>
                      <a:pt x="26" y="10"/>
                    </a:cubicBezTo>
                    <a:cubicBezTo>
                      <a:pt x="18" y="11"/>
                      <a:pt x="7" y="9"/>
                      <a:pt x="0" y="12"/>
                    </a:cubicBezTo>
                    <a:cubicBezTo>
                      <a:pt x="1" y="0"/>
                      <a:pt x="27" y="12"/>
                      <a:pt x="31" y="3"/>
                    </a:cubicBezTo>
                    <a:cubicBezTo>
                      <a:pt x="33" y="4"/>
                      <a:pt x="34" y="5"/>
                      <a:pt x="37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7" name="任意多边形: 形状 96">
                <a:extLst>
                  <a:ext uri="{FF2B5EF4-FFF2-40B4-BE49-F238E27FC236}">
                    <a16:creationId xmlns:a16="http://schemas.microsoft.com/office/drawing/2014/main" id="{48C49BF0-58BB-4100-BE4D-FF418C2D20E9}"/>
                  </a:ext>
                </a:extLst>
              </p:cNvPr>
              <p:cNvSpPr/>
              <p:nvPr/>
            </p:nvSpPr>
            <p:spPr bwMode="auto">
              <a:xfrm>
                <a:off x="7727732" y="2216292"/>
                <a:ext cx="50428" cy="32218"/>
              </a:xfrm>
              <a:custGeom>
                <a:avLst/>
                <a:gdLst>
                  <a:gd name="T0" fmla="*/ 24 w 24"/>
                  <a:gd name="T1" fmla="*/ 10 h 15"/>
                  <a:gd name="T2" fmla="*/ 20 w 24"/>
                  <a:gd name="T3" fmla="*/ 14 h 15"/>
                  <a:gd name="T4" fmla="*/ 9 w 24"/>
                  <a:gd name="T5" fmla="*/ 14 h 15"/>
                  <a:gd name="T6" fmla="*/ 7 w 24"/>
                  <a:gd name="T7" fmla="*/ 12 h 15"/>
                  <a:gd name="T8" fmla="*/ 0 w 24"/>
                  <a:gd name="T9" fmla="*/ 7 h 15"/>
                  <a:gd name="T10" fmla="*/ 9 w 24"/>
                  <a:gd name="T11" fmla="*/ 3 h 15"/>
                  <a:gd name="T12" fmla="*/ 15 w 24"/>
                  <a:gd name="T13" fmla="*/ 1 h 15"/>
                  <a:gd name="T14" fmla="*/ 15 w 24"/>
                  <a:gd name="T15" fmla="*/ 3 h 15"/>
                  <a:gd name="T16" fmla="*/ 16 w 24"/>
                  <a:gd name="T17" fmla="*/ 1 h 15"/>
                  <a:gd name="T18" fmla="*/ 24 w 24"/>
                  <a:gd name="T19" fmla="*/ 1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4" h="15">
                    <a:moveTo>
                      <a:pt x="24" y="10"/>
                    </a:moveTo>
                    <a:cubicBezTo>
                      <a:pt x="22" y="11"/>
                      <a:pt x="21" y="12"/>
                      <a:pt x="20" y="14"/>
                    </a:cubicBezTo>
                    <a:cubicBezTo>
                      <a:pt x="16" y="11"/>
                      <a:pt x="13" y="15"/>
                      <a:pt x="9" y="14"/>
                    </a:cubicBezTo>
                    <a:cubicBezTo>
                      <a:pt x="8" y="14"/>
                      <a:pt x="9" y="12"/>
                      <a:pt x="7" y="12"/>
                    </a:cubicBezTo>
                    <a:cubicBezTo>
                      <a:pt x="5" y="12"/>
                      <a:pt x="3" y="8"/>
                      <a:pt x="0" y="7"/>
                    </a:cubicBezTo>
                    <a:cubicBezTo>
                      <a:pt x="0" y="4"/>
                      <a:pt x="6" y="5"/>
                      <a:pt x="9" y="3"/>
                    </a:cubicBezTo>
                    <a:cubicBezTo>
                      <a:pt x="9" y="3"/>
                      <a:pt x="14" y="0"/>
                      <a:pt x="15" y="1"/>
                    </a:cubicBezTo>
                    <a:cubicBezTo>
                      <a:pt x="15" y="1"/>
                      <a:pt x="15" y="3"/>
                      <a:pt x="15" y="3"/>
                    </a:cubicBezTo>
                    <a:cubicBezTo>
                      <a:pt x="16" y="3"/>
                      <a:pt x="17" y="1"/>
                      <a:pt x="16" y="1"/>
                    </a:cubicBezTo>
                    <a:cubicBezTo>
                      <a:pt x="20" y="2"/>
                      <a:pt x="23" y="6"/>
                      <a:pt x="24" y="1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8" name="任意多边形: 形状 97">
                <a:extLst>
                  <a:ext uri="{FF2B5EF4-FFF2-40B4-BE49-F238E27FC236}">
                    <a16:creationId xmlns:a16="http://schemas.microsoft.com/office/drawing/2014/main" id="{EBCB0EEB-9D34-4A57-9677-E3960CCEA44B}"/>
                  </a:ext>
                </a:extLst>
              </p:cNvPr>
              <p:cNvSpPr/>
              <p:nvPr/>
            </p:nvSpPr>
            <p:spPr bwMode="auto">
              <a:xfrm>
                <a:off x="7754347" y="2233101"/>
                <a:ext cx="282958" cy="149884"/>
              </a:xfrm>
              <a:custGeom>
                <a:avLst/>
                <a:gdLst>
                  <a:gd name="T0" fmla="*/ 44 w 136"/>
                  <a:gd name="T1" fmla="*/ 36 h 72"/>
                  <a:gd name="T2" fmla="*/ 37 w 136"/>
                  <a:gd name="T3" fmla="*/ 32 h 72"/>
                  <a:gd name="T4" fmla="*/ 33 w 136"/>
                  <a:gd name="T5" fmla="*/ 25 h 72"/>
                  <a:gd name="T6" fmla="*/ 13 w 136"/>
                  <a:gd name="T7" fmla="*/ 19 h 72"/>
                  <a:gd name="T8" fmla="*/ 2 w 136"/>
                  <a:gd name="T9" fmla="*/ 19 h 72"/>
                  <a:gd name="T10" fmla="*/ 0 w 136"/>
                  <a:gd name="T11" fmla="*/ 12 h 72"/>
                  <a:gd name="T12" fmla="*/ 5 w 136"/>
                  <a:gd name="T13" fmla="*/ 12 h 72"/>
                  <a:gd name="T14" fmla="*/ 11 w 136"/>
                  <a:gd name="T15" fmla="*/ 10 h 72"/>
                  <a:gd name="T16" fmla="*/ 20 w 136"/>
                  <a:gd name="T17" fmla="*/ 13 h 72"/>
                  <a:gd name="T18" fmla="*/ 28 w 136"/>
                  <a:gd name="T19" fmla="*/ 8 h 72"/>
                  <a:gd name="T20" fmla="*/ 43 w 136"/>
                  <a:gd name="T21" fmla="*/ 2 h 72"/>
                  <a:gd name="T22" fmla="*/ 46 w 136"/>
                  <a:gd name="T23" fmla="*/ 6 h 72"/>
                  <a:gd name="T24" fmla="*/ 61 w 136"/>
                  <a:gd name="T25" fmla="*/ 12 h 72"/>
                  <a:gd name="T26" fmla="*/ 65 w 136"/>
                  <a:gd name="T27" fmla="*/ 10 h 72"/>
                  <a:gd name="T28" fmla="*/ 69 w 136"/>
                  <a:gd name="T29" fmla="*/ 13 h 72"/>
                  <a:gd name="T30" fmla="*/ 78 w 136"/>
                  <a:gd name="T31" fmla="*/ 13 h 72"/>
                  <a:gd name="T32" fmla="*/ 85 w 136"/>
                  <a:gd name="T33" fmla="*/ 17 h 72"/>
                  <a:gd name="T34" fmla="*/ 85 w 136"/>
                  <a:gd name="T35" fmla="*/ 23 h 72"/>
                  <a:gd name="T36" fmla="*/ 89 w 136"/>
                  <a:gd name="T37" fmla="*/ 21 h 72"/>
                  <a:gd name="T38" fmla="*/ 91 w 136"/>
                  <a:gd name="T39" fmla="*/ 27 h 72"/>
                  <a:gd name="T40" fmla="*/ 100 w 136"/>
                  <a:gd name="T41" fmla="*/ 32 h 72"/>
                  <a:gd name="T42" fmla="*/ 115 w 136"/>
                  <a:gd name="T43" fmla="*/ 38 h 72"/>
                  <a:gd name="T44" fmla="*/ 113 w 136"/>
                  <a:gd name="T45" fmla="*/ 43 h 72"/>
                  <a:gd name="T46" fmla="*/ 119 w 136"/>
                  <a:gd name="T47" fmla="*/ 47 h 72"/>
                  <a:gd name="T48" fmla="*/ 119 w 136"/>
                  <a:gd name="T49" fmla="*/ 51 h 72"/>
                  <a:gd name="T50" fmla="*/ 126 w 136"/>
                  <a:gd name="T51" fmla="*/ 58 h 72"/>
                  <a:gd name="T52" fmla="*/ 136 w 136"/>
                  <a:gd name="T53" fmla="*/ 68 h 72"/>
                  <a:gd name="T54" fmla="*/ 123 w 136"/>
                  <a:gd name="T55" fmla="*/ 68 h 72"/>
                  <a:gd name="T56" fmla="*/ 112 w 136"/>
                  <a:gd name="T57" fmla="*/ 60 h 72"/>
                  <a:gd name="T58" fmla="*/ 108 w 136"/>
                  <a:gd name="T59" fmla="*/ 56 h 72"/>
                  <a:gd name="T60" fmla="*/ 106 w 136"/>
                  <a:gd name="T61" fmla="*/ 54 h 72"/>
                  <a:gd name="T62" fmla="*/ 100 w 136"/>
                  <a:gd name="T63" fmla="*/ 49 h 72"/>
                  <a:gd name="T64" fmla="*/ 85 w 136"/>
                  <a:gd name="T65" fmla="*/ 47 h 72"/>
                  <a:gd name="T66" fmla="*/ 78 w 136"/>
                  <a:gd name="T67" fmla="*/ 64 h 72"/>
                  <a:gd name="T68" fmla="*/ 67 w 136"/>
                  <a:gd name="T69" fmla="*/ 60 h 72"/>
                  <a:gd name="T70" fmla="*/ 61 w 136"/>
                  <a:gd name="T71" fmla="*/ 58 h 72"/>
                  <a:gd name="T72" fmla="*/ 54 w 136"/>
                  <a:gd name="T73" fmla="*/ 49 h 72"/>
                  <a:gd name="T74" fmla="*/ 46 w 136"/>
                  <a:gd name="T75" fmla="*/ 56 h 72"/>
                  <a:gd name="T76" fmla="*/ 41 w 136"/>
                  <a:gd name="T77" fmla="*/ 53 h 72"/>
                  <a:gd name="T78" fmla="*/ 46 w 136"/>
                  <a:gd name="T79" fmla="*/ 47 h 72"/>
                  <a:gd name="T80" fmla="*/ 50 w 136"/>
                  <a:gd name="T81" fmla="*/ 40 h 72"/>
                  <a:gd name="T82" fmla="*/ 48 w 136"/>
                  <a:gd name="T83" fmla="*/ 43 h 72"/>
                  <a:gd name="T84" fmla="*/ 44 w 136"/>
                  <a:gd name="T85" fmla="*/ 3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36" h="72">
                    <a:moveTo>
                      <a:pt x="44" y="36"/>
                    </a:moveTo>
                    <a:cubicBezTo>
                      <a:pt x="41" y="36"/>
                      <a:pt x="42" y="31"/>
                      <a:pt x="37" y="32"/>
                    </a:cubicBezTo>
                    <a:cubicBezTo>
                      <a:pt x="36" y="29"/>
                      <a:pt x="34" y="27"/>
                      <a:pt x="33" y="25"/>
                    </a:cubicBezTo>
                    <a:cubicBezTo>
                      <a:pt x="25" y="24"/>
                      <a:pt x="17" y="23"/>
                      <a:pt x="13" y="19"/>
                    </a:cubicBezTo>
                    <a:cubicBezTo>
                      <a:pt x="7" y="21"/>
                      <a:pt x="9" y="19"/>
                      <a:pt x="2" y="19"/>
                    </a:cubicBezTo>
                    <a:cubicBezTo>
                      <a:pt x="1" y="16"/>
                      <a:pt x="3" y="12"/>
                      <a:pt x="0" y="12"/>
                    </a:cubicBezTo>
                    <a:cubicBezTo>
                      <a:pt x="1" y="8"/>
                      <a:pt x="3" y="12"/>
                      <a:pt x="5" y="12"/>
                    </a:cubicBezTo>
                    <a:cubicBezTo>
                      <a:pt x="8" y="11"/>
                      <a:pt x="9" y="9"/>
                      <a:pt x="11" y="10"/>
                    </a:cubicBezTo>
                    <a:cubicBezTo>
                      <a:pt x="15" y="10"/>
                      <a:pt x="17" y="13"/>
                      <a:pt x="20" y="13"/>
                    </a:cubicBezTo>
                    <a:cubicBezTo>
                      <a:pt x="24" y="15"/>
                      <a:pt x="25" y="9"/>
                      <a:pt x="28" y="8"/>
                    </a:cubicBezTo>
                    <a:cubicBezTo>
                      <a:pt x="32" y="5"/>
                      <a:pt x="39" y="6"/>
                      <a:pt x="43" y="2"/>
                    </a:cubicBezTo>
                    <a:cubicBezTo>
                      <a:pt x="46" y="0"/>
                      <a:pt x="45" y="5"/>
                      <a:pt x="46" y="6"/>
                    </a:cubicBezTo>
                    <a:cubicBezTo>
                      <a:pt x="50" y="8"/>
                      <a:pt x="61" y="5"/>
                      <a:pt x="61" y="12"/>
                    </a:cubicBezTo>
                    <a:cubicBezTo>
                      <a:pt x="63" y="13"/>
                      <a:pt x="65" y="10"/>
                      <a:pt x="65" y="10"/>
                    </a:cubicBezTo>
                    <a:cubicBezTo>
                      <a:pt x="67" y="10"/>
                      <a:pt x="67" y="13"/>
                      <a:pt x="69" y="13"/>
                    </a:cubicBezTo>
                    <a:cubicBezTo>
                      <a:pt x="71" y="15"/>
                      <a:pt x="75" y="12"/>
                      <a:pt x="78" y="13"/>
                    </a:cubicBezTo>
                    <a:cubicBezTo>
                      <a:pt x="79" y="14"/>
                      <a:pt x="80" y="19"/>
                      <a:pt x="85" y="17"/>
                    </a:cubicBezTo>
                    <a:cubicBezTo>
                      <a:pt x="88" y="20"/>
                      <a:pt x="86" y="20"/>
                      <a:pt x="85" y="23"/>
                    </a:cubicBezTo>
                    <a:cubicBezTo>
                      <a:pt x="88" y="23"/>
                      <a:pt x="89" y="22"/>
                      <a:pt x="89" y="21"/>
                    </a:cubicBezTo>
                    <a:cubicBezTo>
                      <a:pt x="91" y="21"/>
                      <a:pt x="91" y="24"/>
                      <a:pt x="91" y="27"/>
                    </a:cubicBezTo>
                    <a:cubicBezTo>
                      <a:pt x="93" y="30"/>
                      <a:pt x="97" y="30"/>
                      <a:pt x="100" y="32"/>
                    </a:cubicBezTo>
                    <a:cubicBezTo>
                      <a:pt x="102" y="33"/>
                      <a:pt x="109" y="38"/>
                      <a:pt x="115" y="38"/>
                    </a:cubicBezTo>
                    <a:cubicBezTo>
                      <a:pt x="116" y="41"/>
                      <a:pt x="114" y="41"/>
                      <a:pt x="113" y="43"/>
                    </a:cubicBezTo>
                    <a:cubicBezTo>
                      <a:pt x="114" y="46"/>
                      <a:pt x="118" y="45"/>
                      <a:pt x="119" y="47"/>
                    </a:cubicBezTo>
                    <a:cubicBezTo>
                      <a:pt x="120" y="48"/>
                      <a:pt x="118" y="50"/>
                      <a:pt x="119" y="51"/>
                    </a:cubicBezTo>
                    <a:cubicBezTo>
                      <a:pt x="121" y="53"/>
                      <a:pt x="124" y="55"/>
                      <a:pt x="126" y="58"/>
                    </a:cubicBezTo>
                    <a:cubicBezTo>
                      <a:pt x="129" y="62"/>
                      <a:pt x="131" y="67"/>
                      <a:pt x="136" y="68"/>
                    </a:cubicBezTo>
                    <a:cubicBezTo>
                      <a:pt x="132" y="72"/>
                      <a:pt x="125" y="68"/>
                      <a:pt x="123" y="68"/>
                    </a:cubicBezTo>
                    <a:cubicBezTo>
                      <a:pt x="119" y="67"/>
                      <a:pt x="117" y="65"/>
                      <a:pt x="112" y="60"/>
                    </a:cubicBezTo>
                    <a:cubicBezTo>
                      <a:pt x="110" y="59"/>
                      <a:pt x="109" y="57"/>
                      <a:pt x="108" y="56"/>
                    </a:cubicBezTo>
                    <a:cubicBezTo>
                      <a:pt x="107" y="55"/>
                      <a:pt x="106" y="57"/>
                      <a:pt x="106" y="54"/>
                    </a:cubicBezTo>
                    <a:cubicBezTo>
                      <a:pt x="106" y="54"/>
                      <a:pt x="101" y="49"/>
                      <a:pt x="100" y="49"/>
                    </a:cubicBezTo>
                    <a:cubicBezTo>
                      <a:pt x="96" y="47"/>
                      <a:pt x="90" y="50"/>
                      <a:pt x="85" y="47"/>
                    </a:cubicBezTo>
                    <a:cubicBezTo>
                      <a:pt x="81" y="51"/>
                      <a:pt x="80" y="58"/>
                      <a:pt x="78" y="64"/>
                    </a:cubicBezTo>
                    <a:cubicBezTo>
                      <a:pt x="77" y="61"/>
                      <a:pt x="70" y="62"/>
                      <a:pt x="67" y="60"/>
                    </a:cubicBezTo>
                    <a:cubicBezTo>
                      <a:pt x="65" y="58"/>
                      <a:pt x="68" y="55"/>
                      <a:pt x="61" y="58"/>
                    </a:cubicBezTo>
                    <a:cubicBezTo>
                      <a:pt x="65" y="49"/>
                      <a:pt x="52" y="56"/>
                      <a:pt x="54" y="49"/>
                    </a:cubicBezTo>
                    <a:cubicBezTo>
                      <a:pt x="49" y="50"/>
                      <a:pt x="45" y="50"/>
                      <a:pt x="46" y="56"/>
                    </a:cubicBezTo>
                    <a:cubicBezTo>
                      <a:pt x="44" y="55"/>
                      <a:pt x="44" y="52"/>
                      <a:pt x="41" y="53"/>
                    </a:cubicBezTo>
                    <a:cubicBezTo>
                      <a:pt x="41" y="49"/>
                      <a:pt x="44" y="49"/>
                      <a:pt x="46" y="47"/>
                    </a:cubicBezTo>
                    <a:cubicBezTo>
                      <a:pt x="49" y="45"/>
                      <a:pt x="51" y="45"/>
                      <a:pt x="50" y="40"/>
                    </a:cubicBezTo>
                    <a:cubicBezTo>
                      <a:pt x="49" y="38"/>
                      <a:pt x="48" y="43"/>
                      <a:pt x="48" y="43"/>
                    </a:cubicBezTo>
                    <a:cubicBezTo>
                      <a:pt x="45" y="42"/>
                      <a:pt x="46" y="31"/>
                      <a:pt x="44" y="3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99" name="任意多边形: 形状 98">
                <a:extLst>
                  <a:ext uri="{FF2B5EF4-FFF2-40B4-BE49-F238E27FC236}">
                    <a16:creationId xmlns:a16="http://schemas.microsoft.com/office/drawing/2014/main" id="{C7E000D7-CA05-401D-BA0A-5EBC2B25C64B}"/>
                  </a:ext>
                </a:extLst>
              </p:cNvPr>
              <p:cNvSpPr/>
              <p:nvPr/>
            </p:nvSpPr>
            <p:spPr bwMode="auto">
              <a:xfrm>
                <a:off x="7688510" y="2252712"/>
                <a:ext cx="29417" cy="23814"/>
              </a:xfrm>
              <a:custGeom>
                <a:avLst/>
                <a:gdLst>
                  <a:gd name="T0" fmla="*/ 13 w 14"/>
                  <a:gd name="T1" fmla="*/ 4 h 12"/>
                  <a:gd name="T2" fmla="*/ 0 w 14"/>
                  <a:gd name="T3" fmla="*/ 6 h 12"/>
                  <a:gd name="T4" fmla="*/ 13 w 14"/>
                  <a:gd name="T5" fmla="*/ 4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4" h="12">
                    <a:moveTo>
                      <a:pt x="13" y="4"/>
                    </a:moveTo>
                    <a:cubicBezTo>
                      <a:pt x="14" y="12"/>
                      <a:pt x="3" y="6"/>
                      <a:pt x="0" y="6"/>
                    </a:cubicBezTo>
                    <a:cubicBezTo>
                      <a:pt x="2" y="4"/>
                      <a:pt x="11" y="0"/>
                      <a:pt x="13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0" name="任意多边形: 形状 99">
                <a:extLst>
                  <a:ext uri="{FF2B5EF4-FFF2-40B4-BE49-F238E27FC236}">
                    <a16:creationId xmlns:a16="http://schemas.microsoft.com/office/drawing/2014/main" id="{512F7328-C9DD-4E0E-91DE-35424BC2C4CE}"/>
                  </a:ext>
                </a:extLst>
              </p:cNvPr>
              <p:cNvSpPr/>
              <p:nvPr/>
            </p:nvSpPr>
            <p:spPr bwMode="auto">
              <a:xfrm>
                <a:off x="7653491" y="2258315"/>
                <a:ext cx="18211" cy="9806"/>
              </a:xfrm>
              <a:custGeom>
                <a:avLst/>
                <a:gdLst>
                  <a:gd name="T0" fmla="*/ 0 w 9"/>
                  <a:gd name="T1" fmla="*/ 3 h 5"/>
                  <a:gd name="T2" fmla="*/ 6 w 9"/>
                  <a:gd name="T3" fmla="*/ 5 h 5"/>
                  <a:gd name="T4" fmla="*/ 2 w 9"/>
                  <a:gd name="T5" fmla="*/ 5 h 5"/>
                  <a:gd name="T6" fmla="*/ 0 w 9"/>
                  <a:gd name="T7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9" h="5">
                    <a:moveTo>
                      <a:pt x="0" y="3"/>
                    </a:moveTo>
                    <a:cubicBezTo>
                      <a:pt x="0" y="0"/>
                      <a:pt x="9" y="1"/>
                      <a:pt x="6" y="5"/>
                    </a:cubicBezTo>
                    <a:cubicBezTo>
                      <a:pt x="5" y="5"/>
                      <a:pt x="3" y="5"/>
                      <a:pt x="2" y="5"/>
                    </a:cubicBezTo>
                    <a:cubicBezTo>
                      <a:pt x="2" y="4"/>
                      <a:pt x="1" y="3"/>
                      <a:pt x="0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1" name="任意多边形: 形状 100">
                <a:extLst>
                  <a:ext uri="{FF2B5EF4-FFF2-40B4-BE49-F238E27FC236}">
                    <a16:creationId xmlns:a16="http://schemas.microsoft.com/office/drawing/2014/main" id="{B11663AC-3F61-4AA6-9210-C56856E6EF82}"/>
                  </a:ext>
                </a:extLst>
              </p:cNvPr>
              <p:cNvSpPr/>
              <p:nvPr/>
            </p:nvSpPr>
            <p:spPr bwMode="auto">
              <a:xfrm>
                <a:off x="8013490" y="2280728"/>
                <a:ext cx="56031" cy="40623"/>
              </a:xfrm>
              <a:custGeom>
                <a:avLst/>
                <a:gdLst>
                  <a:gd name="T0" fmla="*/ 21 w 27"/>
                  <a:gd name="T1" fmla="*/ 0 h 19"/>
                  <a:gd name="T2" fmla="*/ 27 w 27"/>
                  <a:gd name="T3" fmla="*/ 0 h 19"/>
                  <a:gd name="T4" fmla="*/ 27 w 27"/>
                  <a:gd name="T5" fmla="*/ 5 h 19"/>
                  <a:gd name="T6" fmla="*/ 23 w 27"/>
                  <a:gd name="T7" fmla="*/ 7 h 19"/>
                  <a:gd name="T8" fmla="*/ 23 w 27"/>
                  <a:gd name="T9" fmla="*/ 13 h 19"/>
                  <a:gd name="T10" fmla="*/ 19 w 27"/>
                  <a:gd name="T11" fmla="*/ 15 h 19"/>
                  <a:gd name="T12" fmla="*/ 2 w 27"/>
                  <a:gd name="T13" fmla="*/ 9 h 19"/>
                  <a:gd name="T14" fmla="*/ 21 w 27"/>
                  <a:gd name="T15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7" h="19">
                    <a:moveTo>
                      <a:pt x="21" y="0"/>
                    </a:moveTo>
                    <a:cubicBezTo>
                      <a:pt x="23" y="0"/>
                      <a:pt x="25" y="0"/>
                      <a:pt x="27" y="0"/>
                    </a:cubicBezTo>
                    <a:cubicBezTo>
                      <a:pt x="26" y="1"/>
                      <a:pt x="27" y="4"/>
                      <a:pt x="27" y="5"/>
                    </a:cubicBezTo>
                    <a:cubicBezTo>
                      <a:pt x="26" y="7"/>
                      <a:pt x="23" y="6"/>
                      <a:pt x="23" y="7"/>
                    </a:cubicBezTo>
                    <a:cubicBezTo>
                      <a:pt x="22" y="9"/>
                      <a:pt x="26" y="11"/>
                      <a:pt x="23" y="13"/>
                    </a:cubicBezTo>
                    <a:cubicBezTo>
                      <a:pt x="21" y="11"/>
                      <a:pt x="19" y="11"/>
                      <a:pt x="19" y="15"/>
                    </a:cubicBezTo>
                    <a:cubicBezTo>
                      <a:pt x="13" y="13"/>
                      <a:pt x="0" y="19"/>
                      <a:pt x="2" y="9"/>
                    </a:cubicBezTo>
                    <a:cubicBezTo>
                      <a:pt x="12" y="13"/>
                      <a:pt x="18" y="8"/>
                      <a:pt x="21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2" name="任意多边形: 形状 101">
                <a:extLst>
                  <a:ext uri="{FF2B5EF4-FFF2-40B4-BE49-F238E27FC236}">
                    <a16:creationId xmlns:a16="http://schemas.microsoft.com/office/drawing/2014/main" id="{E1697C6A-02D5-4774-9BCE-148DE5A7F40E}"/>
                  </a:ext>
                </a:extLst>
              </p:cNvPr>
              <p:cNvSpPr/>
              <p:nvPr/>
            </p:nvSpPr>
            <p:spPr bwMode="auto">
              <a:xfrm>
                <a:off x="7509210" y="2340961"/>
                <a:ext cx="30817" cy="15409"/>
              </a:xfrm>
              <a:custGeom>
                <a:avLst/>
                <a:gdLst>
                  <a:gd name="T0" fmla="*/ 15 w 15"/>
                  <a:gd name="T1" fmla="*/ 1 h 7"/>
                  <a:gd name="T2" fmla="*/ 0 w 15"/>
                  <a:gd name="T3" fmla="*/ 6 h 7"/>
                  <a:gd name="T4" fmla="*/ 15 w 15"/>
                  <a:gd name="T5" fmla="*/ 1 h 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7">
                    <a:moveTo>
                      <a:pt x="15" y="1"/>
                    </a:moveTo>
                    <a:cubicBezTo>
                      <a:pt x="12" y="4"/>
                      <a:pt x="8" y="7"/>
                      <a:pt x="0" y="6"/>
                    </a:cubicBezTo>
                    <a:cubicBezTo>
                      <a:pt x="1" y="0"/>
                      <a:pt x="9" y="1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3" name="任意多边形: 形状 102">
                <a:extLst>
                  <a:ext uri="{FF2B5EF4-FFF2-40B4-BE49-F238E27FC236}">
                    <a16:creationId xmlns:a16="http://schemas.microsoft.com/office/drawing/2014/main" id="{86653997-3949-47F1-8D92-5F2F906B232D}"/>
                  </a:ext>
                </a:extLst>
              </p:cNvPr>
              <p:cNvSpPr/>
              <p:nvPr/>
            </p:nvSpPr>
            <p:spPr bwMode="auto">
              <a:xfrm>
                <a:off x="7556836" y="2340961"/>
                <a:ext cx="32218" cy="11206"/>
              </a:xfrm>
              <a:custGeom>
                <a:avLst/>
                <a:gdLst>
                  <a:gd name="T0" fmla="*/ 15 w 15"/>
                  <a:gd name="T1" fmla="*/ 1 h 5"/>
                  <a:gd name="T2" fmla="*/ 0 w 15"/>
                  <a:gd name="T3" fmla="*/ 4 h 5"/>
                  <a:gd name="T4" fmla="*/ 15 w 15"/>
                  <a:gd name="T5" fmla="*/ 1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</a:cxnLst>
                <a:rect l="0" t="0" r="r" b="b"/>
                <a:pathLst>
                  <a:path w="15" h="5">
                    <a:moveTo>
                      <a:pt x="15" y="1"/>
                    </a:moveTo>
                    <a:cubicBezTo>
                      <a:pt x="13" y="5"/>
                      <a:pt x="6" y="4"/>
                      <a:pt x="0" y="4"/>
                    </a:cubicBezTo>
                    <a:cubicBezTo>
                      <a:pt x="2" y="0"/>
                      <a:pt x="8" y="0"/>
                      <a:pt x="15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4" name="任意多边形: 形状 103">
                <a:extLst>
                  <a:ext uri="{FF2B5EF4-FFF2-40B4-BE49-F238E27FC236}">
                    <a16:creationId xmlns:a16="http://schemas.microsoft.com/office/drawing/2014/main" id="{11FA4043-C12B-4758-BB9A-5187B39919AA}"/>
                  </a:ext>
                </a:extLst>
              </p:cNvPr>
              <p:cNvSpPr/>
              <p:nvPr/>
            </p:nvSpPr>
            <p:spPr bwMode="auto">
              <a:xfrm>
                <a:off x="7615669" y="2340961"/>
                <a:ext cx="51829" cy="33619"/>
              </a:xfrm>
              <a:custGeom>
                <a:avLst/>
                <a:gdLst>
                  <a:gd name="T0" fmla="*/ 24 w 25"/>
                  <a:gd name="T1" fmla="*/ 1 h 16"/>
                  <a:gd name="T2" fmla="*/ 22 w 25"/>
                  <a:gd name="T3" fmla="*/ 8 h 16"/>
                  <a:gd name="T4" fmla="*/ 18 w 25"/>
                  <a:gd name="T5" fmla="*/ 8 h 16"/>
                  <a:gd name="T6" fmla="*/ 2 w 25"/>
                  <a:gd name="T7" fmla="*/ 16 h 16"/>
                  <a:gd name="T8" fmla="*/ 7 w 25"/>
                  <a:gd name="T9" fmla="*/ 10 h 16"/>
                  <a:gd name="T10" fmla="*/ 11 w 25"/>
                  <a:gd name="T11" fmla="*/ 6 h 16"/>
                  <a:gd name="T12" fmla="*/ 15 w 25"/>
                  <a:gd name="T13" fmla="*/ 2 h 16"/>
                  <a:gd name="T14" fmla="*/ 24 w 25"/>
                  <a:gd name="T15" fmla="*/ 1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5" h="16">
                    <a:moveTo>
                      <a:pt x="24" y="1"/>
                    </a:moveTo>
                    <a:cubicBezTo>
                      <a:pt x="25" y="4"/>
                      <a:pt x="23" y="7"/>
                      <a:pt x="22" y="8"/>
                    </a:cubicBezTo>
                    <a:cubicBezTo>
                      <a:pt x="21" y="9"/>
                      <a:pt x="19" y="7"/>
                      <a:pt x="18" y="8"/>
                    </a:cubicBezTo>
                    <a:cubicBezTo>
                      <a:pt x="16" y="11"/>
                      <a:pt x="10" y="16"/>
                      <a:pt x="2" y="16"/>
                    </a:cubicBezTo>
                    <a:cubicBezTo>
                      <a:pt x="0" y="11"/>
                      <a:pt x="5" y="11"/>
                      <a:pt x="7" y="10"/>
                    </a:cubicBezTo>
                    <a:cubicBezTo>
                      <a:pt x="8" y="9"/>
                      <a:pt x="10" y="7"/>
                      <a:pt x="11" y="6"/>
                    </a:cubicBezTo>
                    <a:cubicBezTo>
                      <a:pt x="12" y="5"/>
                      <a:pt x="14" y="5"/>
                      <a:pt x="15" y="2"/>
                    </a:cubicBezTo>
                    <a:cubicBezTo>
                      <a:pt x="20" y="4"/>
                      <a:pt x="19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5" name="任意多边形: 形状 104">
                <a:extLst>
                  <a:ext uri="{FF2B5EF4-FFF2-40B4-BE49-F238E27FC236}">
                    <a16:creationId xmlns:a16="http://schemas.microsoft.com/office/drawing/2014/main" id="{B3088D0F-AEAB-4685-95C3-6D8CD0388726}"/>
                  </a:ext>
                </a:extLst>
              </p:cNvPr>
              <p:cNvSpPr/>
              <p:nvPr/>
            </p:nvSpPr>
            <p:spPr bwMode="auto">
              <a:xfrm>
                <a:off x="8401509" y="2785009"/>
                <a:ext cx="28016" cy="39222"/>
              </a:xfrm>
              <a:custGeom>
                <a:avLst/>
                <a:gdLst>
                  <a:gd name="T0" fmla="*/ 2 w 13"/>
                  <a:gd name="T1" fmla="*/ 0 h 19"/>
                  <a:gd name="T2" fmla="*/ 4 w 13"/>
                  <a:gd name="T3" fmla="*/ 4 h 19"/>
                  <a:gd name="T4" fmla="*/ 9 w 13"/>
                  <a:gd name="T5" fmla="*/ 9 h 19"/>
                  <a:gd name="T6" fmla="*/ 11 w 13"/>
                  <a:gd name="T7" fmla="*/ 19 h 19"/>
                  <a:gd name="T8" fmla="*/ 6 w 13"/>
                  <a:gd name="T9" fmla="*/ 19 h 19"/>
                  <a:gd name="T10" fmla="*/ 0 w 13"/>
                  <a:gd name="T11" fmla="*/ 4 h 19"/>
                  <a:gd name="T12" fmla="*/ 2 w 13"/>
                  <a:gd name="T13" fmla="*/ 0 h 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" h="19">
                    <a:moveTo>
                      <a:pt x="2" y="0"/>
                    </a:moveTo>
                    <a:cubicBezTo>
                      <a:pt x="4" y="0"/>
                      <a:pt x="3" y="2"/>
                      <a:pt x="4" y="4"/>
                    </a:cubicBezTo>
                    <a:cubicBezTo>
                      <a:pt x="2" y="6"/>
                      <a:pt x="12" y="7"/>
                      <a:pt x="9" y="9"/>
                    </a:cubicBezTo>
                    <a:cubicBezTo>
                      <a:pt x="6" y="13"/>
                      <a:pt x="13" y="10"/>
                      <a:pt x="11" y="19"/>
                    </a:cubicBezTo>
                    <a:cubicBezTo>
                      <a:pt x="8" y="19"/>
                      <a:pt x="6" y="16"/>
                      <a:pt x="6" y="19"/>
                    </a:cubicBezTo>
                    <a:cubicBezTo>
                      <a:pt x="3" y="16"/>
                      <a:pt x="2" y="8"/>
                      <a:pt x="0" y="4"/>
                    </a:cubicBezTo>
                    <a:cubicBezTo>
                      <a:pt x="2" y="4"/>
                      <a:pt x="1" y="2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6" name="任意多边形: 形状 105">
                <a:extLst>
                  <a:ext uri="{FF2B5EF4-FFF2-40B4-BE49-F238E27FC236}">
                    <a16:creationId xmlns:a16="http://schemas.microsoft.com/office/drawing/2014/main" id="{11521A29-B068-4535-A895-B7D46B8E4658}"/>
                  </a:ext>
                </a:extLst>
              </p:cNvPr>
              <p:cNvSpPr/>
              <p:nvPr/>
            </p:nvSpPr>
            <p:spPr bwMode="auto">
              <a:xfrm>
                <a:off x="8408512" y="2820029"/>
                <a:ext cx="64436" cy="85448"/>
              </a:xfrm>
              <a:custGeom>
                <a:avLst/>
                <a:gdLst>
                  <a:gd name="T0" fmla="*/ 10 w 31"/>
                  <a:gd name="T1" fmla="*/ 0 h 41"/>
                  <a:gd name="T2" fmla="*/ 12 w 31"/>
                  <a:gd name="T3" fmla="*/ 2 h 41"/>
                  <a:gd name="T4" fmla="*/ 16 w 31"/>
                  <a:gd name="T5" fmla="*/ 2 h 41"/>
                  <a:gd name="T6" fmla="*/ 31 w 31"/>
                  <a:gd name="T7" fmla="*/ 9 h 41"/>
                  <a:gd name="T8" fmla="*/ 31 w 31"/>
                  <a:gd name="T9" fmla="*/ 19 h 41"/>
                  <a:gd name="T10" fmla="*/ 25 w 31"/>
                  <a:gd name="T11" fmla="*/ 19 h 41"/>
                  <a:gd name="T12" fmla="*/ 23 w 31"/>
                  <a:gd name="T13" fmla="*/ 22 h 41"/>
                  <a:gd name="T14" fmla="*/ 21 w 31"/>
                  <a:gd name="T15" fmla="*/ 33 h 41"/>
                  <a:gd name="T16" fmla="*/ 19 w 31"/>
                  <a:gd name="T17" fmla="*/ 37 h 41"/>
                  <a:gd name="T18" fmla="*/ 10 w 31"/>
                  <a:gd name="T19" fmla="*/ 39 h 41"/>
                  <a:gd name="T20" fmla="*/ 8 w 31"/>
                  <a:gd name="T21" fmla="*/ 33 h 41"/>
                  <a:gd name="T22" fmla="*/ 12 w 31"/>
                  <a:gd name="T23" fmla="*/ 30 h 41"/>
                  <a:gd name="T24" fmla="*/ 1 w 31"/>
                  <a:gd name="T25" fmla="*/ 24 h 41"/>
                  <a:gd name="T26" fmla="*/ 8 w 31"/>
                  <a:gd name="T27" fmla="*/ 17 h 41"/>
                  <a:gd name="T28" fmla="*/ 10 w 31"/>
                  <a:gd name="T29" fmla="*/ 0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1" h="41">
                    <a:moveTo>
                      <a:pt x="10" y="0"/>
                    </a:moveTo>
                    <a:cubicBezTo>
                      <a:pt x="12" y="0"/>
                      <a:pt x="12" y="1"/>
                      <a:pt x="12" y="2"/>
                    </a:cubicBezTo>
                    <a:cubicBezTo>
                      <a:pt x="12" y="5"/>
                      <a:pt x="16" y="2"/>
                      <a:pt x="16" y="2"/>
                    </a:cubicBezTo>
                    <a:cubicBezTo>
                      <a:pt x="21" y="5"/>
                      <a:pt x="19" y="12"/>
                      <a:pt x="31" y="9"/>
                    </a:cubicBezTo>
                    <a:cubicBezTo>
                      <a:pt x="31" y="12"/>
                      <a:pt x="31" y="15"/>
                      <a:pt x="31" y="19"/>
                    </a:cubicBezTo>
                    <a:cubicBezTo>
                      <a:pt x="29" y="19"/>
                      <a:pt x="27" y="19"/>
                      <a:pt x="25" y="19"/>
                    </a:cubicBezTo>
                    <a:cubicBezTo>
                      <a:pt x="25" y="21"/>
                      <a:pt x="25" y="22"/>
                      <a:pt x="23" y="22"/>
                    </a:cubicBezTo>
                    <a:cubicBezTo>
                      <a:pt x="27" y="27"/>
                      <a:pt x="22" y="28"/>
                      <a:pt x="21" y="33"/>
                    </a:cubicBezTo>
                    <a:cubicBezTo>
                      <a:pt x="21" y="35"/>
                      <a:pt x="15" y="36"/>
                      <a:pt x="19" y="37"/>
                    </a:cubicBezTo>
                    <a:cubicBezTo>
                      <a:pt x="20" y="41"/>
                      <a:pt x="13" y="38"/>
                      <a:pt x="10" y="39"/>
                    </a:cubicBezTo>
                    <a:cubicBezTo>
                      <a:pt x="11" y="36"/>
                      <a:pt x="8" y="36"/>
                      <a:pt x="8" y="33"/>
                    </a:cubicBezTo>
                    <a:cubicBezTo>
                      <a:pt x="8" y="30"/>
                      <a:pt x="10" y="30"/>
                      <a:pt x="12" y="30"/>
                    </a:cubicBezTo>
                    <a:cubicBezTo>
                      <a:pt x="9" y="27"/>
                      <a:pt x="8" y="22"/>
                      <a:pt x="1" y="24"/>
                    </a:cubicBezTo>
                    <a:cubicBezTo>
                      <a:pt x="0" y="19"/>
                      <a:pt x="6" y="19"/>
                      <a:pt x="8" y="17"/>
                    </a:cubicBezTo>
                    <a:cubicBezTo>
                      <a:pt x="9" y="7"/>
                      <a:pt x="8" y="7"/>
                      <a:pt x="10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7" name="任意多边形: 形状 106">
                <a:extLst>
                  <a:ext uri="{FF2B5EF4-FFF2-40B4-BE49-F238E27FC236}">
                    <a16:creationId xmlns:a16="http://schemas.microsoft.com/office/drawing/2014/main" id="{31178A76-BBA5-4322-8C1F-C7A77B5E6835}"/>
                  </a:ext>
                </a:extLst>
              </p:cNvPr>
              <p:cNvSpPr/>
              <p:nvPr/>
            </p:nvSpPr>
            <p:spPr bwMode="auto">
              <a:xfrm>
                <a:off x="7957460" y="2890068"/>
                <a:ext cx="51829" cy="56031"/>
              </a:xfrm>
              <a:custGeom>
                <a:avLst/>
                <a:gdLst>
                  <a:gd name="T0" fmla="*/ 24 w 25"/>
                  <a:gd name="T1" fmla="*/ 1 h 27"/>
                  <a:gd name="T2" fmla="*/ 24 w 25"/>
                  <a:gd name="T3" fmla="*/ 12 h 27"/>
                  <a:gd name="T4" fmla="*/ 22 w 25"/>
                  <a:gd name="T5" fmla="*/ 9 h 27"/>
                  <a:gd name="T6" fmla="*/ 20 w 25"/>
                  <a:gd name="T7" fmla="*/ 11 h 27"/>
                  <a:gd name="T8" fmla="*/ 20 w 25"/>
                  <a:gd name="T9" fmla="*/ 20 h 27"/>
                  <a:gd name="T10" fmla="*/ 16 w 25"/>
                  <a:gd name="T11" fmla="*/ 20 h 27"/>
                  <a:gd name="T12" fmla="*/ 16 w 25"/>
                  <a:gd name="T13" fmla="*/ 24 h 27"/>
                  <a:gd name="T14" fmla="*/ 11 w 25"/>
                  <a:gd name="T15" fmla="*/ 27 h 27"/>
                  <a:gd name="T16" fmla="*/ 7 w 25"/>
                  <a:gd name="T17" fmla="*/ 22 h 27"/>
                  <a:gd name="T18" fmla="*/ 3 w 25"/>
                  <a:gd name="T19" fmla="*/ 18 h 27"/>
                  <a:gd name="T20" fmla="*/ 0 w 25"/>
                  <a:gd name="T21" fmla="*/ 7 h 27"/>
                  <a:gd name="T22" fmla="*/ 15 w 25"/>
                  <a:gd name="T23" fmla="*/ 3 h 27"/>
                  <a:gd name="T24" fmla="*/ 24 w 25"/>
                  <a:gd name="T25" fmla="*/ 1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5" h="27">
                    <a:moveTo>
                      <a:pt x="24" y="1"/>
                    </a:moveTo>
                    <a:cubicBezTo>
                      <a:pt x="23" y="5"/>
                      <a:pt x="25" y="8"/>
                      <a:pt x="24" y="12"/>
                    </a:cubicBezTo>
                    <a:cubicBezTo>
                      <a:pt x="24" y="13"/>
                      <a:pt x="22" y="10"/>
                      <a:pt x="22" y="9"/>
                    </a:cubicBezTo>
                    <a:cubicBezTo>
                      <a:pt x="22" y="9"/>
                      <a:pt x="21" y="9"/>
                      <a:pt x="20" y="11"/>
                    </a:cubicBezTo>
                    <a:cubicBezTo>
                      <a:pt x="19" y="13"/>
                      <a:pt x="21" y="17"/>
                      <a:pt x="20" y="20"/>
                    </a:cubicBezTo>
                    <a:cubicBezTo>
                      <a:pt x="20" y="20"/>
                      <a:pt x="17" y="19"/>
                      <a:pt x="16" y="20"/>
                    </a:cubicBezTo>
                    <a:cubicBezTo>
                      <a:pt x="16" y="20"/>
                      <a:pt x="17" y="23"/>
                      <a:pt x="16" y="24"/>
                    </a:cubicBezTo>
                    <a:cubicBezTo>
                      <a:pt x="15" y="25"/>
                      <a:pt x="11" y="24"/>
                      <a:pt x="11" y="27"/>
                    </a:cubicBezTo>
                    <a:cubicBezTo>
                      <a:pt x="9" y="26"/>
                      <a:pt x="8" y="24"/>
                      <a:pt x="7" y="22"/>
                    </a:cubicBezTo>
                    <a:cubicBezTo>
                      <a:pt x="6" y="21"/>
                      <a:pt x="4" y="19"/>
                      <a:pt x="3" y="18"/>
                    </a:cubicBezTo>
                    <a:cubicBezTo>
                      <a:pt x="2" y="14"/>
                      <a:pt x="4" y="9"/>
                      <a:pt x="0" y="7"/>
                    </a:cubicBezTo>
                    <a:cubicBezTo>
                      <a:pt x="2" y="4"/>
                      <a:pt x="9" y="4"/>
                      <a:pt x="15" y="3"/>
                    </a:cubicBezTo>
                    <a:cubicBezTo>
                      <a:pt x="18" y="2"/>
                      <a:pt x="20" y="0"/>
                      <a:pt x="24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8" name="任意多边形: 形状 107">
                <a:extLst>
                  <a:ext uri="{FF2B5EF4-FFF2-40B4-BE49-F238E27FC236}">
                    <a16:creationId xmlns:a16="http://schemas.microsoft.com/office/drawing/2014/main" id="{F010EE4A-C0C9-4842-8D22-7D942B23D6AD}"/>
                  </a:ext>
                </a:extLst>
              </p:cNvPr>
              <p:cNvSpPr/>
              <p:nvPr/>
            </p:nvSpPr>
            <p:spPr bwMode="auto">
              <a:xfrm>
                <a:off x="4511536" y="414885"/>
                <a:ext cx="952532" cy="710197"/>
              </a:xfrm>
              <a:custGeom>
                <a:avLst/>
                <a:gdLst>
                  <a:gd name="T0" fmla="*/ 325 w 458"/>
                  <a:gd name="T1" fmla="*/ 39 h 342"/>
                  <a:gd name="T2" fmla="*/ 343 w 458"/>
                  <a:gd name="T3" fmla="*/ 40 h 342"/>
                  <a:gd name="T4" fmla="*/ 370 w 458"/>
                  <a:gd name="T5" fmla="*/ 35 h 342"/>
                  <a:gd name="T6" fmla="*/ 384 w 458"/>
                  <a:gd name="T7" fmla="*/ 37 h 342"/>
                  <a:gd name="T8" fmla="*/ 383 w 458"/>
                  <a:gd name="T9" fmla="*/ 42 h 342"/>
                  <a:gd name="T10" fmla="*/ 431 w 458"/>
                  <a:gd name="T11" fmla="*/ 33 h 342"/>
                  <a:gd name="T12" fmla="*/ 457 w 458"/>
                  <a:gd name="T13" fmla="*/ 39 h 342"/>
                  <a:gd name="T14" fmla="*/ 424 w 458"/>
                  <a:gd name="T15" fmla="*/ 55 h 342"/>
                  <a:gd name="T16" fmla="*/ 414 w 458"/>
                  <a:gd name="T17" fmla="*/ 68 h 342"/>
                  <a:gd name="T18" fmla="*/ 397 w 458"/>
                  <a:gd name="T19" fmla="*/ 87 h 342"/>
                  <a:gd name="T20" fmla="*/ 401 w 458"/>
                  <a:gd name="T21" fmla="*/ 104 h 342"/>
                  <a:gd name="T22" fmla="*/ 390 w 458"/>
                  <a:gd name="T23" fmla="*/ 121 h 342"/>
                  <a:gd name="T24" fmla="*/ 403 w 458"/>
                  <a:gd name="T25" fmla="*/ 143 h 342"/>
                  <a:gd name="T26" fmla="*/ 392 w 458"/>
                  <a:gd name="T27" fmla="*/ 160 h 342"/>
                  <a:gd name="T28" fmla="*/ 379 w 458"/>
                  <a:gd name="T29" fmla="*/ 175 h 342"/>
                  <a:gd name="T30" fmla="*/ 397 w 458"/>
                  <a:gd name="T31" fmla="*/ 208 h 342"/>
                  <a:gd name="T32" fmla="*/ 368 w 458"/>
                  <a:gd name="T33" fmla="*/ 204 h 342"/>
                  <a:gd name="T34" fmla="*/ 366 w 458"/>
                  <a:gd name="T35" fmla="*/ 216 h 342"/>
                  <a:gd name="T36" fmla="*/ 353 w 458"/>
                  <a:gd name="T37" fmla="*/ 234 h 342"/>
                  <a:gd name="T38" fmla="*/ 323 w 458"/>
                  <a:gd name="T39" fmla="*/ 242 h 342"/>
                  <a:gd name="T40" fmla="*/ 308 w 458"/>
                  <a:gd name="T41" fmla="*/ 251 h 342"/>
                  <a:gd name="T42" fmla="*/ 299 w 458"/>
                  <a:gd name="T43" fmla="*/ 262 h 342"/>
                  <a:gd name="T44" fmla="*/ 258 w 458"/>
                  <a:gd name="T45" fmla="*/ 273 h 342"/>
                  <a:gd name="T46" fmla="*/ 247 w 458"/>
                  <a:gd name="T47" fmla="*/ 290 h 342"/>
                  <a:gd name="T48" fmla="*/ 235 w 458"/>
                  <a:gd name="T49" fmla="*/ 305 h 342"/>
                  <a:gd name="T50" fmla="*/ 232 w 458"/>
                  <a:gd name="T51" fmla="*/ 320 h 342"/>
                  <a:gd name="T52" fmla="*/ 207 w 458"/>
                  <a:gd name="T53" fmla="*/ 335 h 342"/>
                  <a:gd name="T54" fmla="*/ 181 w 458"/>
                  <a:gd name="T55" fmla="*/ 322 h 342"/>
                  <a:gd name="T56" fmla="*/ 166 w 458"/>
                  <a:gd name="T57" fmla="*/ 303 h 342"/>
                  <a:gd name="T58" fmla="*/ 157 w 458"/>
                  <a:gd name="T59" fmla="*/ 290 h 342"/>
                  <a:gd name="T60" fmla="*/ 150 w 458"/>
                  <a:gd name="T61" fmla="*/ 262 h 342"/>
                  <a:gd name="T62" fmla="*/ 153 w 458"/>
                  <a:gd name="T63" fmla="*/ 253 h 342"/>
                  <a:gd name="T64" fmla="*/ 166 w 458"/>
                  <a:gd name="T65" fmla="*/ 238 h 342"/>
                  <a:gd name="T66" fmla="*/ 159 w 458"/>
                  <a:gd name="T67" fmla="*/ 219 h 342"/>
                  <a:gd name="T68" fmla="*/ 163 w 458"/>
                  <a:gd name="T69" fmla="*/ 204 h 342"/>
                  <a:gd name="T70" fmla="*/ 144 w 458"/>
                  <a:gd name="T71" fmla="*/ 199 h 342"/>
                  <a:gd name="T72" fmla="*/ 131 w 458"/>
                  <a:gd name="T73" fmla="*/ 175 h 342"/>
                  <a:gd name="T74" fmla="*/ 118 w 458"/>
                  <a:gd name="T75" fmla="*/ 148 h 342"/>
                  <a:gd name="T76" fmla="*/ 84 w 458"/>
                  <a:gd name="T77" fmla="*/ 132 h 342"/>
                  <a:gd name="T78" fmla="*/ 38 w 458"/>
                  <a:gd name="T79" fmla="*/ 134 h 342"/>
                  <a:gd name="T80" fmla="*/ 38 w 458"/>
                  <a:gd name="T81" fmla="*/ 122 h 342"/>
                  <a:gd name="T82" fmla="*/ 19 w 458"/>
                  <a:gd name="T83" fmla="*/ 106 h 342"/>
                  <a:gd name="T84" fmla="*/ 28 w 458"/>
                  <a:gd name="T85" fmla="*/ 89 h 342"/>
                  <a:gd name="T86" fmla="*/ 51 w 458"/>
                  <a:gd name="T87" fmla="*/ 80 h 342"/>
                  <a:gd name="T88" fmla="*/ 55 w 458"/>
                  <a:gd name="T89" fmla="*/ 68 h 342"/>
                  <a:gd name="T90" fmla="*/ 49 w 458"/>
                  <a:gd name="T91" fmla="*/ 61 h 342"/>
                  <a:gd name="T92" fmla="*/ 66 w 458"/>
                  <a:gd name="T93" fmla="*/ 55 h 342"/>
                  <a:gd name="T94" fmla="*/ 84 w 458"/>
                  <a:gd name="T95" fmla="*/ 37 h 342"/>
                  <a:gd name="T96" fmla="*/ 140 w 458"/>
                  <a:gd name="T97" fmla="*/ 29 h 342"/>
                  <a:gd name="T98" fmla="*/ 166 w 458"/>
                  <a:gd name="T99" fmla="*/ 37 h 342"/>
                  <a:gd name="T100" fmla="*/ 191 w 458"/>
                  <a:gd name="T101" fmla="*/ 24 h 342"/>
                  <a:gd name="T102" fmla="*/ 213 w 458"/>
                  <a:gd name="T103" fmla="*/ 25 h 342"/>
                  <a:gd name="T104" fmla="*/ 220 w 458"/>
                  <a:gd name="T105" fmla="*/ 12 h 342"/>
                  <a:gd name="T106" fmla="*/ 263 w 458"/>
                  <a:gd name="T107" fmla="*/ 3 h 342"/>
                  <a:gd name="T108" fmla="*/ 323 w 458"/>
                  <a:gd name="T109" fmla="*/ 1 h 342"/>
                  <a:gd name="T110" fmla="*/ 368 w 458"/>
                  <a:gd name="T111" fmla="*/ 16 h 342"/>
                  <a:gd name="T112" fmla="*/ 383 w 458"/>
                  <a:gd name="T113" fmla="*/ 27 h 342"/>
                  <a:gd name="T114" fmla="*/ 319 w 458"/>
                  <a:gd name="T115" fmla="*/ 29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458" h="342">
                    <a:moveTo>
                      <a:pt x="310" y="35"/>
                    </a:moveTo>
                    <a:cubicBezTo>
                      <a:pt x="310" y="37"/>
                      <a:pt x="314" y="36"/>
                      <a:pt x="314" y="39"/>
                    </a:cubicBezTo>
                    <a:cubicBezTo>
                      <a:pt x="316" y="40"/>
                      <a:pt x="319" y="37"/>
                      <a:pt x="319" y="37"/>
                    </a:cubicBezTo>
                    <a:cubicBezTo>
                      <a:pt x="322" y="36"/>
                      <a:pt x="322" y="39"/>
                      <a:pt x="325" y="39"/>
                    </a:cubicBezTo>
                    <a:cubicBezTo>
                      <a:pt x="326" y="38"/>
                      <a:pt x="327" y="37"/>
                      <a:pt x="329" y="37"/>
                    </a:cubicBezTo>
                    <a:cubicBezTo>
                      <a:pt x="330" y="36"/>
                      <a:pt x="332" y="37"/>
                      <a:pt x="334" y="37"/>
                    </a:cubicBezTo>
                    <a:cubicBezTo>
                      <a:pt x="341" y="35"/>
                      <a:pt x="349" y="32"/>
                      <a:pt x="355" y="35"/>
                    </a:cubicBezTo>
                    <a:cubicBezTo>
                      <a:pt x="353" y="39"/>
                      <a:pt x="345" y="36"/>
                      <a:pt x="343" y="40"/>
                    </a:cubicBezTo>
                    <a:cubicBezTo>
                      <a:pt x="344" y="44"/>
                      <a:pt x="347" y="40"/>
                      <a:pt x="347" y="40"/>
                    </a:cubicBezTo>
                    <a:cubicBezTo>
                      <a:pt x="351" y="41"/>
                      <a:pt x="351" y="43"/>
                      <a:pt x="356" y="40"/>
                    </a:cubicBezTo>
                    <a:cubicBezTo>
                      <a:pt x="358" y="40"/>
                      <a:pt x="359" y="39"/>
                      <a:pt x="360" y="39"/>
                    </a:cubicBezTo>
                    <a:cubicBezTo>
                      <a:pt x="361" y="38"/>
                      <a:pt x="369" y="35"/>
                      <a:pt x="370" y="35"/>
                    </a:cubicBezTo>
                    <a:cubicBezTo>
                      <a:pt x="373" y="40"/>
                      <a:pt x="368" y="33"/>
                      <a:pt x="371" y="33"/>
                    </a:cubicBezTo>
                    <a:cubicBezTo>
                      <a:pt x="372" y="33"/>
                      <a:pt x="377" y="33"/>
                      <a:pt x="377" y="33"/>
                    </a:cubicBezTo>
                    <a:cubicBezTo>
                      <a:pt x="378" y="32"/>
                      <a:pt x="381" y="30"/>
                      <a:pt x="386" y="31"/>
                    </a:cubicBezTo>
                    <a:cubicBezTo>
                      <a:pt x="386" y="34"/>
                      <a:pt x="387" y="36"/>
                      <a:pt x="384" y="37"/>
                    </a:cubicBezTo>
                    <a:cubicBezTo>
                      <a:pt x="384" y="38"/>
                      <a:pt x="382" y="39"/>
                      <a:pt x="381" y="40"/>
                    </a:cubicBezTo>
                    <a:cubicBezTo>
                      <a:pt x="379" y="43"/>
                      <a:pt x="378" y="47"/>
                      <a:pt x="373" y="46"/>
                    </a:cubicBezTo>
                    <a:cubicBezTo>
                      <a:pt x="374" y="52"/>
                      <a:pt x="377" y="44"/>
                      <a:pt x="381" y="46"/>
                    </a:cubicBezTo>
                    <a:cubicBezTo>
                      <a:pt x="383" y="47"/>
                      <a:pt x="382" y="43"/>
                      <a:pt x="383" y="42"/>
                    </a:cubicBezTo>
                    <a:cubicBezTo>
                      <a:pt x="385" y="41"/>
                      <a:pt x="392" y="43"/>
                      <a:pt x="392" y="39"/>
                    </a:cubicBezTo>
                    <a:cubicBezTo>
                      <a:pt x="396" y="45"/>
                      <a:pt x="408" y="36"/>
                      <a:pt x="411" y="40"/>
                    </a:cubicBezTo>
                    <a:cubicBezTo>
                      <a:pt x="412" y="39"/>
                      <a:pt x="414" y="37"/>
                      <a:pt x="416" y="35"/>
                    </a:cubicBezTo>
                    <a:cubicBezTo>
                      <a:pt x="422" y="37"/>
                      <a:pt x="426" y="33"/>
                      <a:pt x="431" y="33"/>
                    </a:cubicBezTo>
                    <a:cubicBezTo>
                      <a:pt x="430" y="33"/>
                      <a:pt x="432" y="35"/>
                      <a:pt x="433" y="35"/>
                    </a:cubicBezTo>
                    <a:cubicBezTo>
                      <a:pt x="434" y="35"/>
                      <a:pt x="441" y="34"/>
                      <a:pt x="442" y="35"/>
                    </a:cubicBezTo>
                    <a:cubicBezTo>
                      <a:pt x="444" y="37"/>
                      <a:pt x="443" y="34"/>
                      <a:pt x="446" y="35"/>
                    </a:cubicBezTo>
                    <a:cubicBezTo>
                      <a:pt x="449" y="36"/>
                      <a:pt x="453" y="39"/>
                      <a:pt x="457" y="39"/>
                    </a:cubicBezTo>
                    <a:cubicBezTo>
                      <a:pt x="458" y="42"/>
                      <a:pt x="455" y="41"/>
                      <a:pt x="453" y="42"/>
                    </a:cubicBezTo>
                    <a:cubicBezTo>
                      <a:pt x="452" y="43"/>
                      <a:pt x="451" y="45"/>
                      <a:pt x="450" y="46"/>
                    </a:cubicBezTo>
                    <a:cubicBezTo>
                      <a:pt x="445" y="48"/>
                      <a:pt x="437" y="47"/>
                      <a:pt x="437" y="53"/>
                    </a:cubicBezTo>
                    <a:cubicBezTo>
                      <a:pt x="432" y="53"/>
                      <a:pt x="426" y="53"/>
                      <a:pt x="424" y="55"/>
                    </a:cubicBezTo>
                    <a:cubicBezTo>
                      <a:pt x="426" y="58"/>
                      <a:pt x="430" y="59"/>
                      <a:pt x="422" y="59"/>
                    </a:cubicBezTo>
                    <a:cubicBezTo>
                      <a:pt x="422" y="61"/>
                      <a:pt x="425" y="61"/>
                      <a:pt x="427" y="61"/>
                    </a:cubicBezTo>
                    <a:cubicBezTo>
                      <a:pt x="424" y="66"/>
                      <a:pt x="415" y="65"/>
                      <a:pt x="414" y="72"/>
                    </a:cubicBezTo>
                    <a:cubicBezTo>
                      <a:pt x="411" y="72"/>
                      <a:pt x="415" y="69"/>
                      <a:pt x="414" y="68"/>
                    </a:cubicBezTo>
                    <a:cubicBezTo>
                      <a:pt x="413" y="68"/>
                      <a:pt x="408" y="71"/>
                      <a:pt x="405" y="72"/>
                    </a:cubicBezTo>
                    <a:cubicBezTo>
                      <a:pt x="405" y="74"/>
                      <a:pt x="407" y="73"/>
                      <a:pt x="409" y="74"/>
                    </a:cubicBezTo>
                    <a:cubicBezTo>
                      <a:pt x="404" y="78"/>
                      <a:pt x="407" y="77"/>
                      <a:pt x="405" y="83"/>
                    </a:cubicBezTo>
                    <a:cubicBezTo>
                      <a:pt x="405" y="85"/>
                      <a:pt x="398" y="86"/>
                      <a:pt x="397" y="87"/>
                    </a:cubicBezTo>
                    <a:cubicBezTo>
                      <a:pt x="397" y="88"/>
                      <a:pt x="398" y="92"/>
                      <a:pt x="397" y="93"/>
                    </a:cubicBezTo>
                    <a:cubicBezTo>
                      <a:pt x="396" y="94"/>
                      <a:pt x="392" y="93"/>
                      <a:pt x="390" y="94"/>
                    </a:cubicBezTo>
                    <a:cubicBezTo>
                      <a:pt x="391" y="97"/>
                      <a:pt x="393" y="97"/>
                      <a:pt x="394" y="100"/>
                    </a:cubicBezTo>
                    <a:cubicBezTo>
                      <a:pt x="395" y="104"/>
                      <a:pt x="399" y="102"/>
                      <a:pt x="401" y="104"/>
                    </a:cubicBezTo>
                    <a:cubicBezTo>
                      <a:pt x="402" y="104"/>
                      <a:pt x="401" y="107"/>
                      <a:pt x="401" y="107"/>
                    </a:cubicBezTo>
                    <a:cubicBezTo>
                      <a:pt x="403" y="109"/>
                      <a:pt x="406" y="108"/>
                      <a:pt x="407" y="109"/>
                    </a:cubicBezTo>
                    <a:cubicBezTo>
                      <a:pt x="407" y="113"/>
                      <a:pt x="409" y="113"/>
                      <a:pt x="409" y="117"/>
                    </a:cubicBezTo>
                    <a:cubicBezTo>
                      <a:pt x="403" y="119"/>
                      <a:pt x="397" y="117"/>
                      <a:pt x="390" y="121"/>
                    </a:cubicBezTo>
                    <a:cubicBezTo>
                      <a:pt x="395" y="125"/>
                      <a:pt x="399" y="131"/>
                      <a:pt x="409" y="130"/>
                    </a:cubicBezTo>
                    <a:cubicBezTo>
                      <a:pt x="408" y="133"/>
                      <a:pt x="410" y="133"/>
                      <a:pt x="412" y="134"/>
                    </a:cubicBezTo>
                    <a:cubicBezTo>
                      <a:pt x="413" y="138"/>
                      <a:pt x="409" y="136"/>
                      <a:pt x="409" y="139"/>
                    </a:cubicBezTo>
                    <a:cubicBezTo>
                      <a:pt x="409" y="141"/>
                      <a:pt x="406" y="143"/>
                      <a:pt x="403" y="143"/>
                    </a:cubicBezTo>
                    <a:cubicBezTo>
                      <a:pt x="401" y="150"/>
                      <a:pt x="410" y="146"/>
                      <a:pt x="409" y="152"/>
                    </a:cubicBezTo>
                    <a:cubicBezTo>
                      <a:pt x="405" y="152"/>
                      <a:pt x="405" y="154"/>
                      <a:pt x="407" y="154"/>
                    </a:cubicBezTo>
                    <a:cubicBezTo>
                      <a:pt x="405" y="160"/>
                      <a:pt x="401" y="153"/>
                      <a:pt x="397" y="154"/>
                    </a:cubicBezTo>
                    <a:cubicBezTo>
                      <a:pt x="394" y="154"/>
                      <a:pt x="396" y="160"/>
                      <a:pt x="392" y="160"/>
                    </a:cubicBezTo>
                    <a:cubicBezTo>
                      <a:pt x="392" y="163"/>
                      <a:pt x="393" y="164"/>
                      <a:pt x="396" y="165"/>
                    </a:cubicBezTo>
                    <a:cubicBezTo>
                      <a:pt x="395" y="168"/>
                      <a:pt x="391" y="166"/>
                      <a:pt x="388" y="167"/>
                    </a:cubicBezTo>
                    <a:cubicBezTo>
                      <a:pt x="383" y="168"/>
                      <a:pt x="378" y="172"/>
                      <a:pt x="373" y="173"/>
                    </a:cubicBezTo>
                    <a:cubicBezTo>
                      <a:pt x="373" y="175"/>
                      <a:pt x="377" y="174"/>
                      <a:pt x="379" y="175"/>
                    </a:cubicBezTo>
                    <a:cubicBezTo>
                      <a:pt x="381" y="176"/>
                      <a:pt x="382" y="182"/>
                      <a:pt x="386" y="180"/>
                    </a:cubicBezTo>
                    <a:cubicBezTo>
                      <a:pt x="388" y="184"/>
                      <a:pt x="383" y="184"/>
                      <a:pt x="383" y="186"/>
                    </a:cubicBezTo>
                    <a:cubicBezTo>
                      <a:pt x="382" y="188"/>
                      <a:pt x="385" y="194"/>
                      <a:pt x="381" y="195"/>
                    </a:cubicBezTo>
                    <a:cubicBezTo>
                      <a:pt x="383" y="202"/>
                      <a:pt x="396" y="200"/>
                      <a:pt x="397" y="208"/>
                    </a:cubicBezTo>
                    <a:cubicBezTo>
                      <a:pt x="395" y="208"/>
                      <a:pt x="390" y="209"/>
                      <a:pt x="390" y="206"/>
                    </a:cubicBezTo>
                    <a:cubicBezTo>
                      <a:pt x="388" y="207"/>
                      <a:pt x="389" y="208"/>
                      <a:pt x="390" y="208"/>
                    </a:cubicBezTo>
                    <a:cubicBezTo>
                      <a:pt x="385" y="214"/>
                      <a:pt x="382" y="213"/>
                      <a:pt x="373" y="212"/>
                    </a:cubicBezTo>
                    <a:cubicBezTo>
                      <a:pt x="376" y="205"/>
                      <a:pt x="365" y="211"/>
                      <a:pt x="368" y="204"/>
                    </a:cubicBezTo>
                    <a:cubicBezTo>
                      <a:pt x="362" y="203"/>
                      <a:pt x="362" y="208"/>
                      <a:pt x="356" y="206"/>
                    </a:cubicBezTo>
                    <a:cubicBezTo>
                      <a:pt x="359" y="209"/>
                      <a:pt x="358" y="210"/>
                      <a:pt x="355" y="210"/>
                    </a:cubicBezTo>
                    <a:cubicBezTo>
                      <a:pt x="355" y="213"/>
                      <a:pt x="366" y="213"/>
                      <a:pt x="356" y="214"/>
                    </a:cubicBezTo>
                    <a:cubicBezTo>
                      <a:pt x="358" y="218"/>
                      <a:pt x="363" y="215"/>
                      <a:pt x="366" y="216"/>
                    </a:cubicBezTo>
                    <a:cubicBezTo>
                      <a:pt x="370" y="216"/>
                      <a:pt x="375" y="219"/>
                      <a:pt x="381" y="217"/>
                    </a:cubicBezTo>
                    <a:cubicBezTo>
                      <a:pt x="377" y="223"/>
                      <a:pt x="372" y="228"/>
                      <a:pt x="368" y="232"/>
                    </a:cubicBezTo>
                    <a:cubicBezTo>
                      <a:pt x="363" y="231"/>
                      <a:pt x="360" y="233"/>
                      <a:pt x="356" y="234"/>
                    </a:cubicBezTo>
                    <a:cubicBezTo>
                      <a:pt x="356" y="234"/>
                      <a:pt x="353" y="234"/>
                      <a:pt x="353" y="234"/>
                    </a:cubicBezTo>
                    <a:cubicBezTo>
                      <a:pt x="351" y="236"/>
                      <a:pt x="352" y="234"/>
                      <a:pt x="349" y="234"/>
                    </a:cubicBezTo>
                    <a:cubicBezTo>
                      <a:pt x="344" y="234"/>
                      <a:pt x="339" y="238"/>
                      <a:pt x="332" y="238"/>
                    </a:cubicBezTo>
                    <a:cubicBezTo>
                      <a:pt x="329" y="238"/>
                      <a:pt x="332" y="240"/>
                      <a:pt x="332" y="240"/>
                    </a:cubicBezTo>
                    <a:cubicBezTo>
                      <a:pt x="330" y="244"/>
                      <a:pt x="329" y="241"/>
                      <a:pt x="323" y="242"/>
                    </a:cubicBezTo>
                    <a:cubicBezTo>
                      <a:pt x="323" y="243"/>
                      <a:pt x="325" y="243"/>
                      <a:pt x="327" y="244"/>
                    </a:cubicBezTo>
                    <a:cubicBezTo>
                      <a:pt x="327" y="246"/>
                      <a:pt x="313" y="248"/>
                      <a:pt x="315" y="242"/>
                    </a:cubicBezTo>
                    <a:cubicBezTo>
                      <a:pt x="314" y="243"/>
                      <a:pt x="309" y="242"/>
                      <a:pt x="308" y="244"/>
                    </a:cubicBezTo>
                    <a:cubicBezTo>
                      <a:pt x="307" y="245"/>
                      <a:pt x="309" y="249"/>
                      <a:pt x="308" y="251"/>
                    </a:cubicBezTo>
                    <a:cubicBezTo>
                      <a:pt x="308" y="251"/>
                      <a:pt x="303" y="249"/>
                      <a:pt x="302" y="251"/>
                    </a:cubicBezTo>
                    <a:cubicBezTo>
                      <a:pt x="302" y="252"/>
                      <a:pt x="305" y="254"/>
                      <a:pt x="304" y="257"/>
                    </a:cubicBezTo>
                    <a:cubicBezTo>
                      <a:pt x="302" y="259"/>
                      <a:pt x="301" y="257"/>
                      <a:pt x="299" y="257"/>
                    </a:cubicBezTo>
                    <a:cubicBezTo>
                      <a:pt x="299" y="258"/>
                      <a:pt x="299" y="260"/>
                      <a:pt x="299" y="262"/>
                    </a:cubicBezTo>
                    <a:cubicBezTo>
                      <a:pt x="298" y="262"/>
                      <a:pt x="296" y="262"/>
                      <a:pt x="295" y="262"/>
                    </a:cubicBezTo>
                    <a:cubicBezTo>
                      <a:pt x="293" y="263"/>
                      <a:pt x="295" y="265"/>
                      <a:pt x="293" y="266"/>
                    </a:cubicBezTo>
                    <a:cubicBezTo>
                      <a:pt x="290" y="267"/>
                      <a:pt x="282" y="265"/>
                      <a:pt x="284" y="271"/>
                    </a:cubicBezTo>
                    <a:cubicBezTo>
                      <a:pt x="276" y="273"/>
                      <a:pt x="267" y="274"/>
                      <a:pt x="258" y="273"/>
                    </a:cubicBezTo>
                    <a:cubicBezTo>
                      <a:pt x="254" y="276"/>
                      <a:pt x="252" y="285"/>
                      <a:pt x="247" y="281"/>
                    </a:cubicBezTo>
                    <a:cubicBezTo>
                      <a:pt x="247" y="282"/>
                      <a:pt x="249" y="284"/>
                      <a:pt x="248" y="286"/>
                    </a:cubicBezTo>
                    <a:cubicBezTo>
                      <a:pt x="248" y="287"/>
                      <a:pt x="245" y="286"/>
                      <a:pt x="245" y="286"/>
                    </a:cubicBezTo>
                    <a:cubicBezTo>
                      <a:pt x="244" y="287"/>
                      <a:pt x="247" y="289"/>
                      <a:pt x="247" y="290"/>
                    </a:cubicBezTo>
                    <a:cubicBezTo>
                      <a:pt x="247" y="290"/>
                      <a:pt x="245" y="291"/>
                      <a:pt x="245" y="292"/>
                    </a:cubicBezTo>
                    <a:cubicBezTo>
                      <a:pt x="245" y="294"/>
                      <a:pt x="239" y="298"/>
                      <a:pt x="243" y="299"/>
                    </a:cubicBezTo>
                    <a:cubicBezTo>
                      <a:pt x="243" y="302"/>
                      <a:pt x="240" y="300"/>
                      <a:pt x="239" y="301"/>
                    </a:cubicBezTo>
                    <a:cubicBezTo>
                      <a:pt x="238" y="302"/>
                      <a:pt x="236" y="304"/>
                      <a:pt x="235" y="305"/>
                    </a:cubicBezTo>
                    <a:cubicBezTo>
                      <a:pt x="235" y="306"/>
                      <a:pt x="236" y="308"/>
                      <a:pt x="235" y="309"/>
                    </a:cubicBezTo>
                    <a:cubicBezTo>
                      <a:pt x="233" y="311"/>
                      <a:pt x="235" y="313"/>
                      <a:pt x="233" y="316"/>
                    </a:cubicBezTo>
                    <a:cubicBezTo>
                      <a:pt x="233" y="317"/>
                      <a:pt x="230" y="316"/>
                      <a:pt x="230" y="316"/>
                    </a:cubicBezTo>
                    <a:cubicBezTo>
                      <a:pt x="230" y="317"/>
                      <a:pt x="231" y="319"/>
                      <a:pt x="232" y="320"/>
                    </a:cubicBezTo>
                    <a:cubicBezTo>
                      <a:pt x="232" y="323"/>
                      <a:pt x="230" y="323"/>
                      <a:pt x="230" y="326"/>
                    </a:cubicBezTo>
                    <a:cubicBezTo>
                      <a:pt x="230" y="327"/>
                      <a:pt x="231" y="330"/>
                      <a:pt x="232" y="329"/>
                    </a:cubicBezTo>
                    <a:cubicBezTo>
                      <a:pt x="229" y="336"/>
                      <a:pt x="226" y="338"/>
                      <a:pt x="220" y="342"/>
                    </a:cubicBezTo>
                    <a:cubicBezTo>
                      <a:pt x="214" y="342"/>
                      <a:pt x="211" y="338"/>
                      <a:pt x="207" y="335"/>
                    </a:cubicBezTo>
                    <a:cubicBezTo>
                      <a:pt x="202" y="342"/>
                      <a:pt x="191" y="331"/>
                      <a:pt x="192" y="331"/>
                    </a:cubicBezTo>
                    <a:cubicBezTo>
                      <a:pt x="191" y="331"/>
                      <a:pt x="190" y="335"/>
                      <a:pt x="191" y="335"/>
                    </a:cubicBezTo>
                    <a:cubicBezTo>
                      <a:pt x="188" y="334"/>
                      <a:pt x="188" y="331"/>
                      <a:pt x="187" y="329"/>
                    </a:cubicBezTo>
                    <a:cubicBezTo>
                      <a:pt x="185" y="327"/>
                      <a:pt x="180" y="327"/>
                      <a:pt x="181" y="322"/>
                    </a:cubicBezTo>
                    <a:cubicBezTo>
                      <a:pt x="179" y="319"/>
                      <a:pt x="176" y="318"/>
                      <a:pt x="174" y="316"/>
                    </a:cubicBezTo>
                    <a:cubicBezTo>
                      <a:pt x="174" y="314"/>
                      <a:pt x="176" y="315"/>
                      <a:pt x="178" y="314"/>
                    </a:cubicBezTo>
                    <a:cubicBezTo>
                      <a:pt x="177" y="310"/>
                      <a:pt x="173" y="312"/>
                      <a:pt x="170" y="309"/>
                    </a:cubicBezTo>
                    <a:cubicBezTo>
                      <a:pt x="169" y="307"/>
                      <a:pt x="169" y="304"/>
                      <a:pt x="166" y="303"/>
                    </a:cubicBezTo>
                    <a:cubicBezTo>
                      <a:pt x="163" y="307"/>
                      <a:pt x="166" y="300"/>
                      <a:pt x="166" y="301"/>
                    </a:cubicBezTo>
                    <a:cubicBezTo>
                      <a:pt x="166" y="299"/>
                      <a:pt x="164" y="301"/>
                      <a:pt x="163" y="299"/>
                    </a:cubicBezTo>
                    <a:cubicBezTo>
                      <a:pt x="161" y="297"/>
                      <a:pt x="164" y="294"/>
                      <a:pt x="161" y="294"/>
                    </a:cubicBezTo>
                    <a:cubicBezTo>
                      <a:pt x="157" y="294"/>
                      <a:pt x="160" y="286"/>
                      <a:pt x="157" y="290"/>
                    </a:cubicBezTo>
                    <a:cubicBezTo>
                      <a:pt x="155" y="289"/>
                      <a:pt x="155" y="286"/>
                      <a:pt x="151" y="286"/>
                    </a:cubicBezTo>
                    <a:cubicBezTo>
                      <a:pt x="152" y="284"/>
                      <a:pt x="155" y="283"/>
                      <a:pt x="155" y="281"/>
                    </a:cubicBezTo>
                    <a:cubicBezTo>
                      <a:pt x="155" y="278"/>
                      <a:pt x="151" y="279"/>
                      <a:pt x="148" y="279"/>
                    </a:cubicBezTo>
                    <a:cubicBezTo>
                      <a:pt x="146" y="272"/>
                      <a:pt x="147" y="269"/>
                      <a:pt x="150" y="262"/>
                    </a:cubicBezTo>
                    <a:cubicBezTo>
                      <a:pt x="145" y="259"/>
                      <a:pt x="153" y="256"/>
                      <a:pt x="146" y="257"/>
                    </a:cubicBezTo>
                    <a:cubicBezTo>
                      <a:pt x="145" y="254"/>
                      <a:pt x="149" y="256"/>
                      <a:pt x="150" y="255"/>
                    </a:cubicBezTo>
                    <a:cubicBezTo>
                      <a:pt x="150" y="254"/>
                      <a:pt x="149" y="251"/>
                      <a:pt x="150" y="251"/>
                    </a:cubicBezTo>
                    <a:cubicBezTo>
                      <a:pt x="151" y="251"/>
                      <a:pt x="152" y="253"/>
                      <a:pt x="153" y="253"/>
                    </a:cubicBezTo>
                    <a:cubicBezTo>
                      <a:pt x="153" y="249"/>
                      <a:pt x="153" y="245"/>
                      <a:pt x="153" y="242"/>
                    </a:cubicBezTo>
                    <a:cubicBezTo>
                      <a:pt x="156" y="242"/>
                      <a:pt x="158" y="240"/>
                      <a:pt x="159" y="238"/>
                    </a:cubicBezTo>
                    <a:cubicBezTo>
                      <a:pt x="161" y="238"/>
                      <a:pt x="160" y="240"/>
                      <a:pt x="161" y="242"/>
                    </a:cubicBezTo>
                    <a:cubicBezTo>
                      <a:pt x="163" y="240"/>
                      <a:pt x="163" y="237"/>
                      <a:pt x="166" y="238"/>
                    </a:cubicBezTo>
                    <a:cubicBezTo>
                      <a:pt x="168" y="236"/>
                      <a:pt x="164" y="235"/>
                      <a:pt x="164" y="234"/>
                    </a:cubicBezTo>
                    <a:cubicBezTo>
                      <a:pt x="165" y="232"/>
                      <a:pt x="170" y="232"/>
                      <a:pt x="170" y="230"/>
                    </a:cubicBezTo>
                    <a:cubicBezTo>
                      <a:pt x="171" y="227"/>
                      <a:pt x="164" y="226"/>
                      <a:pt x="168" y="221"/>
                    </a:cubicBezTo>
                    <a:cubicBezTo>
                      <a:pt x="160" y="226"/>
                      <a:pt x="172" y="217"/>
                      <a:pt x="159" y="219"/>
                    </a:cubicBezTo>
                    <a:cubicBezTo>
                      <a:pt x="158" y="213"/>
                      <a:pt x="164" y="214"/>
                      <a:pt x="170" y="214"/>
                    </a:cubicBezTo>
                    <a:cubicBezTo>
                      <a:pt x="170" y="212"/>
                      <a:pt x="166" y="212"/>
                      <a:pt x="166" y="210"/>
                    </a:cubicBezTo>
                    <a:cubicBezTo>
                      <a:pt x="167" y="208"/>
                      <a:pt x="164" y="209"/>
                      <a:pt x="163" y="208"/>
                    </a:cubicBezTo>
                    <a:cubicBezTo>
                      <a:pt x="162" y="208"/>
                      <a:pt x="163" y="205"/>
                      <a:pt x="163" y="204"/>
                    </a:cubicBezTo>
                    <a:cubicBezTo>
                      <a:pt x="162" y="204"/>
                      <a:pt x="158" y="201"/>
                      <a:pt x="157" y="201"/>
                    </a:cubicBezTo>
                    <a:cubicBezTo>
                      <a:pt x="156" y="201"/>
                      <a:pt x="154" y="196"/>
                      <a:pt x="151" y="193"/>
                    </a:cubicBezTo>
                    <a:cubicBezTo>
                      <a:pt x="149" y="196"/>
                      <a:pt x="148" y="199"/>
                      <a:pt x="146" y="193"/>
                    </a:cubicBezTo>
                    <a:cubicBezTo>
                      <a:pt x="144" y="194"/>
                      <a:pt x="144" y="197"/>
                      <a:pt x="144" y="199"/>
                    </a:cubicBezTo>
                    <a:cubicBezTo>
                      <a:pt x="141" y="199"/>
                      <a:pt x="138" y="199"/>
                      <a:pt x="135" y="199"/>
                    </a:cubicBezTo>
                    <a:cubicBezTo>
                      <a:pt x="129" y="191"/>
                      <a:pt x="133" y="185"/>
                      <a:pt x="135" y="176"/>
                    </a:cubicBezTo>
                    <a:cubicBezTo>
                      <a:pt x="134" y="175"/>
                      <a:pt x="133" y="173"/>
                      <a:pt x="133" y="171"/>
                    </a:cubicBezTo>
                    <a:cubicBezTo>
                      <a:pt x="131" y="171"/>
                      <a:pt x="131" y="173"/>
                      <a:pt x="131" y="175"/>
                    </a:cubicBezTo>
                    <a:cubicBezTo>
                      <a:pt x="126" y="175"/>
                      <a:pt x="133" y="164"/>
                      <a:pt x="125" y="167"/>
                    </a:cubicBezTo>
                    <a:cubicBezTo>
                      <a:pt x="128" y="164"/>
                      <a:pt x="128" y="162"/>
                      <a:pt x="125" y="160"/>
                    </a:cubicBezTo>
                    <a:cubicBezTo>
                      <a:pt x="125" y="157"/>
                      <a:pt x="122" y="158"/>
                      <a:pt x="120" y="158"/>
                    </a:cubicBezTo>
                    <a:cubicBezTo>
                      <a:pt x="118" y="155"/>
                      <a:pt x="119" y="151"/>
                      <a:pt x="118" y="148"/>
                    </a:cubicBezTo>
                    <a:cubicBezTo>
                      <a:pt x="117" y="146"/>
                      <a:pt x="112" y="146"/>
                      <a:pt x="114" y="141"/>
                    </a:cubicBezTo>
                    <a:cubicBezTo>
                      <a:pt x="111" y="142"/>
                      <a:pt x="110" y="140"/>
                      <a:pt x="109" y="139"/>
                    </a:cubicBezTo>
                    <a:cubicBezTo>
                      <a:pt x="108" y="139"/>
                      <a:pt x="105" y="140"/>
                      <a:pt x="105" y="139"/>
                    </a:cubicBezTo>
                    <a:cubicBezTo>
                      <a:pt x="103" y="136"/>
                      <a:pt x="88" y="138"/>
                      <a:pt x="84" y="132"/>
                    </a:cubicBezTo>
                    <a:cubicBezTo>
                      <a:pt x="77" y="135"/>
                      <a:pt x="62" y="127"/>
                      <a:pt x="58" y="132"/>
                    </a:cubicBezTo>
                    <a:cubicBezTo>
                      <a:pt x="56" y="135"/>
                      <a:pt x="56" y="131"/>
                      <a:pt x="53" y="132"/>
                    </a:cubicBezTo>
                    <a:cubicBezTo>
                      <a:pt x="48" y="132"/>
                      <a:pt x="44" y="135"/>
                      <a:pt x="40" y="135"/>
                    </a:cubicBezTo>
                    <a:cubicBezTo>
                      <a:pt x="40" y="135"/>
                      <a:pt x="39" y="134"/>
                      <a:pt x="38" y="134"/>
                    </a:cubicBezTo>
                    <a:cubicBezTo>
                      <a:pt x="36" y="133"/>
                      <a:pt x="34" y="134"/>
                      <a:pt x="32" y="134"/>
                    </a:cubicBezTo>
                    <a:cubicBezTo>
                      <a:pt x="32" y="130"/>
                      <a:pt x="31" y="129"/>
                      <a:pt x="28" y="128"/>
                    </a:cubicBezTo>
                    <a:cubicBezTo>
                      <a:pt x="28" y="125"/>
                      <a:pt x="33" y="127"/>
                      <a:pt x="34" y="126"/>
                    </a:cubicBezTo>
                    <a:cubicBezTo>
                      <a:pt x="35" y="125"/>
                      <a:pt x="29" y="121"/>
                      <a:pt x="38" y="122"/>
                    </a:cubicBezTo>
                    <a:cubicBezTo>
                      <a:pt x="35" y="117"/>
                      <a:pt x="21" y="123"/>
                      <a:pt x="17" y="119"/>
                    </a:cubicBezTo>
                    <a:cubicBezTo>
                      <a:pt x="21" y="109"/>
                      <a:pt x="33" y="119"/>
                      <a:pt x="40" y="111"/>
                    </a:cubicBezTo>
                    <a:cubicBezTo>
                      <a:pt x="36" y="107"/>
                      <a:pt x="24" y="110"/>
                      <a:pt x="19" y="111"/>
                    </a:cubicBezTo>
                    <a:cubicBezTo>
                      <a:pt x="17" y="109"/>
                      <a:pt x="18" y="108"/>
                      <a:pt x="19" y="106"/>
                    </a:cubicBezTo>
                    <a:cubicBezTo>
                      <a:pt x="18" y="105"/>
                      <a:pt x="17" y="106"/>
                      <a:pt x="17" y="107"/>
                    </a:cubicBezTo>
                    <a:cubicBezTo>
                      <a:pt x="15" y="107"/>
                      <a:pt x="16" y="105"/>
                      <a:pt x="15" y="104"/>
                    </a:cubicBezTo>
                    <a:cubicBezTo>
                      <a:pt x="8" y="105"/>
                      <a:pt x="5" y="102"/>
                      <a:pt x="0" y="100"/>
                    </a:cubicBezTo>
                    <a:cubicBezTo>
                      <a:pt x="4" y="88"/>
                      <a:pt x="19" y="91"/>
                      <a:pt x="28" y="89"/>
                    </a:cubicBezTo>
                    <a:cubicBezTo>
                      <a:pt x="31" y="88"/>
                      <a:pt x="30" y="89"/>
                      <a:pt x="32" y="87"/>
                    </a:cubicBezTo>
                    <a:cubicBezTo>
                      <a:pt x="32" y="87"/>
                      <a:pt x="35" y="85"/>
                      <a:pt x="34" y="85"/>
                    </a:cubicBezTo>
                    <a:cubicBezTo>
                      <a:pt x="39" y="83"/>
                      <a:pt x="46" y="85"/>
                      <a:pt x="49" y="83"/>
                    </a:cubicBezTo>
                    <a:cubicBezTo>
                      <a:pt x="51" y="82"/>
                      <a:pt x="49" y="81"/>
                      <a:pt x="51" y="80"/>
                    </a:cubicBezTo>
                    <a:cubicBezTo>
                      <a:pt x="52" y="78"/>
                      <a:pt x="55" y="79"/>
                      <a:pt x="56" y="78"/>
                    </a:cubicBezTo>
                    <a:cubicBezTo>
                      <a:pt x="58" y="76"/>
                      <a:pt x="59" y="74"/>
                      <a:pt x="62" y="72"/>
                    </a:cubicBezTo>
                    <a:cubicBezTo>
                      <a:pt x="64" y="66"/>
                      <a:pt x="56" y="71"/>
                      <a:pt x="58" y="65"/>
                    </a:cubicBezTo>
                    <a:cubicBezTo>
                      <a:pt x="55" y="62"/>
                      <a:pt x="55" y="68"/>
                      <a:pt x="55" y="68"/>
                    </a:cubicBezTo>
                    <a:cubicBezTo>
                      <a:pt x="53" y="69"/>
                      <a:pt x="45" y="64"/>
                      <a:pt x="40" y="66"/>
                    </a:cubicBezTo>
                    <a:cubicBezTo>
                      <a:pt x="37" y="61"/>
                      <a:pt x="44" y="64"/>
                      <a:pt x="45" y="63"/>
                    </a:cubicBezTo>
                    <a:cubicBezTo>
                      <a:pt x="45" y="62"/>
                      <a:pt x="45" y="61"/>
                      <a:pt x="45" y="61"/>
                    </a:cubicBezTo>
                    <a:cubicBezTo>
                      <a:pt x="46" y="60"/>
                      <a:pt x="48" y="61"/>
                      <a:pt x="49" y="61"/>
                    </a:cubicBezTo>
                    <a:cubicBezTo>
                      <a:pt x="49" y="60"/>
                      <a:pt x="50" y="57"/>
                      <a:pt x="51" y="57"/>
                    </a:cubicBezTo>
                    <a:cubicBezTo>
                      <a:pt x="53" y="56"/>
                      <a:pt x="52" y="59"/>
                      <a:pt x="53" y="59"/>
                    </a:cubicBezTo>
                    <a:cubicBezTo>
                      <a:pt x="53" y="59"/>
                      <a:pt x="59" y="58"/>
                      <a:pt x="58" y="53"/>
                    </a:cubicBezTo>
                    <a:cubicBezTo>
                      <a:pt x="62" y="53"/>
                      <a:pt x="62" y="56"/>
                      <a:pt x="66" y="55"/>
                    </a:cubicBezTo>
                    <a:cubicBezTo>
                      <a:pt x="69" y="55"/>
                      <a:pt x="66" y="53"/>
                      <a:pt x="66" y="53"/>
                    </a:cubicBezTo>
                    <a:cubicBezTo>
                      <a:pt x="66" y="51"/>
                      <a:pt x="70" y="52"/>
                      <a:pt x="69" y="48"/>
                    </a:cubicBezTo>
                    <a:cubicBezTo>
                      <a:pt x="74" y="48"/>
                      <a:pt x="78" y="48"/>
                      <a:pt x="83" y="48"/>
                    </a:cubicBezTo>
                    <a:cubicBezTo>
                      <a:pt x="87" y="48"/>
                      <a:pt x="83" y="40"/>
                      <a:pt x="84" y="37"/>
                    </a:cubicBezTo>
                    <a:cubicBezTo>
                      <a:pt x="91" y="38"/>
                      <a:pt x="97" y="40"/>
                      <a:pt x="103" y="37"/>
                    </a:cubicBezTo>
                    <a:cubicBezTo>
                      <a:pt x="103" y="35"/>
                      <a:pt x="101" y="35"/>
                      <a:pt x="99" y="35"/>
                    </a:cubicBezTo>
                    <a:cubicBezTo>
                      <a:pt x="101" y="32"/>
                      <a:pt x="107" y="33"/>
                      <a:pt x="110" y="31"/>
                    </a:cubicBezTo>
                    <a:cubicBezTo>
                      <a:pt x="115" y="28"/>
                      <a:pt x="129" y="30"/>
                      <a:pt x="140" y="29"/>
                    </a:cubicBezTo>
                    <a:cubicBezTo>
                      <a:pt x="143" y="29"/>
                      <a:pt x="144" y="27"/>
                      <a:pt x="146" y="27"/>
                    </a:cubicBezTo>
                    <a:cubicBezTo>
                      <a:pt x="151" y="27"/>
                      <a:pt x="155" y="29"/>
                      <a:pt x="159" y="27"/>
                    </a:cubicBezTo>
                    <a:cubicBezTo>
                      <a:pt x="158" y="29"/>
                      <a:pt x="160" y="34"/>
                      <a:pt x="161" y="33"/>
                    </a:cubicBezTo>
                    <a:cubicBezTo>
                      <a:pt x="163" y="30"/>
                      <a:pt x="161" y="32"/>
                      <a:pt x="166" y="37"/>
                    </a:cubicBezTo>
                    <a:cubicBezTo>
                      <a:pt x="170" y="36"/>
                      <a:pt x="163" y="31"/>
                      <a:pt x="172" y="33"/>
                    </a:cubicBezTo>
                    <a:cubicBezTo>
                      <a:pt x="169" y="30"/>
                      <a:pt x="175" y="26"/>
                      <a:pt x="166" y="25"/>
                    </a:cubicBezTo>
                    <a:cubicBezTo>
                      <a:pt x="167" y="22"/>
                      <a:pt x="181" y="16"/>
                      <a:pt x="181" y="24"/>
                    </a:cubicBezTo>
                    <a:cubicBezTo>
                      <a:pt x="187" y="24"/>
                      <a:pt x="186" y="21"/>
                      <a:pt x="191" y="24"/>
                    </a:cubicBezTo>
                    <a:cubicBezTo>
                      <a:pt x="193" y="25"/>
                      <a:pt x="194" y="26"/>
                      <a:pt x="196" y="27"/>
                    </a:cubicBezTo>
                    <a:cubicBezTo>
                      <a:pt x="198" y="29"/>
                      <a:pt x="204" y="29"/>
                      <a:pt x="211" y="31"/>
                    </a:cubicBezTo>
                    <a:cubicBezTo>
                      <a:pt x="211" y="29"/>
                      <a:pt x="209" y="30"/>
                      <a:pt x="207" y="29"/>
                    </a:cubicBezTo>
                    <a:cubicBezTo>
                      <a:pt x="208" y="27"/>
                      <a:pt x="210" y="25"/>
                      <a:pt x="213" y="25"/>
                    </a:cubicBezTo>
                    <a:cubicBezTo>
                      <a:pt x="210" y="21"/>
                      <a:pt x="202" y="21"/>
                      <a:pt x="196" y="20"/>
                    </a:cubicBezTo>
                    <a:cubicBezTo>
                      <a:pt x="196" y="15"/>
                      <a:pt x="204" y="16"/>
                      <a:pt x="209" y="16"/>
                    </a:cubicBezTo>
                    <a:cubicBezTo>
                      <a:pt x="210" y="12"/>
                      <a:pt x="207" y="13"/>
                      <a:pt x="204" y="12"/>
                    </a:cubicBezTo>
                    <a:cubicBezTo>
                      <a:pt x="208" y="5"/>
                      <a:pt x="215" y="12"/>
                      <a:pt x="220" y="12"/>
                    </a:cubicBezTo>
                    <a:cubicBezTo>
                      <a:pt x="224" y="13"/>
                      <a:pt x="224" y="10"/>
                      <a:pt x="228" y="11"/>
                    </a:cubicBezTo>
                    <a:cubicBezTo>
                      <a:pt x="237" y="11"/>
                      <a:pt x="243" y="15"/>
                      <a:pt x="250" y="11"/>
                    </a:cubicBezTo>
                    <a:cubicBezTo>
                      <a:pt x="253" y="9"/>
                      <a:pt x="257" y="10"/>
                      <a:pt x="261" y="9"/>
                    </a:cubicBezTo>
                    <a:cubicBezTo>
                      <a:pt x="264" y="8"/>
                      <a:pt x="263" y="5"/>
                      <a:pt x="263" y="3"/>
                    </a:cubicBezTo>
                    <a:cubicBezTo>
                      <a:pt x="266" y="3"/>
                      <a:pt x="270" y="4"/>
                      <a:pt x="273" y="3"/>
                    </a:cubicBezTo>
                    <a:cubicBezTo>
                      <a:pt x="275" y="3"/>
                      <a:pt x="276" y="1"/>
                      <a:pt x="278" y="1"/>
                    </a:cubicBezTo>
                    <a:cubicBezTo>
                      <a:pt x="282" y="1"/>
                      <a:pt x="287" y="4"/>
                      <a:pt x="295" y="3"/>
                    </a:cubicBezTo>
                    <a:cubicBezTo>
                      <a:pt x="300" y="2"/>
                      <a:pt x="312" y="0"/>
                      <a:pt x="323" y="1"/>
                    </a:cubicBezTo>
                    <a:cubicBezTo>
                      <a:pt x="326" y="1"/>
                      <a:pt x="326" y="3"/>
                      <a:pt x="329" y="3"/>
                    </a:cubicBezTo>
                    <a:cubicBezTo>
                      <a:pt x="339" y="5"/>
                      <a:pt x="349" y="1"/>
                      <a:pt x="349" y="11"/>
                    </a:cubicBezTo>
                    <a:cubicBezTo>
                      <a:pt x="354" y="12"/>
                      <a:pt x="354" y="8"/>
                      <a:pt x="358" y="9"/>
                    </a:cubicBezTo>
                    <a:cubicBezTo>
                      <a:pt x="358" y="15"/>
                      <a:pt x="365" y="13"/>
                      <a:pt x="368" y="16"/>
                    </a:cubicBezTo>
                    <a:cubicBezTo>
                      <a:pt x="373" y="18"/>
                      <a:pt x="373" y="14"/>
                      <a:pt x="377" y="14"/>
                    </a:cubicBezTo>
                    <a:cubicBezTo>
                      <a:pt x="375" y="21"/>
                      <a:pt x="384" y="17"/>
                      <a:pt x="388" y="18"/>
                    </a:cubicBezTo>
                    <a:cubicBezTo>
                      <a:pt x="385" y="22"/>
                      <a:pt x="385" y="19"/>
                      <a:pt x="386" y="25"/>
                    </a:cubicBezTo>
                    <a:cubicBezTo>
                      <a:pt x="384" y="23"/>
                      <a:pt x="382" y="24"/>
                      <a:pt x="383" y="27"/>
                    </a:cubicBezTo>
                    <a:cubicBezTo>
                      <a:pt x="363" y="29"/>
                      <a:pt x="339" y="30"/>
                      <a:pt x="325" y="31"/>
                    </a:cubicBezTo>
                    <a:cubicBezTo>
                      <a:pt x="323" y="31"/>
                      <a:pt x="323" y="32"/>
                      <a:pt x="323" y="33"/>
                    </a:cubicBezTo>
                    <a:cubicBezTo>
                      <a:pt x="321" y="33"/>
                      <a:pt x="322" y="31"/>
                      <a:pt x="323" y="31"/>
                    </a:cubicBezTo>
                    <a:cubicBezTo>
                      <a:pt x="324" y="30"/>
                      <a:pt x="320" y="29"/>
                      <a:pt x="319" y="29"/>
                    </a:cubicBezTo>
                    <a:cubicBezTo>
                      <a:pt x="319" y="30"/>
                      <a:pt x="320" y="33"/>
                      <a:pt x="319" y="33"/>
                    </a:cubicBezTo>
                    <a:cubicBezTo>
                      <a:pt x="316" y="34"/>
                      <a:pt x="312" y="32"/>
                      <a:pt x="310" y="3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09" name="任意多边形: 形状 108">
                <a:extLst>
                  <a:ext uri="{FF2B5EF4-FFF2-40B4-BE49-F238E27FC236}">
                    <a16:creationId xmlns:a16="http://schemas.microsoft.com/office/drawing/2014/main" id="{96BC56C6-E974-45D8-9D97-1567B5BE3A66}"/>
                  </a:ext>
                </a:extLst>
              </p:cNvPr>
              <p:cNvSpPr/>
              <p:nvPr/>
            </p:nvSpPr>
            <p:spPr bwMode="auto">
              <a:xfrm>
                <a:off x="4224375" y="434497"/>
                <a:ext cx="466461" cy="253542"/>
              </a:xfrm>
              <a:custGeom>
                <a:avLst/>
                <a:gdLst>
                  <a:gd name="T0" fmla="*/ 209 w 224"/>
                  <a:gd name="T1" fmla="*/ 12 h 122"/>
                  <a:gd name="T2" fmla="*/ 222 w 224"/>
                  <a:gd name="T3" fmla="*/ 19 h 122"/>
                  <a:gd name="T4" fmla="*/ 217 w 224"/>
                  <a:gd name="T5" fmla="*/ 23 h 122"/>
                  <a:gd name="T6" fmla="*/ 207 w 224"/>
                  <a:gd name="T7" fmla="*/ 27 h 122"/>
                  <a:gd name="T8" fmla="*/ 181 w 224"/>
                  <a:gd name="T9" fmla="*/ 32 h 122"/>
                  <a:gd name="T10" fmla="*/ 193 w 224"/>
                  <a:gd name="T11" fmla="*/ 36 h 122"/>
                  <a:gd name="T12" fmla="*/ 170 w 224"/>
                  <a:gd name="T13" fmla="*/ 45 h 122"/>
                  <a:gd name="T14" fmla="*/ 163 w 224"/>
                  <a:gd name="T15" fmla="*/ 49 h 122"/>
                  <a:gd name="T16" fmla="*/ 152 w 224"/>
                  <a:gd name="T17" fmla="*/ 55 h 122"/>
                  <a:gd name="T18" fmla="*/ 133 w 224"/>
                  <a:gd name="T19" fmla="*/ 62 h 122"/>
                  <a:gd name="T20" fmla="*/ 127 w 224"/>
                  <a:gd name="T21" fmla="*/ 68 h 122"/>
                  <a:gd name="T22" fmla="*/ 114 w 224"/>
                  <a:gd name="T23" fmla="*/ 70 h 122"/>
                  <a:gd name="T24" fmla="*/ 122 w 224"/>
                  <a:gd name="T25" fmla="*/ 81 h 122"/>
                  <a:gd name="T26" fmla="*/ 109 w 224"/>
                  <a:gd name="T27" fmla="*/ 90 h 122"/>
                  <a:gd name="T28" fmla="*/ 99 w 224"/>
                  <a:gd name="T29" fmla="*/ 96 h 122"/>
                  <a:gd name="T30" fmla="*/ 83 w 224"/>
                  <a:gd name="T31" fmla="*/ 107 h 122"/>
                  <a:gd name="T32" fmla="*/ 88 w 224"/>
                  <a:gd name="T33" fmla="*/ 116 h 122"/>
                  <a:gd name="T34" fmla="*/ 73 w 224"/>
                  <a:gd name="T35" fmla="*/ 120 h 122"/>
                  <a:gd name="T36" fmla="*/ 45 w 224"/>
                  <a:gd name="T37" fmla="*/ 114 h 122"/>
                  <a:gd name="T38" fmla="*/ 36 w 224"/>
                  <a:gd name="T39" fmla="*/ 116 h 122"/>
                  <a:gd name="T40" fmla="*/ 23 w 224"/>
                  <a:gd name="T41" fmla="*/ 107 h 122"/>
                  <a:gd name="T42" fmla="*/ 36 w 224"/>
                  <a:gd name="T43" fmla="*/ 96 h 122"/>
                  <a:gd name="T44" fmla="*/ 51 w 224"/>
                  <a:gd name="T45" fmla="*/ 96 h 122"/>
                  <a:gd name="T46" fmla="*/ 25 w 224"/>
                  <a:gd name="T47" fmla="*/ 90 h 122"/>
                  <a:gd name="T48" fmla="*/ 40 w 224"/>
                  <a:gd name="T49" fmla="*/ 79 h 122"/>
                  <a:gd name="T50" fmla="*/ 53 w 224"/>
                  <a:gd name="T51" fmla="*/ 79 h 122"/>
                  <a:gd name="T52" fmla="*/ 53 w 224"/>
                  <a:gd name="T53" fmla="*/ 71 h 122"/>
                  <a:gd name="T54" fmla="*/ 49 w 224"/>
                  <a:gd name="T55" fmla="*/ 62 h 122"/>
                  <a:gd name="T56" fmla="*/ 40 w 224"/>
                  <a:gd name="T57" fmla="*/ 58 h 122"/>
                  <a:gd name="T58" fmla="*/ 60 w 224"/>
                  <a:gd name="T59" fmla="*/ 56 h 122"/>
                  <a:gd name="T60" fmla="*/ 68 w 224"/>
                  <a:gd name="T61" fmla="*/ 53 h 122"/>
                  <a:gd name="T62" fmla="*/ 83 w 224"/>
                  <a:gd name="T63" fmla="*/ 42 h 122"/>
                  <a:gd name="T64" fmla="*/ 51 w 224"/>
                  <a:gd name="T65" fmla="*/ 47 h 122"/>
                  <a:gd name="T66" fmla="*/ 29 w 224"/>
                  <a:gd name="T67" fmla="*/ 42 h 122"/>
                  <a:gd name="T68" fmla="*/ 6 w 224"/>
                  <a:gd name="T69" fmla="*/ 36 h 122"/>
                  <a:gd name="T70" fmla="*/ 2 w 224"/>
                  <a:gd name="T71" fmla="*/ 25 h 122"/>
                  <a:gd name="T72" fmla="*/ 40 w 224"/>
                  <a:gd name="T73" fmla="*/ 15 h 122"/>
                  <a:gd name="T74" fmla="*/ 66 w 224"/>
                  <a:gd name="T75" fmla="*/ 10 h 122"/>
                  <a:gd name="T76" fmla="*/ 97 w 224"/>
                  <a:gd name="T77" fmla="*/ 4 h 122"/>
                  <a:gd name="T78" fmla="*/ 129 w 224"/>
                  <a:gd name="T79" fmla="*/ 2 h 122"/>
                  <a:gd name="T80" fmla="*/ 146 w 224"/>
                  <a:gd name="T81" fmla="*/ 2 h 122"/>
                  <a:gd name="T82" fmla="*/ 178 w 224"/>
                  <a:gd name="T83" fmla="*/ 2 h 122"/>
                  <a:gd name="T84" fmla="*/ 209 w 224"/>
                  <a:gd name="T85" fmla="*/ 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24" h="122">
                    <a:moveTo>
                      <a:pt x="209" y="4"/>
                    </a:moveTo>
                    <a:cubicBezTo>
                      <a:pt x="206" y="8"/>
                      <a:pt x="209" y="7"/>
                      <a:pt x="209" y="12"/>
                    </a:cubicBezTo>
                    <a:cubicBezTo>
                      <a:pt x="214" y="12"/>
                      <a:pt x="219" y="12"/>
                      <a:pt x="224" y="12"/>
                    </a:cubicBezTo>
                    <a:cubicBezTo>
                      <a:pt x="224" y="15"/>
                      <a:pt x="222" y="16"/>
                      <a:pt x="222" y="19"/>
                    </a:cubicBezTo>
                    <a:cubicBezTo>
                      <a:pt x="221" y="20"/>
                      <a:pt x="218" y="18"/>
                      <a:pt x="217" y="19"/>
                    </a:cubicBezTo>
                    <a:cubicBezTo>
                      <a:pt x="216" y="20"/>
                      <a:pt x="217" y="23"/>
                      <a:pt x="217" y="23"/>
                    </a:cubicBezTo>
                    <a:cubicBezTo>
                      <a:pt x="214" y="24"/>
                      <a:pt x="210" y="25"/>
                      <a:pt x="209" y="23"/>
                    </a:cubicBezTo>
                    <a:cubicBezTo>
                      <a:pt x="207" y="22"/>
                      <a:pt x="208" y="26"/>
                      <a:pt x="207" y="27"/>
                    </a:cubicBezTo>
                    <a:cubicBezTo>
                      <a:pt x="205" y="28"/>
                      <a:pt x="200" y="25"/>
                      <a:pt x="200" y="29"/>
                    </a:cubicBezTo>
                    <a:cubicBezTo>
                      <a:pt x="194" y="28"/>
                      <a:pt x="185" y="26"/>
                      <a:pt x="181" y="32"/>
                    </a:cubicBezTo>
                    <a:cubicBezTo>
                      <a:pt x="183" y="37"/>
                      <a:pt x="191" y="32"/>
                      <a:pt x="193" y="30"/>
                    </a:cubicBezTo>
                    <a:cubicBezTo>
                      <a:pt x="195" y="31"/>
                      <a:pt x="192" y="33"/>
                      <a:pt x="193" y="36"/>
                    </a:cubicBezTo>
                    <a:cubicBezTo>
                      <a:pt x="186" y="36"/>
                      <a:pt x="182" y="39"/>
                      <a:pt x="176" y="40"/>
                    </a:cubicBezTo>
                    <a:cubicBezTo>
                      <a:pt x="173" y="41"/>
                      <a:pt x="171" y="43"/>
                      <a:pt x="170" y="45"/>
                    </a:cubicBezTo>
                    <a:cubicBezTo>
                      <a:pt x="169" y="46"/>
                      <a:pt x="166" y="45"/>
                      <a:pt x="165" y="45"/>
                    </a:cubicBezTo>
                    <a:cubicBezTo>
                      <a:pt x="163" y="46"/>
                      <a:pt x="164" y="48"/>
                      <a:pt x="163" y="49"/>
                    </a:cubicBezTo>
                    <a:cubicBezTo>
                      <a:pt x="161" y="50"/>
                      <a:pt x="157" y="47"/>
                      <a:pt x="157" y="51"/>
                    </a:cubicBezTo>
                    <a:cubicBezTo>
                      <a:pt x="157" y="54"/>
                      <a:pt x="152" y="52"/>
                      <a:pt x="152" y="55"/>
                    </a:cubicBezTo>
                    <a:cubicBezTo>
                      <a:pt x="151" y="59"/>
                      <a:pt x="146" y="56"/>
                      <a:pt x="144" y="58"/>
                    </a:cubicBezTo>
                    <a:cubicBezTo>
                      <a:pt x="142" y="61"/>
                      <a:pt x="137" y="60"/>
                      <a:pt x="133" y="62"/>
                    </a:cubicBezTo>
                    <a:cubicBezTo>
                      <a:pt x="132" y="62"/>
                      <a:pt x="133" y="64"/>
                      <a:pt x="131" y="64"/>
                    </a:cubicBezTo>
                    <a:cubicBezTo>
                      <a:pt x="126" y="64"/>
                      <a:pt x="129" y="66"/>
                      <a:pt x="127" y="68"/>
                    </a:cubicBezTo>
                    <a:cubicBezTo>
                      <a:pt x="127" y="68"/>
                      <a:pt x="126" y="68"/>
                      <a:pt x="125" y="68"/>
                    </a:cubicBezTo>
                    <a:cubicBezTo>
                      <a:pt x="124" y="68"/>
                      <a:pt x="120" y="71"/>
                      <a:pt x="114" y="70"/>
                    </a:cubicBezTo>
                    <a:cubicBezTo>
                      <a:pt x="115" y="72"/>
                      <a:pt x="122" y="73"/>
                      <a:pt x="114" y="73"/>
                    </a:cubicBezTo>
                    <a:cubicBezTo>
                      <a:pt x="115" y="77"/>
                      <a:pt x="124" y="74"/>
                      <a:pt x="122" y="81"/>
                    </a:cubicBezTo>
                    <a:cubicBezTo>
                      <a:pt x="118" y="77"/>
                      <a:pt x="118" y="81"/>
                      <a:pt x="118" y="86"/>
                    </a:cubicBezTo>
                    <a:cubicBezTo>
                      <a:pt x="114" y="81"/>
                      <a:pt x="112" y="88"/>
                      <a:pt x="109" y="90"/>
                    </a:cubicBezTo>
                    <a:cubicBezTo>
                      <a:pt x="105" y="92"/>
                      <a:pt x="100" y="90"/>
                      <a:pt x="97" y="94"/>
                    </a:cubicBezTo>
                    <a:cubicBezTo>
                      <a:pt x="96" y="96"/>
                      <a:pt x="99" y="95"/>
                      <a:pt x="99" y="96"/>
                    </a:cubicBezTo>
                    <a:cubicBezTo>
                      <a:pt x="100" y="97"/>
                      <a:pt x="93" y="99"/>
                      <a:pt x="97" y="99"/>
                    </a:cubicBezTo>
                    <a:cubicBezTo>
                      <a:pt x="95" y="105"/>
                      <a:pt x="85" y="101"/>
                      <a:pt x="83" y="107"/>
                    </a:cubicBezTo>
                    <a:cubicBezTo>
                      <a:pt x="86" y="110"/>
                      <a:pt x="91" y="111"/>
                      <a:pt x="97" y="111"/>
                    </a:cubicBezTo>
                    <a:cubicBezTo>
                      <a:pt x="99" y="117"/>
                      <a:pt x="88" y="112"/>
                      <a:pt x="88" y="116"/>
                    </a:cubicBezTo>
                    <a:cubicBezTo>
                      <a:pt x="88" y="119"/>
                      <a:pt x="86" y="116"/>
                      <a:pt x="84" y="116"/>
                    </a:cubicBezTo>
                    <a:cubicBezTo>
                      <a:pt x="80" y="116"/>
                      <a:pt x="78" y="122"/>
                      <a:pt x="73" y="120"/>
                    </a:cubicBezTo>
                    <a:cubicBezTo>
                      <a:pt x="72" y="118"/>
                      <a:pt x="69" y="118"/>
                      <a:pt x="70" y="114"/>
                    </a:cubicBezTo>
                    <a:cubicBezTo>
                      <a:pt x="60" y="113"/>
                      <a:pt x="54" y="116"/>
                      <a:pt x="45" y="114"/>
                    </a:cubicBezTo>
                    <a:cubicBezTo>
                      <a:pt x="45" y="114"/>
                      <a:pt x="43" y="112"/>
                      <a:pt x="43" y="112"/>
                    </a:cubicBezTo>
                    <a:cubicBezTo>
                      <a:pt x="40" y="112"/>
                      <a:pt x="39" y="116"/>
                      <a:pt x="36" y="116"/>
                    </a:cubicBezTo>
                    <a:cubicBezTo>
                      <a:pt x="27" y="117"/>
                      <a:pt x="20" y="114"/>
                      <a:pt x="10" y="112"/>
                    </a:cubicBezTo>
                    <a:cubicBezTo>
                      <a:pt x="13" y="109"/>
                      <a:pt x="17" y="107"/>
                      <a:pt x="23" y="107"/>
                    </a:cubicBezTo>
                    <a:cubicBezTo>
                      <a:pt x="27" y="106"/>
                      <a:pt x="23" y="99"/>
                      <a:pt x="27" y="97"/>
                    </a:cubicBezTo>
                    <a:cubicBezTo>
                      <a:pt x="32" y="99"/>
                      <a:pt x="31" y="95"/>
                      <a:pt x="36" y="96"/>
                    </a:cubicBezTo>
                    <a:cubicBezTo>
                      <a:pt x="36" y="102"/>
                      <a:pt x="43" y="101"/>
                      <a:pt x="49" y="101"/>
                    </a:cubicBezTo>
                    <a:cubicBezTo>
                      <a:pt x="53" y="100"/>
                      <a:pt x="47" y="98"/>
                      <a:pt x="51" y="96"/>
                    </a:cubicBezTo>
                    <a:cubicBezTo>
                      <a:pt x="50" y="91"/>
                      <a:pt x="40" y="97"/>
                      <a:pt x="43" y="88"/>
                    </a:cubicBezTo>
                    <a:cubicBezTo>
                      <a:pt x="36" y="90"/>
                      <a:pt x="33" y="93"/>
                      <a:pt x="25" y="90"/>
                    </a:cubicBezTo>
                    <a:cubicBezTo>
                      <a:pt x="26" y="86"/>
                      <a:pt x="30" y="85"/>
                      <a:pt x="34" y="84"/>
                    </a:cubicBezTo>
                    <a:cubicBezTo>
                      <a:pt x="36" y="83"/>
                      <a:pt x="38" y="81"/>
                      <a:pt x="40" y="79"/>
                    </a:cubicBezTo>
                    <a:cubicBezTo>
                      <a:pt x="42" y="79"/>
                      <a:pt x="43" y="78"/>
                      <a:pt x="43" y="77"/>
                    </a:cubicBezTo>
                    <a:cubicBezTo>
                      <a:pt x="48" y="76"/>
                      <a:pt x="51" y="77"/>
                      <a:pt x="53" y="79"/>
                    </a:cubicBezTo>
                    <a:cubicBezTo>
                      <a:pt x="55" y="78"/>
                      <a:pt x="57" y="76"/>
                      <a:pt x="58" y="73"/>
                    </a:cubicBezTo>
                    <a:cubicBezTo>
                      <a:pt x="59" y="70"/>
                      <a:pt x="54" y="73"/>
                      <a:pt x="53" y="71"/>
                    </a:cubicBezTo>
                    <a:cubicBezTo>
                      <a:pt x="52" y="71"/>
                      <a:pt x="51" y="67"/>
                      <a:pt x="51" y="66"/>
                    </a:cubicBezTo>
                    <a:cubicBezTo>
                      <a:pt x="50" y="65"/>
                      <a:pt x="48" y="64"/>
                      <a:pt x="49" y="62"/>
                    </a:cubicBezTo>
                    <a:cubicBezTo>
                      <a:pt x="48" y="63"/>
                      <a:pt x="46" y="64"/>
                      <a:pt x="43" y="64"/>
                    </a:cubicBezTo>
                    <a:cubicBezTo>
                      <a:pt x="44" y="60"/>
                      <a:pt x="43" y="58"/>
                      <a:pt x="40" y="58"/>
                    </a:cubicBezTo>
                    <a:cubicBezTo>
                      <a:pt x="41" y="55"/>
                      <a:pt x="43" y="52"/>
                      <a:pt x="49" y="53"/>
                    </a:cubicBezTo>
                    <a:cubicBezTo>
                      <a:pt x="54" y="52"/>
                      <a:pt x="53" y="59"/>
                      <a:pt x="60" y="56"/>
                    </a:cubicBezTo>
                    <a:cubicBezTo>
                      <a:pt x="60" y="59"/>
                      <a:pt x="61" y="60"/>
                      <a:pt x="62" y="60"/>
                    </a:cubicBezTo>
                    <a:cubicBezTo>
                      <a:pt x="68" y="62"/>
                      <a:pt x="65" y="54"/>
                      <a:pt x="68" y="53"/>
                    </a:cubicBezTo>
                    <a:cubicBezTo>
                      <a:pt x="77" y="51"/>
                      <a:pt x="85" y="48"/>
                      <a:pt x="90" y="42"/>
                    </a:cubicBezTo>
                    <a:cubicBezTo>
                      <a:pt x="90" y="37"/>
                      <a:pt x="87" y="44"/>
                      <a:pt x="83" y="42"/>
                    </a:cubicBezTo>
                    <a:cubicBezTo>
                      <a:pt x="80" y="44"/>
                      <a:pt x="75" y="44"/>
                      <a:pt x="73" y="47"/>
                    </a:cubicBezTo>
                    <a:cubicBezTo>
                      <a:pt x="68" y="46"/>
                      <a:pt x="59" y="48"/>
                      <a:pt x="51" y="47"/>
                    </a:cubicBezTo>
                    <a:cubicBezTo>
                      <a:pt x="46" y="47"/>
                      <a:pt x="44" y="44"/>
                      <a:pt x="38" y="47"/>
                    </a:cubicBezTo>
                    <a:cubicBezTo>
                      <a:pt x="36" y="40"/>
                      <a:pt x="31" y="48"/>
                      <a:pt x="29" y="42"/>
                    </a:cubicBezTo>
                    <a:cubicBezTo>
                      <a:pt x="26" y="45"/>
                      <a:pt x="21" y="40"/>
                      <a:pt x="14" y="42"/>
                    </a:cubicBezTo>
                    <a:cubicBezTo>
                      <a:pt x="15" y="36"/>
                      <a:pt x="8" y="39"/>
                      <a:pt x="6" y="36"/>
                    </a:cubicBezTo>
                    <a:cubicBezTo>
                      <a:pt x="5" y="31"/>
                      <a:pt x="10" y="32"/>
                      <a:pt x="12" y="30"/>
                    </a:cubicBezTo>
                    <a:cubicBezTo>
                      <a:pt x="12" y="25"/>
                      <a:pt x="0" y="33"/>
                      <a:pt x="2" y="25"/>
                    </a:cubicBezTo>
                    <a:cubicBezTo>
                      <a:pt x="11" y="22"/>
                      <a:pt x="25" y="21"/>
                      <a:pt x="38" y="19"/>
                    </a:cubicBezTo>
                    <a:cubicBezTo>
                      <a:pt x="40" y="19"/>
                      <a:pt x="39" y="17"/>
                      <a:pt x="40" y="15"/>
                    </a:cubicBezTo>
                    <a:cubicBezTo>
                      <a:pt x="49" y="17"/>
                      <a:pt x="57" y="13"/>
                      <a:pt x="62" y="15"/>
                    </a:cubicBezTo>
                    <a:cubicBezTo>
                      <a:pt x="64" y="14"/>
                      <a:pt x="65" y="12"/>
                      <a:pt x="66" y="10"/>
                    </a:cubicBezTo>
                    <a:cubicBezTo>
                      <a:pt x="77" y="9"/>
                      <a:pt x="87" y="6"/>
                      <a:pt x="96" y="8"/>
                    </a:cubicBezTo>
                    <a:cubicBezTo>
                      <a:pt x="97" y="8"/>
                      <a:pt x="97" y="6"/>
                      <a:pt x="97" y="4"/>
                    </a:cubicBezTo>
                    <a:cubicBezTo>
                      <a:pt x="105" y="5"/>
                      <a:pt x="115" y="3"/>
                      <a:pt x="120" y="6"/>
                    </a:cubicBezTo>
                    <a:cubicBezTo>
                      <a:pt x="121" y="3"/>
                      <a:pt x="129" y="6"/>
                      <a:pt x="129" y="2"/>
                    </a:cubicBezTo>
                    <a:cubicBezTo>
                      <a:pt x="134" y="4"/>
                      <a:pt x="141" y="5"/>
                      <a:pt x="148" y="4"/>
                    </a:cubicBezTo>
                    <a:cubicBezTo>
                      <a:pt x="148" y="3"/>
                      <a:pt x="147" y="3"/>
                      <a:pt x="146" y="2"/>
                    </a:cubicBezTo>
                    <a:cubicBezTo>
                      <a:pt x="146" y="0"/>
                      <a:pt x="148" y="1"/>
                      <a:pt x="148" y="2"/>
                    </a:cubicBezTo>
                    <a:cubicBezTo>
                      <a:pt x="156" y="4"/>
                      <a:pt x="169" y="1"/>
                      <a:pt x="178" y="2"/>
                    </a:cubicBezTo>
                    <a:cubicBezTo>
                      <a:pt x="178" y="2"/>
                      <a:pt x="177" y="6"/>
                      <a:pt x="178" y="6"/>
                    </a:cubicBezTo>
                    <a:cubicBezTo>
                      <a:pt x="192" y="6"/>
                      <a:pt x="193" y="3"/>
                      <a:pt x="209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0" name="任意多边形: 形状 109">
                <a:extLst>
                  <a:ext uri="{FF2B5EF4-FFF2-40B4-BE49-F238E27FC236}">
                    <a16:creationId xmlns:a16="http://schemas.microsoft.com/office/drawing/2014/main" id="{47555DA8-9B14-4921-B96D-2E9E34F76D06}"/>
                  </a:ext>
                </a:extLst>
              </p:cNvPr>
              <p:cNvSpPr/>
              <p:nvPr/>
            </p:nvSpPr>
            <p:spPr bwMode="auto">
              <a:xfrm>
                <a:off x="5955742" y="531150"/>
                <a:ext cx="133075" cy="49028"/>
              </a:xfrm>
              <a:custGeom>
                <a:avLst/>
                <a:gdLst>
                  <a:gd name="T0" fmla="*/ 17 w 64"/>
                  <a:gd name="T1" fmla="*/ 3 h 24"/>
                  <a:gd name="T2" fmla="*/ 17 w 64"/>
                  <a:gd name="T3" fmla="*/ 5 h 24"/>
                  <a:gd name="T4" fmla="*/ 22 w 64"/>
                  <a:gd name="T5" fmla="*/ 10 h 24"/>
                  <a:gd name="T6" fmla="*/ 28 w 64"/>
                  <a:gd name="T7" fmla="*/ 7 h 24"/>
                  <a:gd name="T8" fmla="*/ 37 w 64"/>
                  <a:gd name="T9" fmla="*/ 10 h 24"/>
                  <a:gd name="T10" fmla="*/ 54 w 64"/>
                  <a:gd name="T11" fmla="*/ 7 h 24"/>
                  <a:gd name="T12" fmla="*/ 61 w 64"/>
                  <a:gd name="T13" fmla="*/ 10 h 24"/>
                  <a:gd name="T14" fmla="*/ 58 w 64"/>
                  <a:gd name="T15" fmla="*/ 18 h 24"/>
                  <a:gd name="T16" fmla="*/ 41 w 64"/>
                  <a:gd name="T17" fmla="*/ 20 h 24"/>
                  <a:gd name="T18" fmla="*/ 30 w 64"/>
                  <a:gd name="T19" fmla="*/ 24 h 24"/>
                  <a:gd name="T20" fmla="*/ 11 w 64"/>
                  <a:gd name="T21" fmla="*/ 10 h 24"/>
                  <a:gd name="T22" fmla="*/ 2 w 64"/>
                  <a:gd name="T23" fmla="*/ 9 h 24"/>
                  <a:gd name="T24" fmla="*/ 17 w 64"/>
                  <a:gd name="T25" fmla="*/ 3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4" h="24">
                    <a:moveTo>
                      <a:pt x="17" y="3"/>
                    </a:moveTo>
                    <a:cubicBezTo>
                      <a:pt x="19" y="3"/>
                      <a:pt x="18" y="5"/>
                      <a:pt x="17" y="5"/>
                    </a:cubicBezTo>
                    <a:cubicBezTo>
                      <a:pt x="16" y="9"/>
                      <a:pt x="25" y="4"/>
                      <a:pt x="22" y="10"/>
                    </a:cubicBezTo>
                    <a:cubicBezTo>
                      <a:pt x="26" y="11"/>
                      <a:pt x="25" y="7"/>
                      <a:pt x="28" y="7"/>
                    </a:cubicBezTo>
                    <a:cubicBezTo>
                      <a:pt x="32" y="11"/>
                      <a:pt x="36" y="3"/>
                      <a:pt x="37" y="10"/>
                    </a:cubicBezTo>
                    <a:cubicBezTo>
                      <a:pt x="42" y="9"/>
                      <a:pt x="49" y="8"/>
                      <a:pt x="54" y="7"/>
                    </a:cubicBezTo>
                    <a:cubicBezTo>
                      <a:pt x="53" y="12"/>
                      <a:pt x="63" y="5"/>
                      <a:pt x="61" y="10"/>
                    </a:cubicBezTo>
                    <a:cubicBezTo>
                      <a:pt x="64" y="16"/>
                      <a:pt x="50" y="14"/>
                      <a:pt x="58" y="18"/>
                    </a:cubicBezTo>
                    <a:cubicBezTo>
                      <a:pt x="56" y="22"/>
                      <a:pt x="46" y="19"/>
                      <a:pt x="41" y="20"/>
                    </a:cubicBezTo>
                    <a:cubicBezTo>
                      <a:pt x="37" y="20"/>
                      <a:pt x="33" y="22"/>
                      <a:pt x="30" y="24"/>
                    </a:cubicBezTo>
                    <a:cubicBezTo>
                      <a:pt x="22" y="20"/>
                      <a:pt x="15" y="17"/>
                      <a:pt x="11" y="10"/>
                    </a:cubicBezTo>
                    <a:cubicBezTo>
                      <a:pt x="8" y="9"/>
                      <a:pt x="1" y="13"/>
                      <a:pt x="2" y="9"/>
                    </a:cubicBezTo>
                    <a:cubicBezTo>
                      <a:pt x="0" y="0"/>
                      <a:pt x="16" y="9"/>
                      <a:pt x="17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1" name="任意多边形: 形状 110">
                <a:extLst>
                  <a:ext uri="{FF2B5EF4-FFF2-40B4-BE49-F238E27FC236}">
                    <a16:creationId xmlns:a16="http://schemas.microsoft.com/office/drawing/2014/main" id="{58C54E2E-E502-4386-B8AE-BF9FB8A1C075}"/>
                  </a:ext>
                </a:extLst>
              </p:cNvPr>
              <p:cNvSpPr/>
              <p:nvPr/>
            </p:nvSpPr>
            <p:spPr bwMode="auto">
              <a:xfrm>
                <a:off x="3864374" y="596988"/>
                <a:ext cx="63036" cy="19611"/>
              </a:xfrm>
              <a:custGeom>
                <a:avLst/>
                <a:gdLst>
                  <a:gd name="T0" fmla="*/ 28 w 30"/>
                  <a:gd name="T1" fmla="*/ 1 h 9"/>
                  <a:gd name="T2" fmla="*/ 17 w 30"/>
                  <a:gd name="T3" fmla="*/ 6 h 9"/>
                  <a:gd name="T4" fmla="*/ 13 w 30"/>
                  <a:gd name="T5" fmla="*/ 8 h 9"/>
                  <a:gd name="T6" fmla="*/ 6 w 30"/>
                  <a:gd name="T7" fmla="*/ 8 h 9"/>
                  <a:gd name="T8" fmla="*/ 10 w 30"/>
                  <a:gd name="T9" fmla="*/ 3 h 9"/>
                  <a:gd name="T10" fmla="*/ 28 w 30"/>
                  <a:gd name="T11" fmla="*/ 1 h 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9">
                    <a:moveTo>
                      <a:pt x="28" y="1"/>
                    </a:moveTo>
                    <a:cubicBezTo>
                      <a:pt x="30" y="7"/>
                      <a:pt x="22" y="6"/>
                      <a:pt x="17" y="6"/>
                    </a:cubicBezTo>
                    <a:cubicBezTo>
                      <a:pt x="15" y="7"/>
                      <a:pt x="15" y="8"/>
                      <a:pt x="13" y="8"/>
                    </a:cubicBezTo>
                    <a:cubicBezTo>
                      <a:pt x="10" y="8"/>
                      <a:pt x="6" y="6"/>
                      <a:pt x="6" y="8"/>
                    </a:cubicBezTo>
                    <a:cubicBezTo>
                      <a:pt x="0" y="9"/>
                      <a:pt x="9" y="2"/>
                      <a:pt x="10" y="3"/>
                    </a:cubicBezTo>
                    <a:cubicBezTo>
                      <a:pt x="13" y="7"/>
                      <a:pt x="22" y="0"/>
                      <a:pt x="28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2" name="任意多边形: 形状 111">
                <a:extLst>
                  <a:ext uri="{FF2B5EF4-FFF2-40B4-BE49-F238E27FC236}">
                    <a16:creationId xmlns:a16="http://schemas.microsoft.com/office/drawing/2014/main" id="{D5FFA29F-5E37-4582-B0D7-5073544373A9}"/>
                  </a:ext>
                </a:extLst>
              </p:cNvPr>
              <p:cNvSpPr/>
              <p:nvPr/>
            </p:nvSpPr>
            <p:spPr bwMode="auto">
              <a:xfrm>
                <a:off x="4109512" y="596988"/>
                <a:ext cx="56031" cy="37822"/>
              </a:xfrm>
              <a:custGeom>
                <a:avLst/>
                <a:gdLst>
                  <a:gd name="T0" fmla="*/ 13 w 27"/>
                  <a:gd name="T1" fmla="*/ 1 h 18"/>
                  <a:gd name="T2" fmla="*/ 9 w 27"/>
                  <a:gd name="T3" fmla="*/ 3 h 18"/>
                  <a:gd name="T4" fmla="*/ 18 w 27"/>
                  <a:gd name="T5" fmla="*/ 8 h 18"/>
                  <a:gd name="T6" fmla="*/ 22 w 27"/>
                  <a:gd name="T7" fmla="*/ 6 h 18"/>
                  <a:gd name="T8" fmla="*/ 11 w 27"/>
                  <a:gd name="T9" fmla="*/ 18 h 18"/>
                  <a:gd name="T10" fmla="*/ 0 w 27"/>
                  <a:gd name="T11" fmla="*/ 5 h 18"/>
                  <a:gd name="T12" fmla="*/ 13 w 27"/>
                  <a:gd name="T13" fmla="*/ 1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7" h="18">
                    <a:moveTo>
                      <a:pt x="13" y="1"/>
                    </a:moveTo>
                    <a:cubicBezTo>
                      <a:pt x="13" y="3"/>
                      <a:pt x="10" y="2"/>
                      <a:pt x="9" y="3"/>
                    </a:cubicBezTo>
                    <a:cubicBezTo>
                      <a:pt x="9" y="8"/>
                      <a:pt x="21" y="0"/>
                      <a:pt x="18" y="8"/>
                    </a:cubicBezTo>
                    <a:cubicBezTo>
                      <a:pt x="20" y="9"/>
                      <a:pt x="22" y="8"/>
                      <a:pt x="22" y="6"/>
                    </a:cubicBezTo>
                    <a:cubicBezTo>
                      <a:pt x="27" y="12"/>
                      <a:pt x="12" y="13"/>
                      <a:pt x="11" y="18"/>
                    </a:cubicBezTo>
                    <a:cubicBezTo>
                      <a:pt x="6" y="14"/>
                      <a:pt x="7" y="5"/>
                      <a:pt x="0" y="5"/>
                    </a:cubicBezTo>
                    <a:cubicBezTo>
                      <a:pt x="2" y="1"/>
                      <a:pt x="9" y="3"/>
                      <a:pt x="1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3" name="任意多边形: 形状 112">
                <a:extLst>
                  <a:ext uri="{FF2B5EF4-FFF2-40B4-BE49-F238E27FC236}">
                    <a16:creationId xmlns:a16="http://schemas.microsoft.com/office/drawing/2014/main" id="{74695034-FCE5-4926-BB99-90C51490C0E9}"/>
                  </a:ext>
                </a:extLst>
              </p:cNvPr>
              <p:cNvSpPr/>
              <p:nvPr/>
            </p:nvSpPr>
            <p:spPr bwMode="auto">
              <a:xfrm>
                <a:off x="5381422" y="639011"/>
                <a:ext cx="3276430" cy="2147400"/>
              </a:xfrm>
              <a:custGeom>
                <a:avLst/>
                <a:gdLst>
                  <a:gd name="T0" fmla="*/ 936 w 1575"/>
                  <a:gd name="T1" fmla="*/ 72 h 1033"/>
                  <a:gd name="T2" fmla="*/ 1105 w 1575"/>
                  <a:gd name="T3" fmla="*/ 72 h 1033"/>
                  <a:gd name="T4" fmla="*/ 1247 w 1575"/>
                  <a:gd name="T5" fmla="*/ 85 h 1033"/>
                  <a:gd name="T6" fmla="*/ 1432 w 1575"/>
                  <a:gd name="T7" fmla="*/ 115 h 1033"/>
                  <a:gd name="T8" fmla="*/ 1575 w 1575"/>
                  <a:gd name="T9" fmla="*/ 162 h 1033"/>
                  <a:gd name="T10" fmla="*/ 1484 w 1575"/>
                  <a:gd name="T11" fmla="*/ 184 h 1033"/>
                  <a:gd name="T12" fmla="*/ 1366 w 1575"/>
                  <a:gd name="T13" fmla="*/ 273 h 1033"/>
                  <a:gd name="T14" fmla="*/ 1320 w 1575"/>
                  <a:gd name="T15" fmla="*/ 301 h 1033"/>
                  <a:gd name="T16" fmla="*/ 1381 w 1575"/>
                  <a:gd name="T17" fmla="*/ 208 h 1033"/>
                  <a:gd name="T18" fmla="*/ 1247 w 1575"/>
                  <a:gd name="T19" fmla="*/ 247 h 1033"/>
                  <a:gd name="T20" fmla="*/ 1204 w 1575"/>
                  <a:gd name="T21" fmla="*/ 313 h 1033"/>
                  <a:gd name="T22" fmla="*/ 1130 w 1575"/>
                  <a:gd name="T23" fmla="*/ 415 h 1033"/>
                  <a:gd name="T24" fmla="*/ 1081 w 1575"/>
                  <a:gd name="T25" fmla="*/ 439 h 1033"/>
                  <a:gd name="T26" fmla="*/ 1061 w 1575"/>
                  <a:gd name="T27" fmla="*/ 464 h 1033"/>
                  <a:gd name="T28" fmla="*/ 993 w 1575"/>
                  <a:gd name="T29" fmla="*/ 587 h 1033"/>
                  <a:gd name="T30" fmla="*/ 956 w 1575"/>
                  <a:gd name="T31" fmla="*/ 674 h 1033"/>
                  <a:gd name="T32" fmla="*/ 895 w 1575"/>
                  <a:gd name="T33" fmla="*/ 685 h 1033"/>
                  <a:gd name="T34" fmla="*/ 882 w 1575"/>
                  <a:gd name="T35" fmla="*/ 689 h 1033"/>
                  <a:gd name="T36" fmla="*/ 848 w 1575"/>
                  <a:gd name="T37" fmla="*/ 602 h 1033"/>
                  <a:gd name="T38" fmla="*/ 742 w 1575"/>
                  <a:gd name="T39" fmla="*/ 657 h 1033"/>
                  <a:gd name="T40" fmla="*/ 665 w 1575"/>
                  <a:gd name="T41" fmla="*/ 579 h 1033"/>
                  <a:gd name="T42" fmla="*/ 524 w 1575"/>
                  <a:gd name="T43" fmla="*/ 557 h 1033"/>
                  <a:gd name="T44" fmla="*/ 557 w 1575"/>
                  <a:gd name="T45" fmla="*/ 616 h 1033"/>
                  <a:gd name="T46" fmla="*/ 453 w 1575"/>
                  <a:gd name="T47" fmla="*/ 622 h 1033"/>
                  <a:gd name="T48" fmla="*/ 391 w 1575"/>
                  <a:gd name="T49" fmla="*/ 546 h 1033"/>
                  <a:gd name="T50" fmla="*/ 440 w 1575"/>
                  <a:gd name="T51" fmla="*/ 646 h 1033"/>
                  <a:gd name="T52" fmla="*/ 470 w 1575"/>
                  <a:gd name="T53" fmla="*/ 749 h 1033"/>
                  <a:gd name="T54" fmla="*/ 412 w 1575"/>
                  <a:gd name="T55" fmla="*/ 898 h 1033"/>
                  <a:gd name="T56" fmla="*/ 352 w 1575"/>
                  <a:gd name="T57" fmla="*/ 1013 h 1033"/>
                  <a:gd name="T58" fmla="*/ 237 w 1575"/>
                  <a:gd name="T59" fmla="*/ 924 h 1033"/>
                  <a:gd name="T60" fmla="*/ 224 w 1575"/>
                  <a:gd name="T61" fmla="*/ 788 h 1033"/>
                  <a:gd name="T62" fmla="*/ 47 w 1575"/>
                  <a:gd name="T63" fmla="*/ 702 h 1033"/>
                  <a:gd name="T64" fmla="*/ 6 w 1575"/>
                  <a:gd name="T65" fmla="*/ 588 h 1033"/>
                  <a:gd name="T66" fmla="*/ 162 w 1575"/>
                  <a:gd name="T67" fmla="*/ 465 h 1033"/>
                  <a:gd name="T68" fmla="*/ 263 w 1575"/>
                  <a:gd name="T69" fmla="*/ 512 h 1033"/>
                  <a:gd name="T70" fmla="*/ 378 w 1575"/>
                  <a:gd name="T71" fmla="*/ 512 h 1033"/>
                  <a:gd name="T72" fmla="*/ 309 w 1575"/>
                  <a:gd name="T73" fmla="*/ 436 h 1033"/>
                  <a:gd name="T74" fmla="*/ 255 w 1575"/>
                  <a:gd name="T75" fmla="*/ 402 h 1033"/>
                  <a:gd name="T76" fmla="*/ 259 w 1575"/>
                  <a:gd name="T77" fmla="*/ 432 h 1033"/>
                  <a:gd name="T78" fmla="*/ 158 w 1575"/>
                  <a:gd name="T79" fmla="*/ 408 h 1033"/>
                  <a:gd name="T80" fmla="*/ 116 w 1575"/>
                  <a:gd name="T81" fmla="*/ 406 h 1033"/>
                  <a:gd name="T82" fmla="*/ 158 w 1575"/>
                  <a:gd name="T83" fmla="*/ 329 h 1033"/>
                  <a:gd name="T84" fmla="*/ 214 w 1575"/>
                  <a:gd name="T85" fmla="*/ 292 h 1033"/>
                  <a:gd name="T86" fmla="*/ 317 w 1575"/>
                  <a:gd name="T87" fmla="*/ 247 h 1033"/>
                  <a:gd name="T88" fmla="*/ 313 w 1575"/>
                  <a:gd name="T89" fmla="*/ 197 h 1033"/>
                  <a:gd name="T90" fmla="*/ 278 w 1575"/>
                  <a:gd name="T91" fmla="*/ 238 h 1033"/>
                  <a:gd name="T92" fmla="*/ 183 w 1575"/>
                  <a:gd name="T93" fmla="*/ 251 h 1033"/>
                  <a:gd name="T94" fmla="*/ 227 w 1575"/>
                  <a:gd name="T95" fmla="*/ 167 h 1033"/>
                  <a:gd name="T96" fmla="*/ 354 w 1575"/>
                  <a:gd name="T97" fmla="*/ 106 h 1033"/>
                  <a:gd name="T98" fmla="*/ 397 w 1575"/>
                  <a:gd name="T99" fmla="*/ 154 h 1033"/>
                  <a:gd name="T100" fmla="*/ 470 w 1575"/>
                  <a:gd name="T101" fmla="*/ 134 h 1033"/>
                  <a:gd name="T102" fmla="*/ 596 w 1575"/>
                  <a:gd name="T103" fmla="*/ 126 h 1033"/>
                  <a:gd name="T104" fmla="*/ 660 w 1575"/>
                  <a:gd name="T105" fmla="*/ 83 h 1033"/>
                  <a:gd name="T106" fmla="*/ 705 w 1575"/>
                  <a:gd name="T107" fmla="*/ 130 h 1033"/>
                  <a:gd name="T108" fmla="*/ 734 w 1575"/>
                  <a:gd name="T109" fmla="*/ 81 h 1033"/>
                  <a:gd name="T110" fmla="*/ 889 w 1575"/>
                  <a:gd name="T111" fmla="*/ 18 h 1033"/>
                  <a:gd name="T112" fmla="*/ 373 w 1575"/>
                  <a:gd name="T113" fmla="*/ 374 h 1033"/>
                  <a:gd name="T114" fmla="*/ 449 w 1575"/>
                  <a:gd name="T115" fmla="*/ 424 h 1033"/>
                  <a:gd name="T116" fmla="*/ 531 w 1575"/>
                  <a:gd name="T117" fmla="*/ 411 h 1033"/>
                  <a:gd name="T118" fmla="*/ 505 w 1575"/>
                  <a:gd name="T119" fmla="*/ 451 h 1033"/>
                  <a:gd name="T120" fmla="*/ 375 w 1575"/>
                  <a:gd name="T121" fmla="*/ 762 h 10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75" h="1033">
                    <a:moveTo>
                      <a:pt x="949" y="11"/>
                    </a:moveTo>
                    <a:cubicBezTo>
                      <a:pt x="949" y="13"/>
                      <a:pt x="952" y="12"/>
                      <a:pt x="954" y="13"/>
                    </a:cubicBezTo>
                    <a:cubicBezTo>
                      <a:pt x="954" y="15"/>
                      <a:pt x="951" y="14"/>
                      <a:pt x="949" y="14"/>
                    </a:cubicBezTo>
                    <a:cubicBezTo>
                      <a:pt x="957" y="22"/>
                      <a:pt x="965" y="11"/>
                      <a:pt x="979" y="14"/>
                    </a:cubicBezTo>
                    <a:cubicBezTo>
                      <a:pt x="982" y="19"/>
                      <a:pt x="987" y="22"/>
                      <a:pt x="993" y="24"/>
                    </a:cubicBezTo>
                    <a:cubicBezTo>
                      <a:pt x="994" y="26"/>
                      <a:pt x="993" y="29"/>
                      <a:pt x="993" y="31"/>
                    </a:cubicBezTo>
                    <a:cubicBezTo>
                      <a:pt x="994" y="33"/>
                      <a:pt x="998" y="33"/>
                      <a:pt x="997" y="37"/>
                    </a:cubicBezTo>
                    <a:cubicBezTo>
                      <a:pt x="993" y="36"/>
                      <a:pt x="994" y="39"/>
                      <a:pt x="993" y="42"/>
                    </a:cubicBezTo>
                    <a:cubicBezTo>
                      <a:pt x="992" y="41"/>
                      <a:pt x="989" y="40"/>
                      <a:pt x="986" y="40"/>
                    </a:cubicBezTo>
                    <a:cubicBezTo>
                      <a:pt x="983" y="41"/>
                      <a:pt x="986" y="43"/>
                      <a:pt x="984" y="44"/>
                    </a:cubicBezTo>
                    <a:cubicBezTo>
                      <a:pt x="983" y="45"/>
                      <a:pt x="982" y="42"/>
                      <a:pt x="980" y="42"/>
                    </a:cubicBezTo>
                    <a:cubicBezTo>
                      <a:pt x="979" y="43"/>
                      <a:pt x="975" y="46"/>
                      <a:pt x="969" y="44"/>
                    </a:cubicBezTo>
                    <a:cubicBezTo>
                      <a:pt x="967" y="44"/>
                      <a:pt x="968" y="47"/>
                      <a:pt x="967" y="48"/>
                    </a:cubicBezTo>
                    <a:cubicBezTo>
                      <a:pt x="967" y="48"/>
                      <a:pt x="964" y="47"/>
                      <a:pt x="964" y="48"/>
                    </a:cubicBezTo>
                    <a:cubicBezTo>
                      <a:pt x="963" y="50"/>
                      <a:pt x="967" y="51"/>
                      <a:pt x="964" y="55"/>
                    </a:cubicBezTo>
                    <a:cubicBezTo>
                      <a:pt x="963" y="52"/>
                      <a:pt x="954" y="56"/>
                      <a:pt x="958" y="57"/>
                    </a:cubicBezTo>
                    <a:cubicBezTo>
                      <a:pt x="954" y="61"/>
                      <a:pt x="948" y="59"/>
                      <a:pt x="943" y="61"/>
                    </a:cubicBezTo>
                    <a:cubicBezTo>
                      <a:pt x="940" y="62"/>
                      <a:pt x="938" y="67"/>
                      <a:pt x="934" y="67"/>
                    </a:cubicBezTo>
                    <a:cubicBezTo>
                      <a:pt x="934" y="69"/>
                      <a:pt x="934" y="72"/>
                      <a:pt x="932" y="72"/>
                    </a:cubicBezTo>
                    <a:cubicBezTo>
                      <a:pt x="933" y="75"/>
                      <a:pt x="934" y="72"/>
                      <a:pt x="936" y="72"/>
                    </a:cubicBezTo>
                    <a:cubicBezTo>
                      <a:pt x="941" y="72"/>
                      <a:pt x="943" y="68"/>
                      <a:pt x="947" y="67"/>
                    </a:cubicBezTo>
                    <a:cubicBezTo>
                      <a:pt x="950" y="66"/>
                      <a:pt x="950" y="69"/>
                      <a:pt x="952" y="68"/>
                    </a:cubicBezTo>
                    <a:cubicBezTo>
                      <a:pt x="955" y="68"/>
                      <a:pt x="955" y="65"/>
                      <a:pt x="956" y="65"/>
                    </a:cubicBezTo>
                    <a:cubicBezTo>
                      <a:pt x="960" y="63"/>
                      <a:pt x="965" y="65"/>
                      <a:pt x="969" y="63"/>
                    </a:cubicBezTo>
                    <a:cubicBezTo>
                      <a:pt x="972" y="62"/>
                      <a:pt x="968" y="60"/>
                      <a:pt x="971" y="59"/>
                    </a:cubicBezTo>
                    <a:cubicBezTo>
                      <a:pt x="972" y="59"/>
                      <a:pt x="974" y="60"/>
                      <a:pt x="975" y="59"/>
                    </a:cubicBezTo>
                    <a:cubicBezTo>
                      <a:pt x="975" y="59"/>
                      <a:pt x="976" y="55"/>
                      <a:pt x="977" y="55"/>
                    </a:cubicBezTo>
                    <a:cubicBezTo>
                      <a:pt x="977" y="55"/>
                      <a:pt x="982" y="57"/>
                      <a:pt x="984" y="57"/>
                    </a:cubicBezTo>
                    <a:cubicBezTo>
                      <a:pt x="989" y="57"/>
                      <a:pt x="989" y="56"/>
                      <a:pt x="993" y="55"/>
                    </a:cubicBezTo>
                    <a:cubicBezTo>
                      <a:pt x="993" y="57"/>
                      <a:pt x="993" y="59"/>
                      <a:pt x="993" y="61"/>
                    </a:cubicBezTo>
                    <a:cubicBezTo>
                      <a:pt x="996" y="59"/>
                      <a:pt x="997" y="59"/>
                      <a:pt x="997" y="63"/>
                    </a:cubicBezTo>
                    <a:cubicBezTo>
                      <a:pt x="1007" y="62"/>
                      <a:pt x="1023" y="64"/>
                      <a:pt x="1038" y="63"/>
                    </a:cubicBezTo>
                    <a:cubicBezTo>
                      <a:pt x="1037" y="71"/>
                      <a:pt x="1051" y="65"/>
                      <a:pt x="1049" y="74"/>
                    </a:cubicBezTo>
                    <a:cubicBezTo>
                      <a:pt x="1051" y="71"/>
                      <a:pt x="1054" y="74"/>
                      <a:pt x="1057" y="74"/>
                    </a:cubicBezTo>
                    <a:cubicBezTo>
                      <a:pt x="1062" y="74"/>
                      <a:pt x="1069" y="72"/>
                      <a:pt x="1072" y="74"/>
                    </a:cubicBezTo>
                    <a:cubicBezTo>
                      <a:pt x="1076" y="74"/>
                      <a:pt x="1072" y="66"/>
                      <a:pt x="1076" y="65"/>
                    </a:cubicBezTo>
                    <a:cubicBezTo>
                      <a:pt x="1082" y="66"/>
                      <a:pt x="1088" y="65"/>
                      <a:pt x="1094" y="67"/>
                    </a:cubicBezTo>
                    <a:cubicBezTo>
                      <a:pt x="1094" y="67"/>
                      <a:pt x="1094" y="68"/>
                      <a:pt x="1094" y="68"/>
                    </a:cubicBezTo>
                    <a:cubicBezTo>
                      <a:pt x="1097" y="69"/>
                      <a:pt x="1101" y="68"/>
                      <a:pt x="1103" y="68"/>
                    </a:cubicBezTo>
                    <a:cubicBezTo>
                      <a:pt x="1104" y="69"/>
                      <a:pt x="1105" y="72"/>
                      <a:pt x="1105" y="72"/>
                    </a:cubicBezTo>
                    <a:cubicBezTo>
                      <a:pt x="1108" y="74"/>
                      <a:pt x="1113" y="71"/>
                      <a:pt x="1115" y="74"/>
                    </a:cubicBezTo>
                    <a:cubicBezTo>
                      <a:pt x="1114" y="78"/>
                      <a:pt x="1114" y="82"/>
                      <a:pt x="1109" y="81"/>
                    </a:cubicBezTo>
                    <a:cubicBezTo>
                      <a:pt x="1109" y="85"/>
                      <a:pt x="1112" y="86"/>
                      <a:pt x="1117" y="85"/>
                    </a:cubicBezTo>
                    <a:cubicBezTo>
                      <a:pt x="1115" y="96"/>
                      <a:pt x="1124" y="97"/>
                      <a:pt x="1128" y="102"/>
                    </a:cubicBezTo>
                    <a:cubicBezTo>
                      <a:pt x="1131" y="100"/>
                      <a:pt x="1134" y="99"/>
                      <a:pt x="1137" y="96"/>
                    </a:cubicBezTo>
                    <a:cubicBezTo>
                      <a:pt x="1138" y="95"/>
                      <a:pt x="1138" y="92"/>
                      <a:pt x="1139" y="91"/>
                    </a:cubicBezTo>
                    <a:cubicBezTo>
                      <a:pt x="1140" y="90"/>
                      <a:pt x="1143" y="91"/>
                      <a:pt x="1143" y="89"/>
                    </a:cubicBezTo>
                    <a:cubicBezTo>
                      <a:pt x="1148" y="88"/>
                      <a:pt x="1146" y="93"/>
                      <a:pt x="1148" y="95"/>
                    </a:cubicBezTo>
                    <a:cubicBezTo>
                      <a:pt x="1153" y="95"/>
                      <a:pt x="1157" y="95"/>
                      <a:pt x="1161" y="95"/>
                    </a:cubicBezTo>
                    <a:cubicBezTo>
                      <a:pt x="1163" y="93"/>
                      <a:pt x="1168" y="94"/>
                      <a:pt x="1167" y="89"/>
                    </a:cubicBezTo>
                    <a:cubicBezTo>
                      <a:pt x="1173" y="91"/>
                      <a:pt x="1187" y="85"/>
                      <a:pt x="1187" y="93"/>
                    </a:cubicBezTo>
                    <a:cubicBezTo>
                      <a:pt x="1193" y="93"/>
                      <a:pt x="1191" y="86"/>
                      <a:pt x="1199" y="89"/>
                    </a:cubicBezTo>
                    <a:cubicBezTo>
                      <a:pt x="1198" y="87"/>
                      <a:pt x="1196" y="87"/>
                      <a:pt x="1195" y="87"/>
                    </a:cubicBezTo>
                    <a:cubicBezTo>
                      <a:pt x="1196" y="86"/>
                      <a:pt x="1196" y="82"/>
                      <a:pt x="1199" y="81"/>
                    </a:cubicBezTo>
                    <a:cubicBezTo>
                      <a:pt x="1204" y="82"/>
                      <a:pt x="1202" y="75"/>
                      <a:pt x="1210" y="78"/>
                    </a:cubicBezTo>
                    <a:cubicBezTo>
                      <a:pt x="1212" y="78"/>
                      <a:pt x="1210" y="75"/>
                      <a:pt x="1210" y="76"/>
                    </a:cubicBezTo>
                    <a:cubicBezTo>
                      <a:pt x="1213" y="72"/>
                      <a:pt x="1218" y="75"/>
                      <a:pt x="1225" y="74"/>
                    </a:cubicBezTo>
                    <a:cubicBezTo>
                      <a:pt x="1223" y="84"/>
                      <a:pt x="1235" y="71"/>
                      <a:pt x="1232" y="80"/>
                    </a:cubicBezTo>
                    <a:cubicBezTo>
                      <a:pt x="1240" y="81"/>
                      <a:pt x="1246" y="79"/>
                      <a:pt x="1253" y="78"/>
                    </a:cubicBezTo>
                    <a:cubicBezTo>
                      <a:pt x="1253" y="83"/>
                      <a:pt x="1245" y="79"/>
                      <a:pt x="1247" y="85"/>
                    </a:cubicBezTo>
                    <a:cubicBezTo>
                      <a:pt x="1248" y="89"/>
                      <a:pt x="1254" y="87"/>
                      <a:pt x="1258" y="87"/>
                    </a:cubicBezTo>
                    <a:cubicBezTo>
                      <a:pt x="1265" y="87"/>
                      <a:pt x="1271" y="87"/>
                      <a:pt x="1277" y="85"/>
                    </a:cubicBezTo>
                    <a:cubicBezTo>
                      <a:pt x="1278" y="92"/>
                      <a:pt x="1287" y="92"/>
                      <a:pt x="1290" y="98"/>
                    </a:cubicBezTo>
                    <a:cubicBezTo>
                      <a:pt x="1294" y="97"/>
                      <a:pt x="1296" y="100"/>
                      <a:pt x="1299" y="100"/>
                    </a:cubicBezTo>
                    <a:cubicBezTo>
                      <a:pt x="1311" y="101"/>
                      <a:pt x="1324" y="98"/>
                      <a:pt x="1335" y="100"/>
                    </a:cubicBezTo>
                    <a:cubicBezTo>
                      <a:pt x="1339" y="101"/>
                      <a:pt x="1343" y="106"/>
                      <a:pt x="1348" y="104"/>
                    </a:cubicBezTo>
                    <a:cubicBezTo>
                      <a:pt x="1347" y="107"/>
                      <a:pt x="1349" y="107"/>
                      <a:pt x="1351" y="108"/>
                    </a:cubicBezTo>
                    <a:cubicBezTo>
                      <a:pt x="1351" y="110"/>
                      <a:pt x="1351" y="113"/>
                      <a:pt x="1351" y="115"/>
                    </a:cubicBezTo>
                    <a:cubicBezTo>
                      <a:pt x="1351" y="118"/>
                      <a:pt x="1358" y="115"/>
                      <a:pt x="1359" y="117"/>
                    </a:cubicBezTo>
                    <a:cubicBezTo>
                      <a:pt x="1361" y="120"/>
                      <a:pt x="1360" y="116"/>
                      <a:pt x="1363" y="117"/>
                    </a:cubicBezTo>
                    <a:cubicBezTo>
                      <a:pt x="1363" y="117"/>
                      <a:pt x="1363" y="119"/>
                      <a:pt x="1364" y="119"/>
                    </a:cubicBezTo>
                    <a:cubicBezTo>
                      <a:pt x="1367" y="119"/>
                      <a:pt x="1387" y="121"/>
                      <a:pt x="1389" y="119"/>
                    </a:cubicBezTo>
                    <a:cubicBezTo>
                      <a:pt x="1389" y="119"/>
                      <a:pt x="1389" y="117"/>
                      <a:pt x="1389" y="117"/>
                    </a:cubicBezTo>
                    <a:cubicBezTo>
                      <a:pt x="1390" y="117"/>
                      <a:pt x="1394" y="119"/>
                      <a:pt x="1394" y="119"/>
                    </a:cubicBezTo>
                    <a:cubicBezTo>
                      <a:pt x="1396" y="117"/>
                      <a:pt x="1399" y="116"/>
                      <a:pt x="1400" y="119"/>
                    </a:cubicBezTo>
                    <a:cubicBezTo>
                      <a:pt x="1403" y="115"/>
                      <a:pt x="1409" y="115"/>
                      <a:pt x="1415" y="113"/>
                    </a:cubicBezTo>
                    <a:cubicBezTo>
                      <a:pt x="1414" y="119"/>
                      <a:pt x="1416" y="122"/>
                      <a:pt x="1417" y="126"/>
                    </a:cubicBezTo>
                    <a:cubicBezTo>
                      <a:pt x="1424" y="126"/>
                      <a:pt x="1427" y="130"/>
                      <a:pt x="1433" y="126"/>
                    </a:cubicBezTo>
                    <a:cubicBezTo>
                      <a:pt x="1434" y="123"/>
                      <a:pt x="1432" y="123"/>
                      <a:pt x="1430" y="122"/>
                    </a:cubicBezTo>
                    <a:cubicBezTo>
                      <a:pt x="1431" y="121"/>
                      <a:pt x="1432" y="118"/>
                      <a:pt x="1432" y="115"/>
                    </a:cubicBezTo>
                    <a:cubicBezTo>
                      <a:pt x="1436" y="111"/>
                      <a:pt x="1448" y="113"/>
                      <a:pt x="1450" y="117"/>
                    </a:cubicBezTo>
                    <a:cubicBezTo>
                      <a:pt x="1458" y="117"/>
                      <a:pt x="1466" y="116"/>
                      <a:pt x="1474" y="117"/>
                    </a:cubicBezTo>
                    <a:cubicBezTo>
                      <a:pt x="1477" y="117"/>
                      <a:pt x="1483" y="121"/>
                      <a:pt x="1484" y="117"/>
                    </a:cubicBezTo>
                    <a:cubicBezTo>
                      <a:pt x="1488" y="119"/>
                      <a:pt x="1487" y="121"/>
                      <a:pt x="1493" y="122"/>
                    </a:cubicBezTo>
                    <a:cubicBezTo>
                      <a:pt x="1495" y="123"/>
                      <a:pt x="1496" y="126"/>
                      <a:pt x="1497" y="126"/>
                    </a:cubicBezTo>
                    <a:cubicBezTo>
                      <a:pt x="1498" y="126"/>
                      <a:pt x="1499" y="125"/>
                      <a:pt x="1499" y="124"/>
                    </a:cubicBezTo>
                    <a:cubicBezTo>
                      <a:pt x="1501" y="125"/>
                      <a:pt x="1499" y="127"/>
                      <a:pt x="1500" y="128"/>
                    </a:cubicBezTo>
                    <a:cubicBezTo>
                      <a:pt x="1501" y="129"/>
                      <a:pt x="1504" y="127"/>
                      <a:pt x="1504" y="128"/>
                    </a:cubicBezTo>
                    <a:cubicBezTo>
                      <a:pt x="1505" y="129"/>
                      <a:pt x="1509" y="130"/>
                      <a:pt x="1514" y="132"/>
                    </a:cubicBezTo>
                    <a:cubicBezTo>
                      <a:pt x="1516" y="133"/>
                      <a:pt x="1521" y="134"/>
                      <a:pt x="1525" y="136"/>
                    </a:cubicBezTo>
                    <a:cubicBezTo>
                      <a:pt x="1526" y="136"/>
                      <a:pt x="1526" y="139"/>
                      <a:pt x="1527" y="139"/>
                    </a:cubicBezTo>
                    <a:cubicBezTo>
                      <a:pt x="1527" y="140"/>
                      <a:pt x="1530" y="139"/>
                      <a:pt x="1530" y="139"/>
                    </a:cubicBezTo>
                    <a:cubicBezTo>
                      <a:pt x="1531" y="140"/>
                      <a:pt x="1530" y="142"/>
                      <a:pt x="1530" y="143"/>
                    </a:cubicBezTo>
                    <a:cubicBezTo>
                      <a:pt x="1531" y="144"/>
                      <a:pt x="1534" y="142"/>
                      <a:pt x="1534" y="143"/>
                    </a:cubicBezTo>
                    <a:cubicBezTo>
                      <a:pt x="1535" y="145"/>
                      <a:pt x="1532" y="151"/>
                      <a:pt x="1540" y="149"/>
                    </a:cubicBezTo>
                    <a:cubicBezTo>
                      <a:pt x="1540" y="153"/>
                      <a:pt x="1540" y="157"/>
                      <a:pt x="1540" y="162"/>
                    </a:cubicBezTo>
                    <a:cubicBezTo>
                      <a:pt x="1546" y="161"/>
                      <a:pt x="1551" y="160"/>
                      <a:pt x="1553" y="154"/>
                    </a:cubicBezTo>
                    <a:cubicBezTo>
                      <a:pt x="1558" y="157"/>
                      <a:pt x="1565" y="156"/>
                      <a:pt x="1569" y="158"/>
                    </a:cubicBezTo>
                    <a:cubicBezTo>
                      <a:pt x="1570" y="158"/>
                      <a:pt x="1569" y="161"/>
                      <a:pt x="1569" y="162"/>
                    </a:cubicBezTo>
                    <a:cubicBezTo>
                      <a:pt x="1570" y="163"/>
                      <a:pt x="1574" y="161"/>
                      <a:pt x="1575" y="162"/>
                    </a:cubicBezTo>
                    <a:cubicBezTo>
                      <a:pt x="1574" y="164"/>
                      <a:pt x="1571" y="164"/>
                      <a:pt x="1571" y="167"/>
                    </a:cubicBezTo>
                    <a:cubicBezTo>
                      <a:pt x="1568" y="168"/>
                      <a:pt x="1568" y="165"/>
                      <a:pt x="1566" y="165"/>
                    </a:cubicBezTo>
                    <a:cubicBezTo>
                      <a:pt x="1564" y="167"/>
                      <a:pt x="1564" y="170"/>
                      <a:pt x="1560" y="169"/>
                    </a:cubicBezTo>
                    <a:cubicBezTo>
                      <a:pt x="1561" y="172"/>
                      <a:pt x="1566" y="171"/>
                      <a:pt x="1564" y="177"/>
                    </a:cubicBezTo>
                    <a:cubicBezTo>
                      <a:pt x="1557" y="171"/>
                      <a:pt x="1563" y="179"/>
                      <a:pt x="1558" y="180"/>
                    </a:cubicBezTo>
                    <a:cubicBezTo>
                      <a:pt x="1557" y="181"/>
                      <a:pt x="1555" y="182"/>
                      <a:pt x="1554" y="184"/>
                    </a:cubicBezTo>
                    <a:cubicBezTo>
                      <a:pt x="1552" y="184"/>
                      <a:pt x="1551" y="183"/>
                      <a:pt x="1549" y="182"/>
                    </a:cubicBezTo>
                    <a:cubicBezTo>
                      <a:pt x="1548" y="181"/>
                      <a:pt x="1546" y="179"/>
                      <a:pt x="1545" y="178"/>
                    </a:cubicBezTo>
                    <a:cubicBezTo>
                      <a:pt x="1542" y="177"/>
                      <a:pt x="1540" y="178"/>
                      <a:pt x="1538" y="177"/>
                    </a:cubicBezTo>
                    <a:cubicBezTo>
                      <a:pt x="1536" y="176"/>
                      <a:pt x="1535" y="173"/>
                      <a:pt x="1534" y="173"/>
                    </a:cubicBezTo>
                    <a:cubicBezTo>
                      <a:pt x="1532" y="172"/>
                      <a:pt x="1529" y="173"/>
                      <a:pt x="1527" y="173"/>
                    </a:cubicBezTo>
                    <a:cubicBezTo>
                      <a:pt x="1526" y="173"/>
                      <a:pt x="1526" y="171"/>
                      <a:pt x="1525" y="171"/>
                    </a:cubicBezTo>
                    <a:cubicBezTo>
                      <a:pt x="1522" y="171"/>
                      <a:pt x="1520" y="164"/>
                      <a:pt x="1517" y="169"/>
                    </a:cubicBezTo>
                    <a:cubicBezTo>
                      <a:pt x="1515" y="169"/>
                      <a:pt x="1516" y="166"/>
                      <a:pt x="1515" y="163"/>
                    </a:cubicBezTo>
                    <a:cubicBezTo>
                      <a:pt x="1512" y="163"/>
                      <a:pt x="1508" y="163"/>
                      <a:pt x="1504" y="163"/>
                    </a:cubicBezTo>
                    <a:cubicBezTo>
                      <a:pt x="1500" y="164"/>
                      <a:pt x="1504" y="168"/>
                      <a:pt x="1504" y="167"/>
                    </a:cubicBezTo>
                    <a:cubicBezTo>
                      <a:pt x="1504" y="170"/>
                      <a:pt x="1500" y="170"/>
                      <a:pt x="1500" y="175"/>
                    </a:cubicBezTo>
                    <a:cubicBezTo>
                      <a:pt x="1492" y="174"/>
                      <a:pt x="1491" y="180"/>
                      <a:pt x="1482" y="178"/>
                    </a:cubicBezTo>
                    <a:cubicBezTo>
                      <a:pt x="1480" y="180"/>
                      <a:pt x="1480" y="183"/>
                      <a:pt x="1476" y="182"/>
                    </a:cubicBezTo>
                    <a:cubicBezTo>
                      <a:pt x="1477" y="185"/>
                      <a:pt x="1481" y="184"/>
                      <a:pt x="1484" y="184"/>
                    </a:cubicBezTo>
                    <a:cubicBezTo>
                      <a:pt x="1486" y="185"/>
                      <a:pt x="1487" y="187"/>
                      <a:pt x="1489" y="188"/>
                    </a:cubicBezTo>
                    <a:cubicBezTo>
                      <a:pt x="1488" y="194"/>
                      <a:pt x="1488" y="192"/>
                      <a:pt x="1491" y="195"/>
                    </a:cubicBezTo>
                    <a:cubicBezTo>
                      <a:pt x="1493" y="199"/>
                      <a:pt x="1498" y="200"/>
                      <a:pt x="1500" y="203"/>
                    </a:cubicBezTo>
                    <a:cubicBezTo>
                      <a:pt x="1500" y="203"/>
                      <a:pt x="1495" y="208"/>
                      <a:pt x="1495" y="208"/>
                    </a:cubicBezTo>
                    <a:cubicBezTo>
                      <a:pt x="1490" y="209"/>
                      <a:pt x="1490" y="204"/>
                      <a:pt x="1487" y="204"/>
                    </a:cubicBezTo>
                    <a:cubicBezTo>
                      <a:pt x="1488" y="204"/>
                      <a:pt x="1490" y="208"/>
                      <a:pt x="1487" y="208"/>
                    </a:cubicBezTo>
                    <a:cubicBezTo>
                      <a:pt x="1482" y="209"/>
                      <a:pt x="1473" y="208"/>
                      <a:pt x="1467" y="210"/>
                    </a:cubicBezTo>
                    <a:cubicBezTo>
                      <a:pt x="1464" y="211"/>
                      <a:pt x="1457" y="213"/>
                      <a:pt x="1458" y="218"/>
                    </a:cubicBezTo>
                    <a:cubicBezTo>
                      <a:pt x="1449" y="216"/>
                      <a:pt x="1448" y="222"/>
                      <a:pt x="1443" y="223"/>
                    </a:cubicBezTo>
                    <a:cubicBezTo>
                      <a:pt x="1441" y="225"/>
                      <a:pt x="1441" y="226"/>
                      <a:pt x="1439" y="227"/>
                    </a:cubicBezTo>
                    <a:cubicBezTo>
                      <a:pt x="1438" y="228"/>
                      <a:pt x="1435" y="231"/>
                      <a:pt x="1433" y="231"/>
                    </a:cubicBezTo>
                    <a:cubicBezTo>
                      <a:pt x="1432" y="231"/>
                      <a:pt x="1430" y="233"/>
                      <a:pt x="1430" y="234"/>
                    </a:cubicBezTo>
                    <a:cubicBezTo>
                      <a:pt x="1424" y="233"/>
                      <a:pt x="1414" y="237"/>
                      <a:pt x="1411" y="232"/>
                    </a:cubicBezTo>
                    <a:cubicBezTo>
                      <a:pt x="1409" y="234"/>
                      <a:pt x="1404" y="233"/>
                      <a:pt x="1405" y="238"/>
                    </a:cubicBezTo>
                    <a:cubicBezTo>
                      <a:pt x="1395" y="239"/>
                      <a:pt x="1394" y="239"/>
                      <a:pt x="1383" y="238"/>
                    </a:cubicBezTo>
                    <a:cubicBezTo>
                      <a:pt x="1382" y="238"/>
                      <a:pt x="1381" y="240"/>
                      <a:pt x="1379" y="240"/>
                    </a:cubicBezTo>
                    <a:cubicBezTo>
                      <a:pt x="1378" y="241"/>
                      <a:pt x="1374" y="242"/>
                      <a:pt x="1374" y="246"/>
                    </a:cubicBezTo>
                    <a:cubicBezTo>
                      <a:pt x="1373" y="251"/>
                      <a:pt x="1365" y="248"/>
                      <a:pt x="1366" y="257"/>
                    </a:cubicBezTo>
                    <a:cubicBezTo>
                      <a:pt x="1365" y="263"/>
                      <a:pt x="1371" y="262"/>
                      <a:pt x="1374" y="264"/>
                    </a:cubicBezTo>
                    <a:cubicBezTo>
                      <a:pt x="1373" y="269"/>
                      <a:pt x="1372" y="274"/>
                      <a:pt x="1366" y="273"/>
                    </a:cubicBezTo>
                    <a:cubicBezTo>
                      <a:pt x="1367" y="277"/>
                      <a:pt x="1366" y="279"/>
                      <a:pt x="1363" y="279"/>
                    </a:cubicBezTo>
                    <a:cubicBezTo>
                      <a:pt x="1363" y="282"/>
                      <a:pt x="1363" y="284"/>
                      <a:pt x="1363" y="287"/>
                    </a:cubicBezTo>
                    <a:cubicBezTo>
                      <a:pt x="1363" y="289"/>
                      <a:pt x="1366" y="285"/>
                      <a:pt x="1366" y="288"/>
                    </a:cubicBezTo>
                    <a:cubicBezTo>
                      <a:pt x="1368" y="292"/>
                      <a:pt x="1364" y="291"/>
                      <a:pt x="1363" y="292"/>
                    </a:cubicBezTo>
                    <a:cubicBezTo>
                      <a:pt x="1362" y="293"/>
                      <a:pt x="1361" y="297"/>
                      <a:pt x="1361" y="298"/>
                    </a:cubicBezTo>
                    <a:cubicBezTo>
                      <a:pt x="1359" y="299"/>
                      <a:pt x="1353" y="298"/>
                      <a:pt x="1351" y="300"/>
                    </a:cubicBezTo>
                    <a:cubicBezTo>
                      <a:pt x="1350" y="301"/>
                      <a:pt x="1353" y="306"/>
                      <a:pt x="1351" y="307"/>
                    </a:cubicBezTo>
                    <a:cubicBezTo>
                      <a:pt x="1350" y="308"/>
                      <a:pt x="1350" y="303"/>
                      <a:pt x="1350" y="303"/>
                    </a:cubicBezTo>
                    <a:cubicBezTo>
                      <a:pt x="1348" y="303"/>
                      <a:pt x="1344" y="304"/>
                      <a:pt x="1348" y="313"/>
                    </a:cubicBezTo>
                    <a:cubicBezTo>
                      <a:pt x="1344" y="311"/>
                      <a:pt x="1345" y="315"/>
                      <a:pt x="1344" y="316"/>
                    </a:cubicBezTo>
                    <a:cubicBezTo>
                      <a:pt x="1343" y="317"/>
                      <a:pt x="1341" y="316"/>
                      <a:pt x="1340" y="316"/>
                    </a:cubicBezTo>
                    <a:cubicBezTo>
                      <a:pt x="1339" y="317"/>
                      <a:pt x="1340" y="322"/>
                      <a:pt x="1336" y="320"/>
                    </a:cubicBezTo>
                    <a:cubicBezTo>
                      <a:pt x="1337" y="323"/>
                      <a:pt x="1334" y="324"/>
                      <a:pt x="1335" y="328"/>
                    </a:cubicBezTo>
                    <a:cubicBezTo>
                      <a:pt x="1332" y="328"/>
                      <a:pt x="1327" y="327"/>
                      <a:pt x="1327" y="329"/>
                    </a:cubicBezTo>
                    <a:cubicBezTo>
                      <a:pt x="1325" y="329"/>
                      <a:pt x="1328" y="327"/>
                      <a:pt x="1327" y="324"/>
                    </a:cubicBezTo>
                    <a:cubicBezTo>
                      <a:pt x="1327" y="324"/>
                      <a:pt x="1325" y="323"/>
                      <a:pt x="1325" y="322"/>
                    </a:cubicBezTo>
                    <a:cubicBezTo>
                      <a:pt x="1325" y="321"/>
                      <a:pt x="1325" y="319"/>
                      <a:pt x="1325" y="318"/>
                    </a:cubicBezTo>
                    <a:cubicBezTo>
                      <a:pt x="1324" y="317"/>
                      <a:pt x="1323" y="315"/>
                      <a:pt x="1322" y="314"/>
                    </a:cubicBezTo>
                    <a:cubicBezTo>
                      <a:pt x="1321" y="314"/>
                      <a:pt x="1320" y="312"/>
                      <a:pt x="1318" y="313"/>
                    </a:cubicBezTo>
                    <a:cubicBezTo>
                      <a:pt x="1320" y="310"/>
                      <a:pt x="1320" y="305"/>
                      <a:pt x="1320" y="301"/>
                    </a:cubicBezTo>
                    <a:cubicBezTo>
                      <a:pt x="1320" y="298"/>
                      <a:pt x="1318" y="298"/>
                      <a:pt x="1318" y="296"/>
                    </a:cubicBezTo>
                    <a:cubicBezTo>
                      <a:pt x="1317" y="289"/>
                      <a:pt x="1320" y="281"/>
                      <a:pt x="1318" y="275"/>
                    </a:cubicBezTo>
                    <a:cubicBezTo>
                      <a:pt x="1325" y="281"/>
                      <a:pt x="1319" y="272"/>
                      <a:pt x="1322" y="268"/>
                    </a:cubicBezTo>
                    <a:cubicBezTo>
                      <a:pt x="1322" y="267"/>
                      <a:pt x="1324" y="274"/>
                      <a:pt x="1325" y="270"/>
                    </a:cubicBezTo>
                    <a:cubicBezTo>
                      <a:pt x="1325" y="269"/>
                      <a:pt x="1325" y="267"/>
                      <a:pt x="1325" y="266"/>
                    </a:cubicBezTo>
                    <a:cubicBezTo>
                      <a:pt x="1327" y="263"/>
                      <a:pt x="1335" y="258"/>
                      <a:pt x="1336" y="257"/>
                    </a:cubicBezTo>
                    <a:cubicBezTo>
                      <a:pt x="1336" y="257"/>
                      <a:pt x="1340" y="256"/>
                      <a:pt x="1338" y="255"/>
                    </a:cubicBezTo>
                    <a:cubicBezTo>
                      <a:pt x="1336" y="253"/>
                      <a:pt x="1339" y="253"/>
                      <a:pt x="1342" y="253"/>
                    </a:cubicBezTo>
                    <a:cubicBezTo>
                      <a:pt x="1345" y="251"/>
                      <a:pt x="1346" y="248"/>
                      <a:pt x="1346" y="244"/>
                    </a:cubicBezTo>
                    <a:cubicBezTo>
                      <a:pt x="1346" y="243"/>
                      <a:pt x="1352" y="241"/>
                      <a:pt x="1351" y="240"/>
                    </a:cubicBezTo>
                    <a:cubicBezTo>
                      <a:pt x="1351" y="240"/>
                      <a:pt x="1350" y="240"/>
                      <a:pt x="1350" y="240"/>
                    </a:cubicBezTo>
                    <a:cubicBezTo>
                      <a:pt x="1350" y="240"/>
                      <a:pt x="1351" y="236"/>
                      <a:pt x="1351" y="236"/>
                    </a:cubicBezTo>
                    <a:cubicBezTo>
                      <a:pt x="1353" y="236"/>
                      <a:pt x="1356" y="241"/>
                      <a:pt x="1355" y="232"/>
                    </a:cubicBezTo>
                    <a:cubicBezTo>
                      <a:pt x="1358" y="232"/>
                      <a:pt x="1362" y="232"/>
                      <a:pt x="1364" y="231"/>
                    </a:cubicBezTo>
                    <a:cubicBezTo>
                      <a:pt x="1365" y="230"/>
                      <a:pt x="1366" y="227"/>
                      <a:pt x="1366" y="227"/>
                    </a:cubicBezTo>
                    <a:cubicBezTo>
                      <a:pt x="1367" y="226"/>
                      <a:pt x="1369" y="227"/>
                      <a:pt x="1370" y="227"/>
                    </a:cubicBezTo>
                    <a:cubicBezTo>
                      <a:pt x="1371" y="226"/>
                      <a:pt x="1373" y="224"/>
                      <a:pt x="1374" y="223"/>
                    </a:cubicBezTo>
                    <a:cubicBezTo>
                      <a:pt x="1375" y="222"/>
                      <a:pt x="1375" y="223"/>
                      <a:pt x="1376" y="221"/>
                    </a:cubicBezTo>
                    <a:cubicBezTo>
                      <a:pt x="1376" y="219"/>
                      <a:pt x="1378" y="214"/>
                      <a:pt x="1381" y="218"/>
                    </a:cubicBezTo>
                    <a:cubicBezTo>
                      <a:pt x="1381" y="214"/>
                      <a:pt x="1381" y="211"/>
                      <a:pt x="1381" y="208"/>
                    </a:cubicBezTo>
                    <a:cubicBezTo>
                      <a:pt x="1377" y="208"/>
                      <a:pt x="1374" y="209"/>
                      <a:pt x="1372" y="210"/>
                    </a:cubicBezTo>
                    <a:cubicBezTo>
                      <a:pt x="1371" y="211"/>
                      <a:pt x="1369" y="213"/>
                      <a:pt x="1368" y="214"/>
                    </a:cubicBezTo>
                    <a:cubicBezTo>
                      <a:pt x="1367" y="215"/>
                      <a:pt x="1366" y="214"/>
                      <a:pt x="1366" y="216"/>
                    </a:cubicBezTo>
                    <a:cubicBezTo>
                      <a:pt x="1366" y="219"/>
                      <a:pt x="1359" y="218"/>
                      <a:pt x="1359" y="223"/>
                    </a:cubicBezTo>
                    <a:cubicBezTo>
                      <a:pt x="1355" y="223"/>
                      <a:pt x="1353" y="224"/>
                      <a:pt x="1353" y="227"/>
                    </a:cubicBezTo>
                    <a:cubicBezTo>
                      <a:pt x="1351" y="227"/>
                      <a:pt x="1352" y="224"/>
                      <a:pt x="1351" y="223"/>
                    </a:cubicBezTo>
                    <a:cubicBezTo>
                      <a:pt x="1351" y="223"/>
                      <a:pt x="1348" y="224"/>
                      <a:pt x="1348" y="223"/>
                    </a:cubicBezTo>
                    <a:cubicBezTo>
                      <a:pt x="1347" y="222"/>
                      <a:pt x="1348" y="219"/>
                      <a:pt x="1348" y="218"/>
                    </a:cubicBezTo>
                    <a:cubicBezTo>
                      <a:pt x="1340" y="219"/>
                      <a:pt x="1335" y="216"/>
                      <a:pt x="1329" y="218"/>
                    </a:cubicBezTo>
                    <a:cubicBezTo>
                      <a:pt x="1327" y="218"/>
                      <a:pt x="1329" y="220"/>
                      <a:pt x="1327" y="221"/>
                    </a:cubicBezTo>
                    <a:cubicBezTo>
                      <a:pt x="1325" y="223"/>
                      <a:pt x="1322" y="222"/>
                      <a:pt x="1320" y="223"/>
                    </a:cubicBezTo>
                    <a:cubicBezTo>
                      <a:pt x="1316" y="225"/>
                      <a:pt x="1316" y="226"/>
                      <a:pt x="1314" y="229"/>
                    </a:cubicBezTo>
                    <a:cubicBezTo>
                      <a:pt x="1313" y="230"/>
                      <a:pt x="1312" y="233"/>
                      <a:pt x="1308" y="232"/>
                    </a:cubicBezTo>
                    <a:cubicBezTo>
                      <a:pt x="1307" y="238"/>
                      <a:pt x="1311" y="237"/>
                      <a:pt x="1310" y="242"/>
                    </a:cubicBezTo>
                    <a:cubicBezTo>
                      <a:pt x="1308" y="243"/>
                      <a:pt x="1307" y="244"/>
                      <a:pt x="1307" y="247"/>
                    </a:cubicBezTo>
                    <a:cubicBezTo>
                      <a:pt x="1299" y="246"/>
                      <a:pt x="1297" y="250"/>
                      <a:pt x="1290" y="249"/>
                    </a:cubicBezTo>
                    <a:cubicBezTo>
                      <a:pt x="1288" y="247"/>
                      <a:pt x="1289" y="246"/>
                      <a:pt x="1290" y="244"/>
                    </a:cubicBezTo>
                    <a:cubicBezTo>
                      <a:pt x="1287" y="244"/>
                      <a:pt x="1286" y="242"/>
                      <a:pt x="1286" y="240"/>
                    </a:cubicBezTo>
                    <a:cubicBezTo>
                      <a:pt x="1283" y="240"/>
                      <a:pt x="1279" y="241"/>
                      <a:pt x="1279" y="238"/>
                    </a:cubicBezTo>
                    <a:cubicBezTo>
                      <a:pt x="1270" y="243"/>
                      <a:pt x="1259" y="246"/>
                      <a:pt x="1247" y="247"/>
                    </a:cubicBezTo>
                    <a:cubicBezTo>
                      <a:pt x="1246" y="244"/>
                      <a:pt x="1241" y="246"/>
                      <a:pt x="1243" y="240"/>
                    </a:cubicBezTo>
                    <a:cubicBezTo>
                      <a:pt x="1241" y="240"/>
                      <a:pt x="1238" y="240"/>
                      <a:pt x="1236" y="240"/>
                    </a:cubicBezTo>
                    <a:cubicBezTo>
                      <a:pt x="1228" y="242"/>
                      <a:pt x="1222" y="244"/>
                      <a:pt x="1215" y="247"/>
                    </a:cubicBezTo>
                    <a:cubicBezTo>
                      <a:pt x="1210" y="250"/>
                      <a:pt x="1206" y="255"/>
                      <a:pt x="1200" y="257"/>
                    </a:cubicBezTo>
                    <a:cubicBezTo>
                      <a:pt x="1201" y="260"/>
                      <a:pt x="1200" y="263"/>
                      <a:pt x="1197" y="262"/>
                    </a:cubicBezTo>
                    <a:cubicBezTo>
                      <a:pt x="1198" y="268"/>
                      <a:pt x="1194" y="267"/>
                      <a:pt x="1195" y="272"/>
                    </a:cubicBezTo>
                    <a:cubicBezTo>
                      <a:pt x="1191" y="268"/>
                      <a:pt x="1187" y="279"/>
                      <a:pt x="1185" y="277"/>
                    </a:cubicBezTo>
                    <a:cubicBezTo>
                      <a:pt x="1182" y="274"/>
                      <a:pt x="1185" y="279"/>
                      <a:pt x="1180" y="279"/>
                    </a:cubicBezTo>
                    <a:cubicBezTo>
                      <a:pt x="1177" y="279"/>
                      <a:pt x="1176" y="280"/>
                      <a:pt x="1176" y="283"/>
                    </a:cubicBezTo>
                    <a:cubicBezTo>
                      <a:pt x="1167" y="280"/>
                      <a:pt x="1170" y="289"/>
                      <a:pt x="1163" y="288"/>
                    </a:cubicBezTo>
                    <a:cubicBezTo>
                      <a:pt x="1164" y="290"/>
                      <a:pt x="1169" y="298"/>
                      <a:pt x="1171" y="294"/>
                    </a:cubicBezTo>
                    <a:cubicBezTo>
                      <a:pt x="1173" y="295"/>
                      <a:pt x="1172" y="299"/>
                      <a:pt x="1172" y="301"/>
                    </a:cubicBezTo>
                    <a:cubicBezTo>
                      <a:pt x="1175" y="300"/>
                      <a:pt x="1178" y="303"/>
                      <a:pt x="1178" y="303"/>
                    </a:cubicBezTo>
                    <a:cubicBezTo>
                      <a:pt x="1180" y="303"/>
                      <a:pt x="1182" y="301"/>
                      <a:pt x="1185" y="301"/>
                    </a:cubicBezTo>
                    <a:cubicBezTo>
                      <a:pt x="1186" y="302"/>
                      <a:pt x="1188" y="303"/>
                      <a:pt x="1187" y="303"/>
                    </a:cubicBezTo>
                    <a:cubicBezTo>
                      <a:pt x="1190" y="303"/>
                      <a:pt x="1192" y="298"/>
                      <a:pt x="1193" y="301"/>
                    </a:cubicBezTo>
                    <a:cubicBezTo>
                      <a:pt x="1195" y="301"/>
                      <a:pt x="1194" y="299"/>
                      <a:pt x="1195" y="298"/>
                    </a:cubicBezTo>
                    <a:cubicBezTo>
                      <a:pt x="1198" y="299"/>
                      <a:pt x="1198" y="312"/>
                      <a:pt x="1202" y="305"/>
                    </a:cubicBezTo>
                    <a:cubicBezTo>
                      <a:pt x="1207" y="304"/>
                      <a:pt x="1201" y="314"/>
                      <a:pt x="1208" y="311"/>
                    </a:cubicBezTo>
                    <a:cubicBezTo>
                      <a:pt x="1208" y="313"/>
                      <a:pt x="1205" y="312"/>
                      <a:pt x="1204" y="313"/>
                    </a:cubicBezTo>
                    <a:cubicBezTo>
                      <a:pt x="1204" y="313"/>
                      <a:pt x="1207" y="318"/>
                      <a:pt x="1206" y="320"/>
                    </a:cubicBezTo>
                    <a:cubicBezTo>
                      <a:pt x="1206" y="321"/>
                      <a:pt x="1204" y="320"/>
                      <a:pt x="1204" y="322"/>
                    </a:cubicBezTo>
                    <a:cubicBezTo>
                      <a:pt x="1204" y="323"/>
                      <a:pt x="1202" y="324"/>
                      <a:pt x="1202" y="326"/>
                    </a:cubicBezTo>
                    <a:cubicBezTo>
                      <a:pt x="1201" y="332"/>
                      <a:pt x="1205" y="342"/>
                      <a:pt x="1199" y="337"/>
                    </a:cubicBezTo>
                    <a:cubicBezTo>
                      <a:pt x="1200" y="353"/>
                      <a:pt x="1193" y="361"/>
                      <a:pt x="1189" y="372"/>
                    </a:cubicBezTo>
                    <a:cubicBezTo>
                      <a:pt x="1187" y="374"/>
                      <a:pt x="1186" y="373"/>
                      <a:pt x="1184" y="372"/>
                    </a:cubicBezTo>
                    <a:cubicBezTo>
                      <a:pt x="1183" y="374"/>
                      <a:pt x="1184" y="376"/>
                      <a:pt x="1184" y="378"/>
                    </a:cubicBezTo>
                    <a:cubicBezTo>
                      <a:pt x="1183" y="380"/>
                      <a:pt x="1180" y="378"/>
                      <a:pt x="1178" y="380"/>
                    </a:cubicBezTo>
                    <a:cubicBezTo>
                      <a:pt x="1177" y="380"/>
                      <a:pt x="1179" y="383"/>
                      <a:pt x="1178" y="383"/>
                    </a:cubicBezTo>
                    <a:cubicBezTo>
                      <a:pt x="1177" y="384"/>
                      <a:pt x="1175" y="383"/>
                      <a:pt x="1174" y="383"/>
                    </a:cubicBezTo>
                    <a:cubicBezTo>
                      <a:pt x="1173" y="385"/>
                      <a:pt x="1176" y="386"/>
                      <a:pt x="1176" y="385"/>
                    </a:cubicBezTo>
                    <a:cubicBezTo>
                      <a:pt x="1175" y="387"/>
                      <a:pt x="1172" y="387"/>
                      <a:pt x="1171" y="389"/>
                    </a:cubicBezTo>
                    <a:cubicBezTo>
                      <a:pt x="1170" y="390"/>
                      <a:pt x="1170" y="393"/>
                      <a:pt x="1169" y="395"/>
                    </a:cubicBezTo>
                    <a:cubicBezTo>
                      <a:pt x="1167" y="396"/>
                      <a:pt x="1165" y="395"/>
                      <a:pt x="1163" y="396"/>
                    </a:cubicBezTo>
                    <a:cubicBezTo>
                      <a:pt x="1161" y="398"/>
                      <a:pt x="1163" y="400"/>
                      <a:pt x="1161" y="402"/>
                    </a:cubicBezTo>
                    <a:cubicBezTo>
                      <a:pt x="1161" y="403"/>
                      <a:pt x="1158" y="401"/>
                      <a:pt x="1158" y="402"/>
                    </a:cubicBezTo>
                    <a:cubicBezTo>
                      <a:pt x="1157" y="402"/>
                      <a:pt x="1157" y="407"/>
                      <a:pt x="1156" y="406"/>
                    </a:cubicBezTo>
                    <a:cubicBezTo>
                      <a:pt x="1154" y="404"/>
                      <a:pt x="1152" y="404"/>
                      <a:pt x="1152" y="410"/>
                    </a:cubicBezTo>
                    <a:cubicBezTo>
                      <a:pt x="1143" y="411"/>
                      <a:pt x="1143" y="410"/>
                      <a:pt x="1133" y="410"/>
                    </a:cubicBezTo>
                    <a:cubicBezTo>
                      <a:pt x="1133" y="411"/>
                      <a:pt x="1126" y="414"/>
                      <a:pt x="1130" y="415"/>
                    </a:cubicBezTo>
                    <a:cubicBezTo>
                      <a:pt x="1131" y="419"/>
                      <a:pt x="1117" y="416"/>
                      <a:pt x="1124" y="419"/>
                    </a:cubicBezTo>
                    <a:cubicBezTo>
                      <a:pt x="1123" y="421"/>
                      <a:pt x="1120" y="421"/>
                      <a:pt x="1120" y="419"/>
                    </a:cubicBezTo>
                    <a:cubicBezTo>
                      <a:pt x="1115" y="423"/>
                      <a:pt x="1118" y="427"/>
                      <a:pt x="1118" y="434"/>
                    </a:cubicBezTo>
                    <a:cubicBezTo>
                      <a:pt x="1113" y="435"/>
                      <a:pt x="1115" y="435"/>
                      <a:pt x="1109" y="434"/>
                    </a:cubicBezTo>
                    <a:cubicBezTo>
                      <a:pt x="1111" y="436"/>
                      <a:pt x="1111" y="438"/>
                      <a:pt x="1107" y="438"/>
                    </a:cubicBezTo>
                    <a:cubicBezTo>
                      <a:pt x="1107" y="441"/>
                      <a:pt x="1109" y="457"/>
                      <a:pt x="1111" y="452"/>
                    </a:cubicBezTo>
                    <a:cubicBezTo>
                      <a:pt x="1115" y="452"/>
                      <a:pt x="1111" y="467"/>
                      <a:pt x="1117" y="467"/>
                    </a:cubicBezTo>
                    <a:cubicBezTo>
                      <a:pt x="1121" y="468"/>
                      <a:pt x="1115" y="473"/>
                      <a:pt x="1120" y="475"/>
                    </a:cubicBezTo>
                    <a:cubicBezTo>
                      <a:pt x="1119" y="475"/>
                      <a:pt x="1119" y="478"/>
                      <a:pt x="1118" y="479"/>
                    </a:cubicBezTo>
                    <a:cubicBezTo>
                      <a:pt x="1116" y="479"/>
                      <a:pt x="1114" y="477"/>
                      <a:pt x="1115" y="477"/>
                    </a:cubicBezTo>
                    <a:cubicBezTo>
                      <a:pt x="1113" y="478"/>
                      <a:pt x="1114" y="479"/>
                      <a:pt x="1113" y="480"/>
                    </a:cubicBezTo>
                    <a:cubicBezTo>
                      <a:pt x="1112" y="481"/>
                      <a:pt x="1109" y="480"/>
                      <a:pt x="1107" y="480"/>
                    </a:cubicBezTo>
                    <a:cubicBezTo>
                      <a:pt x="1103" y="482"/>
                      <a:pt x="1098" y="486"/>
                      <a:pt x="1094" y="482"/>
                    </a:cubicBezTo>
                    <a:cubicBezTo>
                      <a:pt x="1093" y="478"/>
                      <a:pt x="1096" y="477"/>
                      <a:pt x="1096" y="475"/>
                    </a:cubicBezTo>
                    <a:cubicBezTo>
                      <a:pt x="1097" y="471"/>
                      <a:pt x="1094" y="465"/>
                      <a:pt x="1098" y="464"/>
                    </a:cubicBezTo>
                    <a:cubicBezTo>
                      <a:pt x="1097" y="461"/>
                      <a:pt x="1092" y="462"/>
                      <a:pt x="1094" y="456"/>
                    </a:cubicBezTo>
                    <a:cubicBezTo>
                      <a:pt x="1090" y="454"/>
                      <a:pt x="1087" y="457"/>
                      <a:pt x="1083" y="452"/>
                    </a:cubicBezTo>
                    <a:cubicBezTo>
                      <a:pt x="1082" y="447"/>
                      <a:pt x="1089" y="450"/>
                      <a:pt x="1087" y="443"/>
                    </a:cubicBezTo>
                    <a:cubicBezTo>
                      <a:pt x="1086" y="441"/>
                      <a:pt x="1085" y="442"/>
                      <a:pt x="1085" y="443"/>
                    </a:cubicBezTo>
                    <a:cubicBezTo>
                      <a:pt x="1082" y="443"/>
                      <a:pt x="1082" y="441"/>
                      <a:pt x="1081" y="439"/>
                    </a:cubicBezTo>
                    <a:cubicBezTo>
                      <a:pt x="1080" y="438"/>
                      <a:pt x="1078" y="438"/>
                      <a:pt x="1077" y="436"/>
                    </a:cubicBezTo>
                    <a:cubicBezTo>
                      <a:pt x="1076" y="437"/>
                      <a:pt x="1074" y="438"/>
                      <a:pt x="1072" y="438"/>
                    </a:cubicBezTo>
                    <a:cubicBezTo>
                      <a:pt x="1070" y="438"/>
                      <a:pt x="1071" y="439"/>
                      <a:pt x="1072" y="439"/>
                    </a:cubicBezTo>
                    <a:cubicBezTo>
                      <a:pt x="1072" y="445"/>
                      <a:pt x="1067" y="435"/>
                      <a:pt x="1068" y="443"/>
                    </a:cubicBezTo>
                    <a:cubicBezTo>
                      <a:pt x="1063" y="439"/>
                      <a:pt x="1063" y="447"/>
                      <a:pt x="1057" y="443"/>
                    </a:cubicBezTo>
                    <a:cubicBezTo>
                      <a:pt x="1062" y="439"/>
                      <a:pt x="1057" y="436"/>
                      <a:pt x="1062" y="432"/>
                    </a:cubicBezTo>
                    <a:cubicBezTo>
                      <a:pt x="1066" y="430"/>
                      <a:pt x="1053" y="431"/>
                      <a:pt x="1053" y="434"/>
                    </a:cubicBezTo>
                    <a:cubicBezTo>
                      <a:pt x="1053" y="438"/>
                      <a:pt x="1050" y="432"/>
                      <a:pt x="1051" y="432"/>
                    </a:cubicBezTo>
                    <a:cubicBezTo>
                      <a:pt x="1048" y="433"/>
                      <a:pt x="1049" y="437"/>
                      <a:pt x="1046" y="438"/>
                    </a:cubicBezTo>
                    <a:cubicBezTo>
                      <a:pt x="1045" y="438"/>
                      <a:pt x="1041" y="440"/>
                      <a:pt x="1040" y="441"/>
                    </a:cubicBezTo>
                    <a:cubicBezTo>
                      <a:pt x="1039" y="442"/>
                      <a:pt x="1038" y="443"/>
                      <a:pt x="1038" y="445"/>
                    </a:cubicBezTo>
                    <a:cubicBezTo>
                      <a:pt x="1031" y="444"/>
                      <a:pt x="1033" y="444"/>
                      <a:pt x="1025" y="445"/>
                    </a:cubicBezTo>
                    <a:cubicBezTo>
                      <a:pt x="1027" y="445"/>
                      <a:pt x="1026" y="450"/>
                      <a:pt x="1027" y="451"/>
                    </a:cubicBezTo>
                    <a:cubicBezTo>
                      <a:pt x="1028" y="451"/>
                      <a:pt x="1031" y="450"/>
                      <a:pt x="1033" y="451"/>
                    </a:cubicBezTo>
                    <a:cubicBezTo>
                      <a:pt x="1033" y="451"/>
                      <a:pt x="1032" y="454"/>
                      <a:pt x="1033" y="454"/>
                    </a:cubicBezTo>
                    <a:cubicBezTo>
                      <a:pt x="1033" y="455"/>
                      <a:pt x="1037" y="454"/>
                      <a:pt x="1038" y="454"/>
                    </a:cubicBezTo>
                    <a:cubicBezTo>
                      <a:pt x="1039" y="455"/>
                      <a:pt x="1038" y="458"/>
                      <a:pt x="1038" y="458"/>
                    </a:cubicBezTo>
                    <a:cubicBezTo>
                      <a:pt x="1040" y="459"/>
                      <a:pt x="1043" y="458"/>
                      <a:pt x="1044" y="460"/>
                    </a:cubicBezTo>
                    <a:cubicBezTo>
                      <a:pt x="1046" y="459"/>
                      <a:pt x="1045" y="456"/>
                      <a:pt x="1048" y="456"/>
                    </a:cubicBezTo>
                    <a:cubicBezTo>
                      <a:pt x="1055" y="455"/>
                      <a:pt x="1061" y="457"/>
                      <a:pt x="1061" y="464"/>
                    </a:cubicBezTo>
                    <a:cubicBezTo>
                      <a:pt x="1058" y="466"/>
                      <a:pt x="1054" y="466"/>
                      <a:pt x="1051" y="464"/>
                    </a:cubicBezTo>
                    <a:cubicBezTo>
                      <a:pt x="1050" y="466"/>
                      <a:pt x="1049" y="469"/>
                      <a:pt x="1049" y="473"/>
                    </a:cubicBezTo>
                    <a:cubicBezTo>
                      <a:pt x="1046" y="472"/>
                      <a:pt x="1046" y="475"/>
                      <a:pt x="1048" y="475"/>
                    </a:cubicBezTo>
                    <a:cubicBezTo>
                      <a:pt x="1047" y="477"/>
                      <a:pt x="1043" y="476"/>
                      <a:pt x="1040" y="477"/>
                    </a:cubicBezTo>
                    <a:cubicBezTo>
                      <a:pt x="1043" y="483"/>
                      <a:pt x="1049" y="486"/>
                      <a:pt x="1049" y="495"/>
                    </a:cubicBezTo>
                    <a:cubicBezTo>
                      <a:pt x="1054" y="490"/>
                      <a:pt x="1051" y="494"/>
                      <a:pt x="1055" y="497"/>
                    </a:cubicBezTo>
                    <a:cubicBezTo>
                      <a:pt x="1054" y="504"/>
                      <a:pt x="1057" y="514"/>
                      <a:pt x="1053" y="518"/>
                    </a:cubicBezTo>
                    <a:cubicBezTo>
                      <a:pt x="1056" y="522"/>
                      <a:pt x="1058" y="528"/>
                      <a:pt x="1057" y="536"/>
                    </a:cubicBezTo>
                    <a:cubicBezTo>
                      <a:pt x="1051" y="532"/>
                      <a:pt x="1054" y="545"/>
                      <a:pt x="1051" y="542"/>
                    </a:cubicBezTo>
                    <a:cubicBezTo>
                      <a:pt x="1049" y="539"/>
                      <a:pt x="1051" y="542"/>
                      <a:pt x="1049" y="544"/>
                    </a:cubicBezTo>
                    <a:cubicBezTo>
                      <a:pt x="1048" y="545"/>
                      <a:pt x="1044" y="545"/>
                      <a:pt x="1046" y="551"/>
                    </a:cubicBezTo>
                    <a:cubicBezTo>
                      <a:pt x="1040" y="549"/>
                      <a:pt x="1044" y="557"/>
                      <a:pt x="1038" y="555"/>
                    </a:cubicBezTo>
                    <a:cubicBezTo>
                      <a:pt x="1043" y="559"/>
                      <a:pt x="1030" y="562"/>
                      <a:pt x="1033" y="564"/>
                    </a:cubicBezTo>
                    <a:cubicBezTo>
                      <a:pt x="1036" y="567"/>
                      <a:pt x="1032" y="565"/>
                      <a:pt x="1029" y="568"/>
                    </a:cubicBezTo>
                    <a:cubicBezTo>
                      <a:pt x="1028" y="569"/>
                      <a:pt x="1028" y="572"/>
                      <a:pt x="1027" y="574"/>
                    </a:cubicBezTo>
                    <a:cubicBezTo>
                      <a:pt x="1027" y="574"/>
                      <a:pt x="1024" y="573"/>
                      <a:pt x="1023" y="574"/>
                    </a:cubicBezTo>
                    <a:cubicBezTo>
                      <a:pt x="1023" y="574"/>
                      <a:pt x="1024" y="577"/>
                      <a:pt x="1023" y="577"/>
                    </a:cubicBezTo>
                    <a:cubicBezTo>
                      <a:pt x="1022" y="579"/>
                      <a:pt x="1016" y="576"/>
                      <a:pt x="1018" y="581"/>
                    </a:cubicBezTo>
                    <a:cubicBezTo>
                      <a:pt x="1006" y="582"/>
                      <a:pt x="1008" y="583"/>
                      <a:pt x="995" y="581"/>
                    </a:cubicBezTo>
                    <a:cubicBezTo>
                      <a:pt x="993" y="581"/>
                      <a:pt x="994" y="584"/>
                      <a:pt x="993" y="587"/>
                    </a:cubicBezTo>
                    <a:cubicBezTo>
                      <a:pt x="989" y="583"/>
                      <a:pt x="983" y="591"/>
                      <a:pt x="982" y="590"/>
                    </a:cubicBezTo>
                    <a:cubicBezTo>
                      <a:pt x="979" y="587"/>
                      <a:pt x="982" y="592"/>
                      <a:pt x="975" y="592"/>
                    </a:cubicBezTo>
                    <a:cubicBezTo>
                      <a:pt x="972" y="593"/>
                      <a:pt x="976" y="595"/>
                      <a:pt x="973" y="596"/>
                    </a:cubicBezTo>
                    <a:cubicBezTo>
                      <a:pt x="969" y="600"/>
                      <a:pt x="967" y="593"/>
                      <a:pt x="962" y="592"/>
                    </a:cubicBezTo>
                    <a:cubicBezTo>
                      <a:pt x="956" y="591"/>
                      <a:pt x="955" y="594"/>
                      <a:pt x="951" y="594"/>
                    </a:cubicBezTo>
                    <a:cubicBezTo>
                      <a:pt x="948" y="595"/>
                      <a:pt x="947" y="598"/>
                      <a:pt x="947" y="602"/>
                    </a:cubicBezTo>
                    <a:cubicBezTo>
                      <a:pt x="941" y="600"/>
                      <a:pt x="941" y="604"/>
                      <a:pt x="938" y="605"/>
                    </a:cubicBezTo>
                    <a:cubicBezTo>
                      <a:pt x="936" y="610"/>
                      <a:pt x="941" y="609"/>
                      <a:pt x="941" y="613"/>
                    </a:cubicBezTo>
                    <a:cubicBezTo>
                      <a:pt x="941" y="615"/>
                      <a:pt x="941" y="616"/>
                      <a:pt x="943" y="616"/>
                    </a:cubicBezTo>
                    <a:cubicBezTo>
                      <a:pt x="946" y="617"/>
                      <a:pt x="944" y="619"/>
                      <a:pt x="945" y="620"/>
                    </a:cubicBezTo>
                    <a:cubicBezTo>
                      <a:pt x="946" y="622"/>
                      <a:pt x="949" y="621"/>
                      <a:pt x="951" y="622"/>
                    </a:cubicBezTo>
                    <a:cubicBezTo>
                      <a:pt x="951" y="622"/>
                      <a:pt x="950" y="625"/>
                      <a:pt x="951" y="626"/>
                    </a:cubicBezTo>
                    <a:cubicBezTo>
                      <a:pt x="951" y="626"/>
                      <a:pt x="954" y="625"/>
                      <a:pt x="954" y="626"/>
                    </a:cubicBezTo>
                    <a:cubicBezTo>
                      <a:pt x="956" y="627"/>
                      <a:pt x="956" y="632"/>
                      <a:pt x="958" y="635"/>
                    </a:cubicBezTo>
                    <a:cubicBezTo>
                      <a:pt x="959" y="637"/>
                      <a:pt x="964" y="641"/>
                      <a:pt x="964" y="641"/>
                    </a:cubicBezTo>
                    <a:cubicBezTo>
                      <a:pt x="964" y="643"/>
                      <a:pt x="963" y="646"/>
                      <a:pt x="964" y="648"/>
                    </a:cubicBezTo>
                    <a:cubicBezTo>
                      <a:pt x="964" y="651"/>
                      <a:pt x="966" y="652"/>
                      <a:pt x="965" y="656"/>
                    </a:cubicBezTo>
                    <a:cubicBezTo>
                      <a:pt x="965" y="659"/>
                      <a:pt x="964" y="659"/>
                      <a:pt x="964" y="661"/>
                    </a:cubicBezTo>
                    <a:cubicBezTo>
                      <a:pt x="963" y="665"/>
                      <a:pt x="965" y="668"/>
                      <a:pt x="960" y="665"/>
                    </a:cubicBezTo>
                    <a:cubicBezTo>
                      <a:pt x="963" y="672"/>
                      <a:pt x="955" y="668"/>
                      <a:pt x="956" y="674"/>
                    </a:cubicBezTo>
                    <a:cubicBezTo>
                      <a:pt x="949" y="672"/>
                      <a:pt x="950" y="678"/>
                      <a:pt x="945" y="678"/>
                    </a:cubicBezTo>
                    <a:cubicBezTo>
                      <a:pt x="943" y="677"/>
                      <a:pt x="944" y="681"/>
                      <a:pt x="943" y="682"/>
                    </a:cubicBezTo>
                    <a:cubicBezTo>
                      <a:pt x="943" y="682"/>
                      <a:pt x="938" y="682"/>
                      <a:pt x="939" y="684"/>
                    </a:cubicBezTo>
                    <a:cubicBezTo>
                      <a:pt x="941" y="685"/>
                      <a:pt x="941" y="684"/>
                      <a:pt x="939" y="685"/>
                    </a:cubicBezTo>
                    <a:cubicBezTo>
                      <a:pt x="938" y="687"/>
                      <a:pt x="937" y="689"/>
                      <a:pt x="934" y="689"/>
                    </a:cubicBezTo>
                    <a:cubicBezTo>
                      <a:pt x="936" y="680"/>
                      <a:pt x="930" y="688"/>
                      <a:pt x="930" y="684"/>
                    </a:cubicBezTo>
                    <a:cubicBezTo>
                      <a:pt x="930" y="682"/>
                      <a:pt x="929" y="678"/>
                      <a:pt x="926" y="676"/>
                    </a:cubicBezTo>
                    <a:cubicBezTo>
                      <a:pt x="926" y="675"/>
                      <a:pt x="923" y="677"/>
                      <a:pt x="923" y="676"/>
                    </a:cubicBezTo>
                    <a:cubicBezTo>
                      <a:pt x="922" y="675"/>
                      <a:pt x="923" y="673"/>
                      <a:pt x="923" y="672"/>
                    </a:cubicBezTo>
                    <a:cubicBezTo>
                      <a:pt x="921" y="671"/>
                      <a:pt x="916" y="672"/>
                      <a:pt x="915" y="670"/>
                    </a:cubicBezTo>
                    <a:cubicBezTo>
                      <a:pt x="915" y="670"/>
                      <a:pt x="916" y="667"/>
                      <a:pt x="915" y="667"/>
                    </a:cubicBezTo>
                    <a:cubicBezTo>
                      <a:pt x="914" y="666"/>
                      <a:pt x="911" y="667"/>
                      <a:pt x="910" y="667"/>
                    </a:cubicBezTo>
                    <a:cubicBezTo>
                      <a:pt x="908" y="667"/>
                      <a:pt x="909" y="662"/>
                      <a:pt x="908" y="661"/>
                    </a:cubicBezTo>
                    <a:cubicBezTo>
                      <a:pt x="907" y="661"/>
                      <a:pt x="905" y="662"/>
                      <a:pt x="906" y="663"/>
                    </a:cubicBezTo>
                    <a:cubicBezTo>
                      <a:pt x="902" y="659"/>
                      <a:pt x="904" y="659"/>
                      <a:pt x="900" y="656"/>
                    </a:cubicBezTo>
                    <a:cubicBezTo>
                      <a:pt x="895" y="653"/>
                      <a:pt x="896" y="662"/>
                      <a:pt x="895" y="665"/>
                    </a:cubicBezTo>
                    <a:cubicBezTo>
                      <a:pt x="894" y="666"/>
                      <a:pt x="891" y="666"/>
                      <a:pt x="891" y="667"/>
                    </a:cubicBezTo>
                    <a:cubicBezTo>
                      <a:pt x="890" y="670"/>
                      <a:pt x="892" y="675"/>
                      <a:pt x="889" y="678"/>
                    </a:cubicBezTo>
                    <a:cubicBezTo>
                      <a:pt x="890" y="679"/>
                      <a:pt x="891" y="681"/>
                      <a:pt x="891" y="684"/>
                    </a:cubicBezTo>
                    <a:cubicBezTo>
                      <a:pt x="892" y="686"/>
                      <a:pt x="894" y="688"/>
                      <a:pt x="895" y="685"/>
                    </a:cubicBezTo>
                    <a:cubicBezTo>
                      <a:pt x="899" y="690"/>
                      <a:pt x="897" y="692"/>
                      <a:pt x="897" y="698"/>
                    </a:cubicBezTo>
                    <a:cubicBezTo>
                      <a:pt x="897" y="700"/>
                      <a:pt x="898" y="700"/>
                      <a:pt x="898" y="702"/>
                    </a:cubicBezTo>
                    <a:cubicBezTo>
                      <a:pt x="900" y="703"/>
                      <a:pt x="901" y="705"/>
                      <a:pt x="902" y="706"/>
                    </a:cubicBezTo>
                    <a:cubicBezTo>
                      <a:pt x="905" y="708"/>
                      <a:pt x="908" y="709"/>
                      <a:pt x="911" y="711"/>
                    </a:cubicBezTo>
                    <a:cubicBezTo>
                      <a:pt x="913" y="712"/>
                      <a:pt x="911" y="713"/>
                      <a:pt x="913" y="713"/>
                    </a:cubicBezTo>
                    <a:cubicBezTo>
                      <a:pt x="915" y="713"/>
                      <a:pt x="915" y="716"/>
                      <a:pt x="915" y="717"/>
                    </a:cubicBezTo>
                    <a:cubicBezTo>
                      <a:pt x="916" y="719"/>
                      <a:pt x="918" y="717"/>
                      <a:pt x="919" y="719"/>
                    </a:cubicBezTo>
                    <a:cubicBezTo>
                      <a:pt x="920" y="721"/>
                      <a:pt x="918" y="724"/>
                      <a:pt x="919" y="726"/>
                    </a:cubicBezTo>
                    <a:cubicBezTo>
                      <a:pt x="919" y="727"/>
                      <a:pt x="923" y="730"/>
                      <a:pt x="923" y="730"/>
                    </a:cubicBezTo>
                    <a:cubicBezTo>
                      <a:pt x="923" y="732"/>
                      <a:pt x="918" y="737"/>
                      <a:pt x="925" y="738"/>
                    </a:cubicBezTo>
                    <a:cubicBezTo>
                      <a:pt x="924" y="742"/>
                      <a:pt x="920" y="740"/>
                      <a:pt x="917" y="739"/>
                    </a:cubicBezTo>
                    <a:cubicBezTo>
                      <a:pt x="914" y="739"/>
                      <a:pt x="909" y="739"/>
                      <a:pt x="908" y="738"/>
                    </a:cubicBezTo>
                    <a:cubicBezTo>
                      <a:pt x="908" y="738"/>
                      <a:pt x="910" y="729"/>
                      <a:pt x="906" y="736"/>
                    </a:cubicBezTo>
                    <a:cubicBezTo>
                      <a:pt x="902" y="734"/>
                      <a:pt x="904" y="729"/>
                      <a:pt x="902" y="726"/>
                    </a:cubicBezTo>
                    <a:cubicBezTo>
                      <a:pt x="901" y="724"/>
                      <a:pt x="899" y="724"/>
                      <a:pt x="897" y="721"/>
                    </a:cubicBezTo>
                    <a:cubicBezTo>
                      <a:pt x="896" y="718"/>
                      <a:pt x="896" y="716"/>
                      <a:pt x="898" y="715"/>
                    </a:cubicBezTo>
                    <a:cubicBezTo>
                      <a:pt x="895" y="712"/>
                      <a:pt x="894" y="706"/>
                      <a:pt x="889" y="704"/>
                    </a:cubicBezTo>
                    <a:cubicBezTo>
                      <a:pt x="889" y="701"/>
                      <a:pt x="886" y="699"/>
                      <a:pt x="889" y="698"/>
                    </a:cubicBezTo>
                    <a:cubicBezTo>
                      <a:pt x="888" y="697"/>
                      <a:pt x="886" y="696"/>
                      <a:pt x="883" y="695"/>
                    </a:cubicBezTo>
                    <a:cubicBezTo>
                      <a:pt x="884" y="692"/>
                      <a:pt x="884" y="689"/>
                      <a:pt x="882" y="689"/>
                    </a:cubicBezTo>
                    <a:cubicBezTo>
                      <a:pt x="881" y="685"/>
                      <a:pt x="883" y="684"/>
                      <a:pt x="883" y="682"/>
                    </a:cubicBezTo>
                    <a:cubicBezTo>
                      <a:pt x="884" y="678"/>
                      <a:pt x="882" y="677"/>
                      <a:pt x="880" y="676"/>
                    </a:cubicBezTo>
                    <a:cubicBezTo>
                      <a:pt x="881" y="674"/>
                      <a:pt x="882" y="673"/>
                      <a:pt x="880" y="672"/>
                    </a:cubicBezTo>
                    <a:cubicBezTo>
                      <a:pt x="880" y="670"/>
                      <a:pt x="884" y="671"/>
                      <a:pt x="887" y="670"/>
                    </a:cubicBezTo>
                    <a:cubicBezTo>
                      <a:pt x="887" y="669"/>
                      <a:pt x="885" y="669"/>
                      <a:pt x="885" y="667"/>
                    </a:cubicBezTo>
                    <a:cubicBezTo>
                      <a:pt x="885" y="665"/>
                      <a:pt x="888" y="665"/>
                      <a:pt x="887" y="663"/>
                    </a:cubicBezTo>
                    <a:cubicBezTo>
                      <a:pt x="887" y="660"/>
                      <a:pt x="884" y="657"/>
                      <a:pt x="883" y="654"/>
                    </a:cubicBezTo>
                    <a:cubicBezTo>
                      <a:pt x="883" y="650"/>
                      <a:pt x="884" y="645"/>
                      <a:pt x="883" y="643"/>
                    </a:cubicBezTo>
                    <a:cubicBezTo>
                      <a:pt x="883" y="640"/>
                      <a:pt x="881" y="640"/>
                      <a:pt x="880" y="639"/>
                    </a:cubicBezTo>
                    <a:cubicBezTo>
                      <a:pt x="879" y="637"/>
                      <a:pt x="879" y="635"/>
                      <a:pt x="878" y="633"/>
                    </a:cubicBezTo>
                    <a:cubicBezTo>
                      <a:pt x="876" y="630"/>
                      <a:pt x="875" y="627"/>
                      <a:pt x="872" y="626"/>
                    </a:cubicBezTo>
                    <a:cubicBezTo>
                      <a:pt x="866" y="625"/>
                      <a:pt x="870" y="632"/>
                      <a:pt x="865" y="628"/>
                    </a:cubicBezTo>
                    <a:cubicBezTo>
                      <a:pt x="862" y="628"/>
                      <a:pt x="864" y="632"/>
                      <a:pt x="863" y="633"/>
                    </a:cubicBezTo>
                    <a:cubicBezTo>
                      <a:pt x="863" y="634"/>
                      <a:pt x="860" y="633"/>
                      <a:pt x="859" y="633"/>
                    </a:cubicBezTo>
                    <a:cubicBezTo>
                      <a:pt x="858" y="634"/>
                      <a:pt x="860" y="637"/>
                      <a:pt x="857" y="637"/>
                    </a:cubicBezTo>
                    <a:cubicBezTo>
                      <a:pt x="853" y="637"/>
                      <a:pt x="853" y="636"/>
                      <a:pt x="852" y="631"/>
                    </a:cubicBezTo>
                    <a:cubicBezTo>
                      <a:pt x="851" y="630"/>
                      <a:pt x="850" y="630"/>
                      <a:pt x="850" y="629"/>
                    </a:cubicBezTo>
                    <a:cubicBezTo>
                      <a:pt x="849" y="627"/>
                      <a:pt x="852" y="627"/>
                      <a:pt x="852" y="626"/>
                    </a:cubicBezTo>
                    <a:cubicBezTo>
                      <a:pt x="852" y="624"/>
                      <a:pt x="847" y="616"/>
                      <a:pt x="852" y="613"/>
                    </a:cubicBezTo>
                    <a:cubicBezTo>
                      <a:pt x="850" y="611"/>
                      <a:pt x="847" y="609"/>
                      <a:pt x="848" y="602"/>
                    </a:cubicBezTo>
                    <a:cubicBezTo>
                      <a:pt x="846" y="602"/>
                      <a:pt x="847" y="604"/>
                      <a:pt x="846" y="605"/>
                    </a:cubicBezTo>
                    <a:cubicBezTo>
                      <a:pt x="843" y="604"/>
                      <a:pt x="845" y="597"/>
                      <a:pt x="843" y="594"/>
                    </a:cubicBezTo>
                    <a:cubicBezTo>
                      <a:pt x="841" y="593"/>
                      <a:pt x="840" y="592"/>
                      <a:pt x="839" y="590"/>
                    </a:cubicBezTo>
                    <a:cubicBezTo>
                      <a:pt x="838" y="589"/>
                      <a:pt x="838" y="587"/>
                      <a:pt x="837" y="587"/>
                    </a:cubicBezTo>
                    <a:cubicBezTo>
                      <a:pt x="835" y="585"/>
                      <a:pt x="830" y="585"/>
                      <a:pt x="831" y="581"/>
                    </a:cubicBezTo>
                    <a:cubicBezTo>
                      <a:pt x="825" y="580"/>
                      <a:pt x="823" y="584"/>
                      <a:pt x="820" y="587"/>
                    </a:cubicBezTo>
                    <a:cubicBezTo>
                      <a:pt x="817" y="586"/>
                      <a:pt x="815" y="586"/>
                      <a:pt x="815" y="588"/>
                    </a:cubicBezTo>
                    <a:cubicBezTo>
                      <a:pt x="810" y="588"/>
                      <a:pt x="806" y="588"/>
                      <a:pt x="801" y="588"/>
                    </a:cubicBezTo>
                    <a:cubicBezTo>
                      <a:pt x="801" y="590"/>
                      <a:pt x="799" y="591"/>
                      <a:pt x="798" y="592"/>
                    </a:cubicBezTo>
                    <a:cubicBezTo>
                      <a:pt x="797" y="593"/>
                      <a:pt x="796" y="592"/>
                      <a:pt x="796" y="594"/>
                    </a:cubicBezTo>
                    <a:cubicBezTo>
                      <a:pt x="796" y="596"/>
                      <a:pt x="791" y="597"/>
                      <a:pt x="790" y="598"/>
                    </a:cubicBezTo>
                    <a:cubicBezTo>
                      <a:pt x="786" y="601"/>
                      <a:pt x="783" y="608"/>
                      <a:pt x="775" y="611"/>
                    </a:cubicBezTo>
                    <a:cubicBezTo>
                      <a:pt x="771" y="614"/>
                      <a:pt x="770" y="621"/>
                      <a:pt x="762" y="622"/>
                    </a:cubicBezTo>
                    <a:cubicBezTo>
                      <a:pt x="765" y="625"/>
                      <a:pt x="764" y="626"/>
                      <a:pt x="759" y="626"/>
                    </a:cubicBezTo>
                    <a:cubicBezTo>
                      <a:pt x="758" y="628"/>
                      <a:pt x="759" y="629"/>
                      <a:pt x="760" y="629"/>
                    </a:cubicBezTo>
                    <a:cubicBezTo>
                      <a:pt x="760" y="632"/>
                      <a:pt x="757" y="631"/>
                      <a:pt x="757" y="629"/>
                    </a:cubicBezTo>
                    <a:cubicBezTo>
                      <a:pt x="754" y="630"/>
                      <a:pt x="755" y="635"/>
                      <a:pt x="749" y="633"/>
                    </a:cubicBezTo>
                    <a:cubicBezTo>
                      <a:pt x="747" y="634"/>
                      <a:pt x="747" y="637"/>
                      <a:pt x="744" y="637"/>
                    </a:cubicBezTo>
                    <a:cubicBezTo>
                      <a:pt x="743" y="640"/>
                      <a:pt x="746" y="640"/>
                      <a:pt x="746" y="643"/>
                    </a:cubicBezTo>
                    <a:cubicBezTo>
                      <a:pt x="745" y="646"/>
                      <a:pt x="743" y="651"/>
                      <a:pt x="742" y="657"/>
                    </a:cubicBezTo>
                    <a:cubicBezTo>
                      <a:pt x="741" y="666"/>
                      <a:pt x="742" y="675"/>
                      <a:pt x="740" y="678"/>
                    </a:cubicBezTo>
                    <a:cubicBezTo>
                      <a:pt x="740" y="678"/>
                      <a:pt x="737" y="677"/>
                      <a:pt x="736" y="678"/>
                    </a:cubicBezTo>
                    <a:cubicBezTo>
                      <a:pt x="735" y="679"/>
                      <a:pt x="736" y="684"/>
                      <a:pt x="734" y="685"/>
                    </a:cubicBezTo>
                    <a:cubicBezTo>
                      <a:pt x="733" y="687"/>
                      <a:pt x="729" y="686"/>
                      <a:pt x="727" y="687"/>
                    </a:cubicBezTo>
                    <a:cubicBezTo>
                      <a:pt x="725" y="688"/>
                      <a:pt x="725" y="692"/>
                      <a:pt x="721" y="691"/>
                    </a:cubicBezTo>
                    <a:cubicBezTo>
                      <a:pt x="717" y="686"/>
                      <a:pt x="714" y="680"/>
                      <a:pt x="712" y="672"/>
                    </a:cubicBezTo>
                    <a:cubicBezTo>
                      <a:pt x="711" y="672"/>
                      <a:pt x="710" y="670"/>
                      <a:pt x="708" y="669"/>
                    </a:cubicBezTo>
                    <a:cubicBezTo>
                      <a:pt x="707" y="668"/>
                      <a:pt x="707" y="666"/>
                      <a:pt x="705" y="667"/>
                    </a:cubicBezTo>
                    <a:cubicBezTo>
                      <a:pt x="703" y="661"/>
                      <a:pt x="707" y="661"/>
                      <a:pt x="708" y="657"/>
                    </a:cubicBezTo>
                    <a:cubicBezTo>
                      <a:pt x="708" y="654"/>
                      <a:pt x="705" y="652"/>
                      <a:pt x="703" y="650"/>
                    </a:cubicBezTo>
                    <a:cubicBezTo>
                      <a:pt x="701" y="648"/>
                      <a:pt x="700" y="645"/>
                      <a:pt x="697" y="644"/>
                    </a:cubicBezTo>
                    <a:cubicBezTo>
                      <a:pt x="696" y="641"/>
                      <a:pt x="696" y="637"/>
                      <a:pt x="693" y="633"/>
                    </a:cubicBezTo>
                    <a:cubicBezTo>
                      <a:pt x="691" y="630"/>
                      <a:pt x="691" y="617"/>
                      <a:pt x="690" y="607"/>
                    </a:cubicBezTo>
                    <a:cubicBezTo>
                      <a:pt x="689" y="603"/>
                      <a:pt x="688" y="592"/>
                      <a:pt x="686" y="585"/>
                    </a:cubicBezTo>
                    <a:cubicBezTo>
                      <a:pt x="683" y="585"/>
                      <a:pt x="678" y="593"/>
                      <a:pt x="682" y="594"/>
                    </a:cubicBezTo>
                    <a:cubicBezTo>
                      <a:pt x="682" y="599"/>
                      <a:pt x="675" y="595"/>
                      <a:pt x="673" y="594"/>
                    </a:cubicBezTo>
                    <a:cubicBezTo>
                      <a:pt x="672" y="594"/>
                      <a:pt x="670" y="595"/>
                      <a:pt x="669" y="594"/>
                    </a:cubicBezTo>
                    <a:cubicBezTo>
                      <a:pt x="667" y="593"/>
                      <a:pt x="665" y="586"/>
                      <a:pt x="662" y="588"/>
                    </a:cubicBezTo>
                    <a:cubicBezTo>
                      <a:pt x="661" y="585"/>
                      <a:pt x="663" y="585"/>
                      <a:pt x="665" y="585"/>
                    </a:cubicBezTo>
                    <a:cubicBezTo>
                      <a:pt x="663" y="582"/>
                      <a:pt x="665" y="582"/>
                      <a:pt x="665" y="579"/>
                    </a:cubicBezTo>
                    <a:cubicBezTo>
                      <a:pt x="665" y="576"/>
                      <a:pt x="660" y="578"/>
                      <a:pt x="658" y="577"/>
                    </a:cubicBezTo>
                    <a:cubicBezTo>
                      <a:pt x="656" y="576"/>
                      <a:pt x="653" y="568"/>
                      <a:pt x="652" y="574"/>
                    </a:cubicBezTo>
                    <a:cubicBezTo>
                      <a:pt x="648" y="573"/>
                      <a:pt x="650" y="567"/>
                      <a:pt x="651" y="568"/>
                    </a:cubicBezTo>
                    <a:cubicBezTo>
                      <a:pt x="650" y="566"/>
                      <a:pt x="646" y="566"/>
                      <a:pt x="647" y="562"/>
                    </a:cubicBezTo>
                    <a:cubicBezTo>
                      <a:pt x="645" y="561"/>
                      <a:pt x="640" y="564"/>
                      <a:pt x="639" y="562"/>
                    </a:cubicBezTo>
                    <a:cubicBezTo>
                      <a:pt x="639" y="562"/>
                      <a:pt x="640" y="559"/>
                      <a:pt x="639" y="559"/>
                    </a:cubicBezTo>
                    <a:cubicBezTo>
                      <a:pt x="635" y="558"/>
                      <a:pt x="632" y="560"/>
                      <a:pt x="628" y="560"/>
                    </a:cubicBezTo>
                    <a:cubicBezTo>
                      <a:pt x="627" y="561"/>
                      <a:pt x="625" y="561"/>
                      <a:pt x="624" y="560"/>
                    </a:cubicBezTo>
                    <a:cubicBezTo>
                      <a:pt x="622" y="560"/>
                      <a:pt x="621" y="558"/>
                      <a:pt x="621" y="562"/>
                    </a:cubicBezTo>
                    <a:cubicBezTo>
                      <a:pt x="603" y="564"/>
                      <a:pt x="589" y="561"/>
                      <a:pt x="576" y="559"/>
                    </a:cubicBezTo>
                    <a:cubicBezTo>
                      <a:pt x="577" y="555"/>
                      <a:pt x="572" y="556"/>
                      <a:pt x="572" y="553"/>
                    </a:cubicBezTo>
                    <a:cubicBezTo>
                      <a:pt x="572" y="549"/>
                      <a:pt x="564" y="557"/>
                      <a:pt x="569" y="549"/>
                    </a:cubicBezTo>
                    <a:cubicBezTo>
                      <a:pt x="566" y="550"/>
                      <a:pt x="565" y="549"/>
                      <a:pt x="565" y="547"/>
                    </a:cubicBezTo>
                    <a:cubicBezTo>
                      <a:pt x="560" y="550"/>
                      <a:pt x="546" y="547"/>
                      <a:pt x="541" y="546"/>
                    </a:cubicBezTo>
                    <a:cubicBezTo>
                      <a:pt x="538" y="545"/>
                      <a:pt x="537" y="545"/>
                      <a:pt x="537" y="542"/>
                    </a:cubicBezTo>
                    <a:cubicBezTo>
                      <a:pt x="529" y="544"/>
                      <a:pt x="531" y="536"/>
                      <a:pt x="524" y="536"/>
                    </a:cubicBezTo>
                    <a:cubicBezTo>
                      <a:pt x="523" y="529"/>
                      <a:pt x="519" y="525"/>
                      <a:pt x="516" y="520"/>
                    </a:cubicBezTo>
                    <a:cubicBezTo>
                      <a:pt x="500" y="517"/>
                      <a:pt x="500" y="525"/>
                      <a:pt x="501" y="534"/>
                    </a:cubicBezTo>
                    <a:cubicBezTo>
                      <a:pt x="502" y="537"/>
                      <a:pt x="509" y="541"/>
                      <a:pt x="514" y="547"/>
                    </a:cubicBezTo>
                    <a:cubicBezTo>
                      <a:pt x="516" y="549"/>
                      <a:pt x="519" y="559"/>
                      <a:pt x="524" y="557"/>
                    </a:cubicBezTo>
                    <a:cubicBezTo>
                      <a:pt x="523" y="561"/>
                      <a:pt x="527" y="561"/>
                      <a:pt x="526" y="566"/>
                    </a:cubicBezTo>
                    <a:cubicBezTo>
                      <a:pt x="530" y="566"/>
                      <a:pt x="540" y="564"/>
                      <a:pt x="535" y="570"/>
                    </a:cubicBezTo>
                    <a:cubicBezTo>
                      <a:pt x="539" y="572"/>
                      <a:pt x="537" y="567"/>
                      <a:pt x="539" y="566"/>
                    </a:cubicBezTo>
                    <a:cubicBezTo>
                      <a:pt x="540" y="565"/>
                      <a:pt x="546" y="566"/>
                      <a:pt x="546" y="562"/>
                    </a:cubicBezTo>
                    <a:cubicBezTo>
                      <a:pt x="546" y="561"/>
                      <a:pt x="548" y="561"/>
                      <a:pt x="550" y="560"/>
                    </a:cubicBezTo>
                    <a:cubicBezTo>
                      <a:pt x="552" y="560"/>
                      <a:pt x="550" y="558"/>
                      <a:pt x="552" y="557"/>
                    </a:cubicBezTo>
                    <a:cubicBezTo>
                      <a:pt x="555" y="555"/>
                      <a:pt x="559" y="556"/>
                      <a:pt x="563" y="555"/>
                    </a:cubicBezTo>
                    <a:cubicBezTo>
                      <a:pt x="563" y="556"/>
                      <a:pt x="560" y="558"/>
                      <a:pt x="561" y="559"/>
                    </a:cubicBezTo>
                    <a:cubicBezTo>
                      <a:pt x="561" y="559"/>
                      <a:pt x="565" y="558"/>
                      <a:pt x="565" y="559"/>
                    </a:cubicBezTo>
                    <a:cubicBezTo>
                      <a:pt x="566" y="562"/>
                      <a:pt x="564" y="564"/>
                      <a:pt x="567" y="566"/>
                    </a:cubicBezTo>
                    <a:cubicBezTo>
                      <a:pt x="566" y="570"/>
                      <a:pt x="572" y="568"/>
                      <a:pt x="572" y="572"/>
                    </a:cubicBezTo>
                    <a:cubicBezTo>
                      <a:pt x="572" y="576"/>
                      <a:pt x="576" y="573"/>
                      <a:pt x="580" y="575"/>
                    </a:cubicBezTo>
                    <a:cubicBezTo>
                      <a:pt x="582" y="577"/>
                      <a:pt x="581" y="580"/>
                      <a:pt x="585" y="581"/>
                    </a:cubicBezTo>
                    <a:cubicBezTo>
                      <a:pt x="581" y="585"/>
                      <a:pt x="586" y="590"/>
                      <a:pt x="585" y="596"/>
                    </a:cubicBezTo>
                    <a:cubicBezTo>
                      <a:pt x="583" y="596"/>
                      <a:pt x="582" y="596"/>
                      <a:pt x="580" y="596"/>
                    </a:cubicBezTo>
                    <a:cubicBezTo>
                      <a:pt x="582" y="603"/>
                      <a:pt x="575" y="601"/>
                      <a:pt x="576" y="607"/>
                    </a:cubicBezTo>
                    <a:cubicBezTo>
                      <a:pt x="572" y="606"/>
                      <a:pt x="570" y="607"/>
                      <a:pt x="570" y="611"/>
                    </a:cubicBezTo>
                    <a:cubicBezTo>
                      <a:pt x="568" y="611"/>
                      <a:pt x="565" y="611"/>
                      <a:pt x="563" y="611"/>
                    </a:cubicBezTo>
                    <a:cubicBezTo>
                      <a:pt x="560" y="611"/>
                      <a:pt x="562" y="615"/>
                      <a:pt x="561" y="616"/>
                    </a:cubicBezTo>
                    <a:cubicBezTo>
                      <a:pt x="561" y="617"/>
                      <a:pt x="558" y="616"/>
                      <a:pt x="557" y="616"/>
                    </a:cubicBezTo>
                    <a:cubicBezTo>
                      <a:pt x="556" y="617"/>
                      <a:pt x="558" y="621"/>
                      <a:pt x="557" y="622"/>
                    </a:cubicBezTo>
                    <a:cubicBezTo>
                      <a:pt x="554" y="621"/>
                      <a:pt x="552" y="622"/>
                      <a:pt x="552" y="626"/>
                    </a:cubicBezTo>
                    <a:cubicBezTo>
                      <a:pt x="548" y="625"/>
                      <a:pt x="546" y="626"/>
                      <a:pt x="544" y="628"/>
                    </a:cubicBezTo>
                    <a:cubicBezTo>
                      <a:pt x="541" y="629"/>
                      <a:pt x="542" y="630"/>
                      <a:pt x="537" y="631"/>
                    </a:cubicBezTo>
                    <a:cubicBezTo>
                      <a:pt x="535" y="632"/>
                      <a:pt x="526" y="635"/>
                      <a:pt x="526" y="641"/>
                    </a:cubicBezTo>
                    <a:cubicBezTo>
                      <a:pt x="523" y="641"/>
                      <a:pt x="520" y="640"/>
                      <a:pt x="518" y="641"/>
                    </a:cubicBezTo>
                    <a:cubicBezTo>
                      <a:pt x="516" y="642"/>
                      <a:pt x="518" y="643"/>
                      <a:pt x="516" y="644"/>
                    </a:cubicBezTo>
                    <a:cubicBezTo>
                      <a:pt x="516" y="645"/>
                      <a:pt x="513" y="644"/>
                      <a:pt x="513" y="644"/>
                    </a:cubicBezTo>
                    <a:cubicBezTo>
                      <a:pt x="513" y="644"/>
                      <a:pt x="507" y="646"/>
                      <a:pt x="507" y="646"/>
                    </a:cubicBezTo>
                    <a:cubicBezTo>
                      <a:pt x="504" y="650"/>
                      <a:pt x="489" y="648"/>
                      <a:pt x="483" y="652"/>
                    </a:cubicBezTo>
                    <a:cubicBezTo>
                      <a:pt x="477" y="653"/>
                      <a:pt x="488" y="655"/>
                      <a:pt x="479" y="656"/>
                    </a:cubicBezTo>
                    <a:cubicBezTo>
                      <a:pt x="478" y="656"/>
                      <a:pt x="476" y="655"/>
                      <a:pt x="475" y="656"/>
                    </a:cubicBezTo>
                    <a:cubicBezTo>
                      <a:pt x="473" y="656"/>
                      <a:pt x="474" y="660"/>
                      <a:pt x="470" y="659"/>
                    </a:cubicBezTo>
                    <a:cubicBezTo>
                      <a:pt x="472" y="655"/>
                      <a:pt x="467" y="657"/>
                      <a:pt x="466" y="656"/>
                    </a:cubicBezTo>
                    <a:cubicBezTo>
                      <a:pt x="465" y="653"/>
                      <a:pt x="467" y="648"/>
                      <a:pt x="462" y="648"/>
                    </a:cubicBezTo>
                    <a:cubicBezTo>
                      <a:pt x="462" y="645"/>
                      <a:pt x="464" y="645"/>
                      <a:pt x="464" y="643"/>
                    </a:cubicBezTo>
                    <a:cubicBezTo>
                      <a:pt x="463" y="641"/>
                      <a:pt x="459" y="640"/>
                      <a:pt x="462" y="639"/>
                    </a:cubicBezTo>
                    <a:cubicBezTo>
                      <a:pt x="461" y="637"/>
                      <a:pt x="460" y="635"/>
                      <a:pt x="457" y="635"/>
                    </a:cubicBezTo>
                    <a:cubicBezTo>
                      <a:pt x="459" y="630"/>
                      <a:pt x="453" y="624"/>
                      <a:pt x="457" y="624"/>
                    </a:cubicBezTo>
                    <a:cubicBezTo>
                      <a:pt x="457" y="622"/>
                      <a:pt x="454" y="623"/>
                      <a:pt x="453" y="622"/>
                    </a:cubicBezTo>
                    <a:cubicBezTo>
                      <a:pt x="451" y="620"/>
                      <a:pt x="452" y="615"/>
                      <a:pt x="453" y="616"/>
                    </a:cubicBezTo>
                    <a:cubicBezTo>
                      <a:pt x="452" y="615"/>
                      <a:pt x="450" y="613"/>
                      <a:pt x="449" y="613"/>
                    </a:cubicBezTo>
                    <a:cubicBezTo>
                      <a:pt x="448" y="612"/>
                      <a:pt x="449" y="611"/>
                      <a:pt x="447" y="611"/>
                    </a:cubicBezTo>
                    <a:cubicBezTo>
                      <a:pt x="446" y="611"/>
                      <a:pt x="444" y="604"/>
                      <a:pt x="444" y="605"/>
                    </a:cubicBezTo>
                    <a:cubicBezTo>
                      <a:pt x="444" y="605"/>
                      <a:pt x="444" y="607"/>
                      <a:pt x="444" y="607"/>
                    </a:cubicBezTo>
                    <a:cubicBezTo>
                      <a:pt x="440" y="604"/>
                      <a:pt x="440" y="598"/>
                      <a:pt x="434" y="598"/>
                    </a:cubicBezTo>
                    <a:cubicBezTo>
                      <a:pt x="439" y="590"/>
                      <a:pt x="430" y="588"/>
                      <a:pt x="431" y="579"/>
                    </a:cubicBezTo>
                    <a:cubicBezTo>
                      <a:pt x="430" y="577"/>
                      <a:pt x="427" y="578"/>
                      <a:pt x="427" y="575"/>
                    </a:cubicBezTo>
                    <a:cubicBezTo>
                      <a:pt x="427" y="572"/>
                      <a:pt x="421" y="574"/>
                      <a:pt x="419" y="572"/>
                    </a:cubicBezTo>
                    <a:cubicBezTo>
                      <a:pt x="421" y="569"/>
                      <a:pt x="421" y="568"/>
                      <a:pt x="418" y="568"/>
                    </a:cubicBezTo>
                    <a:cubicBezTo>
                      <a:pt x="420" y="565"/>
                      <a:pt x="419" y="564"/>
                      <a:pt x="418" y="559"/>
                    </a:cubicBezTo>
                    <a:cubicBezTo>
                      <a:pt x="417" y="558"/>
                      <a:pt x="418" y="555"/>
                      <a:pt x="418" y="555"/>
                    </a:cubicBezTo>
                    <a:cubicBezTo>
                      <a:pt x="417" y="555"/>
                      <a:pt x="416" y="555"/>
                      <a:pt x="416" y="555"/>
                    </a:cubicBezTo>
                    <a:cubicBezTo>
                      <a:pt x="415" y="550"/>
                      <a:pt x="419" y="552"/>
                      <a:pt x="416" y="547"/>
                    </a:cubicBezTo>
                    <a:cubicBezTo>
                      <a:pt x="414" y="545"/>
                      <a:pt x="412" y="557"/>
                      <a:pt x="412" y="547"/>
                    </a:cubicBezTo>
                    <a:cubicBezTo>
                      <a:pt x="412" y="540"/>
                      <a:pt x="406" y="536"/>
                      <a:pt x="399" y="529"/>
                    </a:cubicBezTo>
                    <a:cubicBezTo>
                      <a:pt x="394" y="533"/>
                      <a:pt x="398" y="534"/>
                      <a:pt x="395" y="540"/>
                    </a:cubicBezTo>
                    <a:cubicBezTo>
                      <a:pt x="391" y="541"/>
                      <a:pt x="392" y="536"/>
                      <a:pt x="390" y="536"/>
                    </a:cubicBezTo>
                    <a:cubicBezTo>
                      <a:pt x="387" y="537"/>
                      <a:pt x="386" y="535"/>
                      <a:pt x="384" y="534"/>
                    </a:cubicBezTo>
                    <a:cubicBezTo>
                      <a:pt x="388" y="537"/>
                      <a:pt x="385" y="546"/>
                      <a:pt x="391" y="546"/>
                    </a:cubicBezTo>
                    <a:cubicBezTo>
                      <a:pt x="389" y="550"/>
                      <a:pt x="392" y="555"/>
                      <a:pt x="395" y="562"/>
                    </a:cubicBezTo>
                    <a:cubicBezTo>
                      <a:pt x="395" y="563"/>
                      <a:pt x="395" y="566"/>
                      <a:pt x="395" y="566"/>
                    </a:cubicBezTo>
                    <a:cubicBezTo>
                      <a:pt x="398" y="568"/>
                      <a:pt x="399" y="577"/>
                      <a:pt x="401" y="581"/>
                    </a:cubicBezTo>
                    <a:cubicBezTo>
                      <a:pt x="403" y="581"/>
                      <a:pt x="406" y="581"/>
                      <a:pt x="408" y="581"/>
                    </a:cubicBezTo>
                    <a:cubicBezTo>
                      <a:pt x="407" y="583"/>
                      <a:pt x="406" y="584"/>
                      <a:pt x="406" y="587"/>
                    </a:cubicBezTo>
                    <a:cubicBezTo>
                      <a:pt x="409" y="587"/>
                      <a:pt x="410" y="586"/>
                      <a:pt x="410" y="585"/>
                    </a:cubicBezTo>
                    <a:cubicBezTo>
                      <a:pt x="414" y="587"/>
                      <a:pt x="412" y="590"/>
                      <a:pt x="414" y="594"/>
                    </a:cubicBezTo>
                    <a:cubicBezTo>
                      <a:pt x="414" y="595"/>
                      <a:pt x="417" y="595"/>
                      <a:pt x="418" y="596"/>
                    </a:cubicBezTo>
                    <a:cubicBezTo>
                      <a:pt x="418" y="597"/>
                      <a:pt x="417" y="599"/>
                      <a:pt x="418" y="600"/>
                    </a:cubicBezTo>
                    <a:cubicBezTo>
                      <a:pt x="418" y="600"/>
                      <a:pt x="419" y="599"/>
                      <a:pt x="419" y="600"/>
                    </a:cubicBezTo>
                    <a:cubicBezTo>
                      <a:pt x="420" y="602"/>
                      <a:pt x="418" y="603"/>
                      <a:pt x="418" y="603"/>
                    </a:cubicBezTo>
                    <a:cubicBezTo>
                      <a:pt x="418" y="606"/>
                      <a:pt x="420" y="606"/>
                      <a:pt x="421" y="607"/>
                    </a:cubicBezTo>
                    <a:cubicBezTo>
                      <a:pt x="422" y="608"/>
                      <a:pt x="421" y="610"/>
                      <a:pt x="421" y="611"/>
                    </a:cubicBezTo>
                    <a:cubicBezTo>
                      <a:pt x="421" y="611"/>
                      <a:pt x="423" y="611"/>
                      <a:pt x="423" y="611"/>
                    </a:cubicBezTo>
                    <a:cubicBezTo>
                      <a:pt x="424" y="613"/>
                      <a:pt x="421" y="620"/>
                      <a:pt x="427" y="618"/>
                    </a:cubicBezTo>
                    <a:cubicBezTo>
                      <a:pt x="427" y="622"/>
                      <a:pt x="427" y="626"/>
                      <a:pt x="429" y="629"/>
                    </a:cubicBezTo>
                    <a:cubicBezTo>
                      <a:pt x="429" y="631"/>
                      <a:pt x="432" y="632"/>
                      <a:pt x="432" y="633"/>
                    </a:cubicBezTo>
                    <a:cubicBezTo>
                      <a:pt x="433" y="635"/>
                      <a:pt x="433" y="637"/>
                      <a:pt x="434" y="639"/>
                    </a:cubicBezTo>
                    <a:cubicBezTo>
                      <a:pt x="435" y="640"/>
                      <a:pt x="437" y="640"/>
                      <a:pt x="438" y="641"/>
                    </a:cubicBezTo>
                    <a:cubicBezTo>
                      <a:pt x="440" y="643"/>
                      <a:pt x="436" y="646"/>
                      <a:pt x="440" y="646"/>
                    </a:cubicBezTo>
                    <a:cubicBezTo>
                      <a:pt x="442" y="646"/>
                      <a:pt x="441" y="651"/>
                      <a:pt x="442" y="654"/>
                    </a:cubicBezTo>
                    <a:cubicBezTo>
                      <a:pt x="449" y="650"/>
                      <a:pt x="447" y="657"/>
                      <a:pt x="457" y="656"/>
                    </a:cubicBezTo>
                    <a:cubicBezTo>
                      <a:pt x="457" y="661"/>
                      <a:pt x="460" y="663"/>
                      <a:pt x="460" y="669"/>
                    </a:cubicBezTo>
                    <a:cubicBezTo>
                      <a:pt x="467" y="679"/>
                      <a:pt x="489" y="676"/>
                      <a:pt x="503" y="674"/>
                    </a:cubicBezTo>
                    <a:cubicBezTo>
                      <a:pt x="505" y="675"/>
                      <a:pt x="504" y="671"/>
                      <a:pt x="505" y="670"/>
                    </a:cubicBezTo>
                    <a:cubicBezTo>
                      <a:pt x="509" y="669"/>
                      <a:pt x="518" y="674"/>
                      <a:pt x="516" y="667"/>
                    </a:cubicBezTo>
                    <a:cubicBezTo>
                      <a:pt x="520" y="669"/>
                      <a:pt x="520" y="672"/>
                      <a:pt x="518" y="676"/>
                    </a:cubicBezTo>
                    <a:cubicBezTo>
                      <a:pt x="518" y="677"/>
                      <a:pt x="516" y="678"/>
                      <a:pt x="516" y="678"/>
                    </a:cubicBezTo>
                    <a:cubicBezTo>
                      <a:pt x="516" y="681"/>
                      <a:pt x="517" y="686"/>
                      <a:pt x="516" y="689"/>
                    </a:cubicBezTo>
                    <a:cubicBezTo>
                      <a:pt x="516" y="690"/>
                      <a:pt x="513" y="689"/>
                      <a:pt x="513" y="689"/>
                    </a:cubicBezTo>
                    <a:cubicBezTo>
                      <a:pt x="512" y="690"/>
                      <a:pt x="512" y="698"/>
                      <a:pt x="511" y="700"/>
                    </a:cubicBezTo>
                    <a:cubicBezTo>
                      <a:pt x="510" y="702"/>
                      <a:pt x="505" y="703"/>
                      <a:pt x="507" y="710"/>
                    </a:cubicBezTo>
                    <a:cubicBezTo>
                      <a:pt x="501" y="710"/>
                      <a:pt x="505" y="720"/>
                      <a:pt x="498" y="719"/>
                    </a:cubicBezTo>
                    <a:cubicBezTo>
                      <a:pt x="499" y="725"/>
                      <a:pt x="496" y="726"/>
                      <a:pt x="496" y="730"/>
                    </a:cubicBezTo>
                    <a:cubicBezTo>
                      <a:pt x="489" y="728"/>
                      <a:pt x="493" y="737"/>
                      <a:pt x="486" y="736"/>
                    </a:cubicBezTo>
                    <a:cubicBezTo>
                      <a:pt x="486" y="738"/>
                      <a:pt x="486" y="739"/>
                      <a:pt x="486" y="741"/>
                    </a:cubicBezTo>
                    <a:cubicBezTo>
                      <a:pt x="485" y="741"/>
                      <a:pt x="484" y="739"/>
                      <a:pt x="483" y="739"/>
                    </a:cubicBezTo>
                    <a:cubicBezTo>
                      <a:pt x="479" y="741"/>
                      <a:pt x="481" y="743"/>
                      <a:pt x="475" y="745"/>
                    </a:cubicBezTo>
                    <a:cubicBezTo>
                      <a:pt x="475" y="745"/>
                      <a:pt x="470" y="747"/>
                      <a:pt x="470" y="747"/>
                    </a:cubicBezTo>
                    <a:cubicBezTo>
                      <a:pt x="470" y="747"/>
                      <a:pt x="470" y="749"/>
                      <a:pt x="470" y="749"/>
                    </a:cubicBezTo>
                    <a:cubicBezTo>
                      <a:pt x="468" y="750"/>
                      <a:pt x="464" y="751"/>
                      <a:pt x="462" y="753"/>
                    </a:cubicBezTo>
                    <a:cubicBezTo>
                      <a:pt x="458" y="756"/>
                      <a:pt x="456" y="762"/>
                      <a:pt x="449" y="762"/>
                    </a:cubicBezTo>
                    <a:cubicBezTo>
                      <a:pt x="451" y="767"/>
                      <a:pt x="447" y="767"/>
                      <a:pt x="447" y="771"/>
                    </a:cubicBezTo>
                    <a:cubicBezTo>
                      <a:pt x="445" y="773"/>
                      <a:pt x="444" y="772"/>
                      <a:pt x="442" y="771"/>
                    </a:cubicBezTo>
                    <a:cubicBezTo>
                      <a:pt x="443" y="773"/>
                      <a:pt x="439" y="776"/>
                      <a:pt x="440" y="777"/>
                    </a:cubicBezTo>
                    <a:cubicBezTo>
                      <a:pt x="444" y="780"/>
                      <a:pt x="438" y="777"/>
                      <a:pt x="438" y="782"/>
                    </a:cubicBezTo>
                    <a:cubicBezTo>
                      <a:pt x="438" y="785"/>
                      <a:pt x="435" y="783"/>
                      <a:pt x="434" y="784"/>
                    </a:cubicBezTo>
                    <a:cubicBezTo>
                      <a:pt x="434" y="785"/>
                      <a:pt x="435" y="787"/>
                      <a:pt x="434" y="788"/>
                    </a:cubicBezTo>
                    <a:cubicBezTo>
                      <a:pt x="434" y="790"/>
                      <a:pt x="430" y="804"/>
                      <a:pt x="431" y="808"/>
                    </a:cubicBezTo>
                    <a:cubicBezTo>
                      <a:pt x="431" y="812"/>
                      <a:pt x="432" y="813"/>
                      <a:pt x="434" y="816"/>
                    </a:cubicBezTo>
                    <a:cubicBezTo>
                      <a:pt x="435" y="821"/>
                      <a:pt x="434" y="823"/>
                      <a:pt x="434" y="827"/>
                    </a:cubicBezTo>
                    <a:cubicBezTo>
                      <a:pt x="434" y="828"/>
                      <a:pt x="436" y="834"/>
                      <a:pt x="438" y="835"/>
                    </a:cubicBezTo>
                    <a:cubicBezTo>
                      <a:pt x="443" y="835"/>
                      <a:pt x="432" y="843"/>
                      <a:pt x="442" y="844"/>
                    </a:cubicBezTo>
                    <a:cubicBezTo>
                      <a:pt x="441" y="853"/>
                      <a:pt x="443" y="860"/>
                      <a:pt x="442" y="868"/>
                    </a:cubicBezTo>
                    <a:cubicBezTo>
                      <a:pt x="441" y="873"/>
                      <a:pt x="436" y="878"/>
                      <a:pt x="436" y="883"/>
                    </a:cubicBezTo>
                    <a:cubicBezTo>
                      <a:pt x="432" y="883"/>
                      <a:pt x="425" y="888"/>
                      <a:pt x="423" y="890"/>
                    </a:cubicBezTo>
                    <a:cubicBezTo>
                      <a:pt x="422" y="892"/>
                      <a:pt x="421" y="892"/>
                      <a:pt x="423" y="892"/>
                    </a:cubicBezTo>
                    <a:cubicBezTo>
                      <a:pt x="423" y="895"/>
                      <a:pt x="419" y="893"/>
                      <a:pt x="418" y="894"/>
                    </a:cubicBezTo>
                    <a:cubicBezTo>
                      <a:pt x="416" y="895"/>
                      <a:pt x="417" y="897"/>
                      <a:pt x="416" y="898"/>
                    </a:cubicBezTo>
                    <a:cubicBezTo>
                      <a:pt x="415" y="898"/>
                      <a:pt x="412" y="894"/>
                      <a:pt x="412" y="898"/>
                    </a:cubicBezTo>
                    <a:cubicBezTo>
                      <a:pt x="412" y="900"/>
                      <a:pt x="410" y="899"/>
                      <a:pt x="408" y="900"/>
                    </a:cubicBezTo>
                    <a:cubicBezTo>
                      <a:pt x="406" y="901"/>
                      <a:pt x="406" y="906"/>
                      <a:pt x="401" y="905"/>
                    </a:cubicBezTo>
                    <a:cubicBezTo>
                      <a:pt x="398" y="916"/>
                      <a:pt x="401" y="931"/>
                      <a:pt x="403" y="946"/>
                    </a:cubicBezTo>
                    <a:cubicBezTo>
                      <a:pt x="401" y="948"/>
                      <a:pt x="399" y="949"/>
                      <a:pt x="399" y="946"/>
                    </a:cubicBezTo>
                    <a:cubicBezTo>
                      <a:pt x="397" y="946"/>
                      <a:pt x="398" y="949"/>
                      <a:pt x="397" y="950"/>
                    </a:cubicBezTo>
                    <a:cubicBezTo>
                      <a:pt x="395" y="952"/>
                      <a:pt x="392" y="949"/>
                      <a:pt x="391" y="952"/>
                    </a:cubicBezTo>
                    <a:cubicBezTo>
                      <a:pt x="391" y="955"/>
                      <a:pt x="384" y="954"/>
                      <a:pt x="382" y="958"/>
                    </a:cubicBezTo>
                    <a:cubicBezTo>
                      <a:pt x="382" y="961"/>
                      <a:pt x="382" y="965"/>
                      <a:pt x="382" y="969"/>
                    </a:cubicBezTo>
                    <a:cubicBezTo>
                      <a:pt x="378" y="969"/>
                      <a:pt x="380" y="975"/>
                      <a:pt x="378" y="978"/>
                    </a:cubicBezTo>
                    <a:cubicBezTo>
                      <a:pt x="378" y="979"/>
                      <a:pt x="375" y="979"/>
                      <a:pt x="375" y="980"/>
                    </a:cubicBezTo>
                    <a:cubicBezTo>
                      <a:pt x="373" y="983"/>
                      <a:pt x="374" y="987"/>
                      <a:pt x="371" y="989"/>
                    </a:cubicBezTo>
                    <a:cubicBezTo>
                      <a:pt x="370" y="990"/>
                      <a:pt x="371" y="992"/>
                      <a:pt x="371" y="993"/>
                    </a:cubicBezTo>
                    <a:cubicBezTo>
                      <a:pt x="371" y="993"/>
                      <a:pt x="368" y="992"/>
                      <a:pt x="367" y="993"/>
                    </a:cubicBezTo>
                    <a:cubicBezTo>
                      <a:pt x="367" y="994"/>
                      <a:pt x="368" y="997"/>
                      <a:pt x="367" y="999"/>
                    </a:cubicBezTo>
                    <a:cubicBezTo>
                      <a:pt x="367" y="999"/>
                      <a:pt x="364" y="998"/>
                      <a:pt x="363" y="999"/>
                    </a:cubicBezTo>
                    <a:cubicBezTo>
                      <a:pt x="363" y="999"/>
                      <a:pt x="364" y="1002"/>
                      <a:pt x="363" y="1002"/>
                    </a:cubicBezTo>
                    <a:cubicBezTo>
                      <a:pt x="363" y="1003"/>
                      <a:pt x="360" y="1002"/>
                      <a:pt x="360" y="1002"/>
                    </a:cubicBezTo>
                    <a:cubicBezTo>
                      <a:pt x="359" y="1003"/>
                      <a:pt x="356" y="1006"/>
                      <a:pt x="356" y="1008"/>
                    </a:cubicBezTo>
                    <a:cubicBezTo>
                      <a:pt x="356" y="1010"/>
                      <a:pt x="354" y="1009"/>
                      <a:pt x="352" y="1010"/>
                    </a:cubicBezTo>
                    <a:cubicBezTo>
                      <a:pt x="352" y="1010"/>
                      <a:pt x="353" y="1013"/>
                      <a:pt x="352" y="1013"/>
                    </a:cubicBezTo>
                    <a:cubicBezTo>
                      <a:pt x="352" y="1014"/>
                      <a:pt x="349" y="1013"/>
                      <a:pt x="349" y="1013"/>
                    </a:cubicBezTo>
                    <a:cubicBezTo>
                      <a:pt x="347" y="1015"/>
                      <a:pt x="346" y="1016"/>
                      <a:pt x="345" y="1017"/>
                    </a:cubicBezTo>
                    <a:cubicBezTo>
                      <a:pt x="344" y="1018"/>
                      <a:pt x="342" y="1021"/>
                      <a:pt x="341" y="1021"/>
                    </a:cubicBezTo>
                    <a:cubicBezTo>
                      <a:pt x="340" y="1021"/>
                      <a:pt x="335" y="1023"/>
                      <a:pt x="335" y="1023"/>
                    </a:cubicBezTo>
                    <a:cubicBezTo>
                      <a:pt x="334" y="1022"/>
                      <a:pt x="334" y="1021"/>
                      <a:pt x="332" y="1023"/>
                    </a:cubicBezTo>
                    <a:cubicBezTo>
                      <a:pt x="329" y="1024"/>
                      <a:pt x="328" y="1024"/>
                      <a:pt x="324" y="1025"/>
                    </a:cubicBezTo>
                    <a:cubicBezTo>
                      <a:pt x="323" y="1025"/>
                      <a:pt x="311" y="1030"/>
                      <a:pt x="308" y="1025"/>
                    </a:cubicBezTo>
                    <a:cubicBezTo>
                      <a:pt x="305" y="1025"/>
                      <a:pt x="307" y="1027"/>
                      <a:pt x="308" y="1027"/>
                    </a:cubicBezTo>
                    <a:cubicBezTo>
                      <a:pt x="305" y="1031"/>
                      <a:pt x="301" y="1027"/>
                      <a:pt x="295" y="1028"/>
                    </a:cubicBezTo>
                    <a:cubicBezTo>
                      <a:pt x="292" y="1029"/>
                      <a:pt x="293" y="1030"/>
                      <a:pt x="295" y="1030"/>
                    </a:cubicBezTo>
                    <a:cubicBezTo>
                      <a:pt x="293" y="1033"/>
                      <a:pt x="283" y="1028"/>
                      <a:pt x="278" y="1028"/>
                    </a:cubicBezTo>
                    <a:cubicBezTo>
                      <a:pt x="278" y="1019"/>
                      <a:pt x="269" y="1014"/>
                      <a:pt x="274" y="1006"/>
                    </a:cubicBezTo>
                    <a:cubicBezTo>
                      <a:pt x="270" y="1003"/>
                      <a:pt x="265" y="1000"/>
                      <a:pt x="267" y="991"/>
                    </a:cubicBezTo>
                    <a:cubicBezTo>
                      <a:pt x="261" y="997"/>
                      <a:pt x="265" y="994"/>
                      <a:pt x="263" y="985"/>
                    </a:cubicBezTo>
                    <a:cubicBezTo>
                      <a:pt x="260" y="977"/>
                      <a:pt x="249" y="970"/>
                      <a:pt x="252" y="959"/>
                    </a:cubicBezTo>
                    <a:cubicBezTo>
                      <a:pt x="250" y="958"/>
                      <a:pt x="250" y="963"/>
                      <a:pt x="250" y="963"/>
                    </a:cubicBezTo>
                    <a:cubicBezTo>
                      <a:pt x="246" y="962"/>
                      <a:pt x="250" y="950"/>
                      <a:pt x="246" y="956"/>
                    </a:cubicBezTo>
                    <a:cubicBezTo>
                      <a:pt x="243" y="953"/>
                      <a:pt x="244" y="947"/>
                      <a:pt x="244" y="943"/>
                    </a:cubicBezTo>
                    <a:cubicBezTo>
                      <a:pt x="245" y="937"/>
                      <a:pt x="245" y="933"/>
                      <a:pt x="242" y="926"/>
                    </a:cubicBezTo>
                    <a:cubicBezTo>
                      <a:pt x="243" y="923"/>
                      <a:pt x="238" y="925"/>
                      <a:pt x="237" y="924"/>
                    </a:cubicBezTo>
                    <a:cubicBezTo>
                      <a:pt x="236" y="923"/>
                      <a:pt x="242" y="919"/>
                      <a:pt x="233" y="920"/>
                    </a:cubicBezTo>
                    <a:cubicBezTo>
                      <a:pt x="232" y="919"/>
                      <a:pt x="234" y="915"/>
                      <a:pt x="233" y="915"/>
                    </a:cubicBezTo>
                    <a:cubicBezTo>
                      <a:pt x="233" y="914"/>
                      <a:pt x="229" y="915"/>
                      <a:pt x="229" y="915"/>
                    </a:cubicBezTo>
                    <a:cubicBezTo>
                      <a:pt x="229" y="914"/>
                      <a:pt x="235" y="907"/>
                      <a:pt x="227" y="909"/>
                    </a:cubicBezTo>
                    <a:cubicBezTo>
                      <a:pt x="227" y="906"/>
                      <a:pt x="230" y="905"/>
                      <a:pt x="229" y="902"/>
                    </a:cubicBezTo>
                    <a:cubicBezTo>
                      <a:pt x="226" y="900"/>
                      <a:pt x="230" y="892"/>
                      <a:pt x="224" y="894"/>
                    </a:cubicBezTo>
                    <a:cubicBezTo>
                      <a:pt x="223" y="877"/>
                      <a:pt x="225" y="871"/>
                      <a:pt x="233" y="861"/>
                    </a:cubicBezTo>
                    <a:cubicBezTo>
                      <a:pt x="232" y="858"/>
                      <a:pt x="235" y="851"/>
                      <a:pt x="231" y="851"/>
                    </a:cubicBezTo>
                    <a:cubicBezTo>
                      <a:pt x="231" y="848"/>
                      <a:pt x="235" y="851"/>
                      <a:pt x="237" y="849"/>
                    </a:cubicBezTo>
                    <a:cubicBezTo>
                      <a:pt x="238" y="849"/>
                      <a:pt x="236" y="845"/>
                      <a:pt x="239" y="846"/>
                    </a:cubicBezTo>
                    <a:cubicBezTo>
                      <a:pt x="238" y="843"/>
                      <a:pt x="237" y="826"/>
                      <a:pt x="235" y="831"/>
                    </a:cubicBezTo>
                    <a:cubicBezTo>
                      <a:pt x="231" y="827"/>
                      <a:pt x="233" y="823"/>
                      <a:pt x="233" y="820"/>
                    </a:cubicBezTo>
                    <a:cubicBezTo>
                      <a:pt x="233" y="815"/>
                      <a:pt x="234" y="810"/>
                      <a:pt x="233" y="807"/>
                    </a:cubicBezTo>
                    <a:cubicBezTo>
                      <a:pt x="233" y="804"/>
                      <a:pt x="230" y="806"/>
                      <a:pt x="229" y="805"/>
                    </a:cubicBezTo>
                    <a:cubicBezTo>
                      <a:pt x="229" y="804"/>
                      <a:pt x="231" y="802"/>
                      <a:pt x="231" y="801"/>
                    </a:cubicBezTo>
                    <a:cubicBezTo>
                      <a:pt x="231" y="801"/>
                      <a:pt x="229" y="800"/>
                      <a:pt x="229" y="799"/>
                    </a:cubicBezTo>
                    <a:cubicBezTo>
                      <a:pt x="229" y="795"/>
                      <a:pt x="227" y="796"/>
                      <a:pt x="226" y="794"/>
                    </a:cubicBezTo>
                    <a:cubicBezTo>
                      <a:pt x="225" y="793"/>
                      <a:pt x="226" y="790"/>
                      <a:pt x="226" y="790"/>
                    </a:cubicBezTo>
                    <a:cubicBezTo>
                      <a:pt x="225" y="790"/>
                      <a:pt x="220" y="789"/>
                      <a:pt x="222" y="788"/>
                    </a:cubicBezTo>
                    <a:cubicBezTo>
                      <a:pt x="222" y="788"/>
                      <a:pt x="224" y="788"/>
                      <a:pt x="224" y="788"/>
                    </a:cubicBezTo>
                    <a:cubicBezTo>
                      <a:pt x="221" y="784"/>
                      <a:pt x="219" y="783"/>
                      <a:pt x="214" y="780"/>
                    </a:cubicBezTo>
                    <a:cubicBezTo>
                      <a:pt x="213" y="780"/>
                      <a:pt x="215" y="779"/>
                      <a:pt x="213" y="779"/>
                    </a:cubicBezTo>
                    <a:cubicBezTo>
                      <a:pt x="211" y="779"/>
                      <a:pt x="211" y="773"/>
                      <a:pt x="207" y="775"/>
                    </a:cubicBezTo>
                    <a:cubicBezTo>
                      <a:pt x="203" y="759"/>
                      <a:pt x="207" y="746"/>
                      <a:pt x="207" y="728"/>
                    </a:cubicBezTo>
                    <a:cubicBezTo>
                      <a:pt x="206" y="725"/>
                      <a:pt x="202" y="731"/>
                      <a:pt x="203" y="723"/>
                    </a:cubicBezTo>
                    <a:cubicBezTo>
                      <a:pt x="192" y="724"/>
                      <a:pt x="184" y="722"/>
                      <a:pt x="177" y="719"/>
                    </a:cubicBezTo>
                    <a:cubicBezTo>
                      <a:pt x="179" y="709"/>
                      <a:pt x="172" y="720"/>
                      <a:pt x="173" y="710"/>
                    </a:cubicBezTo>
                    <a:cubicBezTo>
                      <a:pt x="165" y="707"/>
                      <a:pt x="163" y="705"/>
                      <a:pt x="153" y="708"/>
                    </a:cubicBezTo>
                    <a:cubicBezTo>
                      <a:pt x="151" y="708"/>
                      <a:pt x="148" y="709"/>
                      <a:pt x="145" y="710"/>
                    </a:cubicBezTo>
                    <a:cubicBezTo>
                      <a:pt x="144" y="710"/>
                      <a:pt x="140" y="713"/>
                      <a:pt x="134" y="711"/>
                    </a:cubicBezTo>
                    <a:cubicBezTo>
                      <a:pt x="137" y="716"/>
                      <a:pt x="140" y="713"/>
                      <a:pt x="130" y="715"/>
                    </a:cubicBezTo>
                    <a:cubicBezTo>
                      <a:pt x="124" y="717"/>
                      <a:pt x="120" y="718"/>
                      <a:pt x="110" y="719"/>
                    </a:cubicBezTo>
                    <a:cubicBezTo>
                      <a:pt x="107" y="719"/>
                      <a:pt x="107" y="717"/>
                      <a:pt x="104" y="717"/>
                    </a:cubicBezTo>
                    <a:cubicBezTo>
                      <a:pt x="92" y="716"/>
                      <a:pt x="79" y="723"/>
                      <a:pt x="69" y="721"/>
                    </a:cubicBezTo>
                    <a:cubicBezTo>
                      <a:pt x="70" y="714"/>
                      <a:pt x="62" y="716"/>
                      <a:pt x="60" y="715"/>
                    </a:cubicBezTo>
                    <a:cubicBezTo>
                      <a:pt x="59" y="715"/>
                      <a:pt x="60" y="712"/>
                      <a:pt x="60" y="711"/>
                    </a:cubicBezTo>
                    <a:cubicBezTo>
                      <a:pt x="59" y="711"/>
                      <a:pt x="55" y="712"/>
                      <a:pt x="54" y="711"/>
                    </a:cubicBezTo>
                    <a:cubicBezTo>
                      <a:pt x="53" y="711"/>
                      <a:pt x="55" y="708"/>
                      <a:pt x="54" y="708"/>
                    </a:cubicBezTo>
                    <a:cubicBezTo>
                      <a:pt x="53" y="707"/>
                      <a:pt x="50" y="709"/>
                      <a:pt x="50" y="706"/>
                    </a:cubicBezTo>
                    <a:cubicBezTo>
                      <a:pt x="50" y="705"/>
                      <a:pt x="47" y="702"/>
                      <a:pt x="47" y="702"/>
                    </a:cubicBezTo>
                    <a:cubicBezTo>
                      <a:pt x="46" y="701"/>
                      <a:pt x="47" y="700"/>
                      <a:pt x="45" y="700"/>
                    </a:cubicBezTo>
                    <a:cubicBezTo>
                      <a:pt x="43" y="700"/>
                      <a:pt x="43" y="698"/>
                      <a:pt x="43" y="697"/>
                    </a:cubicBezTo>
                    <a:cubicBezTo>
                      <a:pt x="42" y="694"/>
                      <a:pt x="40" y="696"/>
                      <a:pt x="39" y="695"/>
                    </a:cubicBezTo>
                    <a:cubicBezTo>
                      <a:pt x="39" y="694"/>
                      <a:pt x="40" y="692"/>
                      <a:pt x="39" y="691"/>
                    </a:cubicBezTo>
                    <a:cubicBezTo>
                      <a:pt x="38" y="689"/>
                      <a:pt x="35" y="692"/>
                      <a:pt x="35" y="689"/>
                    </a:cubicBezTo>
                    <a:cubicBezTo>
                      <a:pt x="35" y="688"/>
                      <a:pt x="37" y="686"/>
                      <a:pt x="37" y="687"/>
                    </a:cubicBezTo>
                    <a:cubicBezTo>
                      <a:pt x="35" y="681"/>
                      <a:pt x="26" y="682"/>
                      <a:pt x="28" y="676"/>
                    </a:cubicBezTo>
                    <a:cubicBezTo>
                      <a:pt x="19" y="679"/>
                      <a:pt x="23" y="668"/>
                      <a:pt x="15" y="670"/>
                    </a:cubicBezTo>
                    <a:cubicBezTo>
                      <a:pt x="16" y="669"/>
                      <a:pt x="17" y="667"/>
                      <a:pt x="17" y="665"/>
                    </a:cubicBezTo>
                    <a:cubicBezTo>
                      <a:pt x="16" y="662"/>
                      <a:pt x="12" y="663"/>
                      <a:pt x="9" y="663"/>
                    </a:cubicBezTo>
                    <a:cubicBezTo>
                      <a:pt x="11" y="660"/>
                      <a:pt x="6" y="659"/>
                      <a:pt x="6" y="657"/>
                    </a:cubicBezTo>
                    <a:cubicBezTo>
                      <a:pt x="5" y="654"/>
                      <a:pt x="9" y="655"/>
                      <a:pt x="6" y="650"/>
                    </a:cubicBezTo>
                    <a:cubicBezTo>
                      <a:pt x="5" y="649"/>
                      <a:pt x="4" y="650"/>
                      <a:pt x="4" y="648"/>
                    </a:cubicBezTo>
                    <a:cubicBezTo>
                      <a:pt x="4" y="647"/>
                      <a:pt x="2" y="642"/>
                      <a:pt x="0" y="641"/>
                    </a:cubicBezTo>
                    <a:cubicBezTo>
                      <a:pt x="0" y="638"/>
                      <a:pt x="4" y="640"/>
                      <a:pt x="6" y="639"/>
                    </a:cubicBezTo>
                    <a:cubicBezTo>
                      <a:pt x="7" y="638"/>
                      <a:pt x="6" y="632"/>
                      <a:pt x="9" y="633"/>
                    </a:cubicBezTo>
                    <a:cubicBezTo>
                      <a:pt x="9" y="623"/>
                      <a:pt x="9" y="612"/>
                      <a:pt x="9" y="602"/>
                    </a:cubicBezTo>
                    <a:cubicBezTo>
                      <a:pt x="10" y="599"/>
                      <a:pt x="6" y="601"/>
                      <a:pt x="6" y="600"/>
                    </a:cubicBezTo>
                    <a:cubicBezTo>
                      <a:pt x="5" y="599"/>
                      <a:pt x="7" y="597"/>
                      <a:pt x="7" y="596"/>
                    </a:cubicBezTo>
                    <a:cubicBezTo>
                      <a:pt x="8" y="593"/>
                      <a:pt x="5" y="592"/>
                      <a:pt x="6" y="588"/>
                    </a:cubicBezTo>
                    <a:cubicBezTo>
                      <a:pt x="13" y="596"/>
                      <a:pt x="6" y="575"/>
                      <a:pt x="13" y="583"/>
                    </a:cubicBezTo>
                    <a:cubicBezTo>
                      <a:pt x="14" y="581"/>
                      <a:pt x="13" y="574"/>
                      <a:pt x="15" y="572"/>
                    </a:cubicBezTo>
                    <a:cubicBezTo>
                      <a:pt x="15" y="571"/>
                      <a:pt x="19" y="572"/>
                      <a:pt x="19" y="572"/>
                    </a:cubicBezTo>
                    <a:cubicBezTo>
                      <a:pt x="19" y="571"/>
                      <a:pt x="16" y="568"/>
                      <a:pt x="17" y="566"/>
                    </a:cubicBezTo>
                    <a:cubicBezTo>
                      <a:pt x="24" y="564"/>
                      <a:pt x="23" y="554"/>
                      <a:pt x="30" y="553"/>
                    </a:cubicBezTo>
                    <a:cubicBezTo>
                      <a:pt x="30" y="547"/>
                      <a:pt x="36" y="547"/>
                      <a:pt x="35" y="540"/>
                    </a:cubicBezTo>
                    <a:cubicBezTo>
                      <a:pt x="39" y="541"/>
                      <a:pt x="39" y="539"/>
                      <a:pt x="39" y="536"/>
                    </a:cubicBezTo>
                    <a:cubicBezTo>
                      <a:pt x="50" y="535"/>
                      <a:pt x="59" y="531"/>
                      <a:pt x="58" y="518"/>
                    </a:cubicBezTo>
                    <a:cubicBezTo>
                      <a:pt x="65" y="519"/>
                      <a:pt x="59" y="507"/>
                      <a:pt x="65" y="508"/>
                    </a:cubicBezTo>
                    <a:cubicBezTo>
                      <a:pt x="65" y="505"/>
                      <a:pt x="65" y="501"/>
                      <a:pt x="65" y="497"/>
                    </a:cubicBezTo>
                    <a:cubicBezTo>
                      <a:pt x="69" y="497"/>
                      <a:pt x="69" y="495"/>
                      <a:pt x="73" y="495"/>
                    </a:cubicBezTo>
                    <a:cubicBezTo>
                      <a:pt x="76" y="492"/>
                      <a:pt x="79" y="489"/>
                      <a:pt x="82" y="484"/>
                    </a:cubicBezTo>
                    <a:cubicBezTo>
                      <a:pt x="83" y="483"/>
                      <a:pt x="84" y="484"/>
                      <a:pt x="84" y="482"/>
                    </a:cubicBezTo>
                    <a:cubicBezTo>
                      <a:pt x="84" y="480"/>
                      <a:pt x="89" y="480"/>
                      <a:pt x="88" y="477"/>
                    </a:cubicBezTo>
                    <a:cubicBezTo>
                      <a:pt x="96" y="478"/>
                      <a:pt x="97" y="472"/>
                      <a:pt x="104" y="473"/>
                    </a:cubicBezTo>
                    <a:cubicBezTo>
                      <a:pt x="102" y="480"/>
                      <a:pt x="113" y="473"/>
                      <a:pt x="110" y="480"/>
                    </a:cubicBezTo>
                    <a:cubicBezTo>
                      <a:pt x="114" y="476"/>
                      <a:pt x="129" y="483"/>
                      <a:pt x="129" y="475"/>
                    </a:cubicBezTo>
                    <a:cubicBezTo>
                      <a:pt x="137" y="474"/>
                      <a:pt x="145" y="471"/>
                      <a:pt x="149" y="465"/>
                    </a:cubicBezTo>
                    <a:cubicBezTo>
                      <a:pt x="152" y="466"/>
                      <a:pt x="154" y="466"/>
                      <a:pt x="155" y="464"/>
                    </a:cubicBezTo>
                    <a:cubicBezTo>
                      <a:pt x="158" y="464"/>
                      <a:pt x="159" y="465"/>
                      <a:pt x="162" y="465"/>
                    </a:cubicBezTo>
                    <a:cubicBezTo>
                      <a:pt x="166" y="466"/>
                      <a:pt x="170" y="463"/>
                      <a:pt x="173" y="464"/>
                    </a:cubicBezTo>
                    <a:cubicBezTo>
                      <a:pt x="173" y="464"/>
                      <a:pt x="174" y="465"/>
                      <a:pt x="175" y="465"/>
                    </a:cubicBezTo>
                    <a:cubicBezTo>
                      <a:pt x="179" y="466"/>
                      <a:pt x="187" y="469"/>
                      <a:pt x="196" y="467"/>
                    </a:cubicBezTo>
                    <a:cubicBezTo>
                      <a:pt x="199" y="467"/>
                      <a:pt x="205" y="461"/>
                      <a:pt x="209" y="465"/>
                    </a:cubicBezTo>
                    <a:cubicBezTo>
                      <a:pt x="212" y="468"/>
                      <a:pt x="211" y="466"/>
                      <a:pt x="216" y="465"/>
                    </a:cubicBezTo>
                    <a:cubicBezTo>
                      <a:pt x="216" y="467"/>
                      <a:pt x="219" y="467"/>
                      <a:pt x="218" y="469"/>
                    </a:cubicBezTo>
                    <a:cubicBezTo>
                      <a:pt x="218" y="470"/>
                      <a:pt x="214" y="471"/>
                      <a:pt x="214" y="471"/>
                    </a:cubicBezTo>
                    <a:cubicBezTo>
                      <a:pt x="214" y="473"/>
                      <a:pt x="216" y="472"/>
                      <a:pt x="216" y="473"/>
                    </a:cubicBezTo>
                    <a:cubicBezTo>
                      <a:pt x="217" y="475"/>
                      <a:pt x="214" y="475"/>
                      <a:pt x="214" y="475"/>
                    </a:cubicBezTo>
                    <a:cubicBezTo>
                      <a:pt x="215" y="476"/>
                      <a:pt x="216" y="477"/>
                      <a:pt x="216" y="479"/>
                    </a:cubicBezTo>
                    <a:cubicBezTo>
                      <a:pt x="216" y="484"/>
                      <a:pt x="213" y="486"/>
                      <a:pt x="218" y="493"/>
                    </a:cubicBezTo>
                    <a:cubicBezTo>
                      <a:pt x="219" y="498"/>
                      <a:pt x="221" y="491"/>
                      <a:pt x="224" y="495"/>
                    </a:cubicBezTo>
                    <a:cubicBezTo>
                      <a:pt x="223" y="498"/>
                      <a:pt x="227" y="496"/>
                      <a:pt x="227" y="497"/>
                    </a:cubicBezTo>
                    <a:cubicBezTo>
                      <a:pt x="228" y="498"/>
                      <a:pt x="227" y="500"/>
                      <a:pt x="227" y="501"/>
                    </a:cubicBezTo>
                    <a:cubicBezTo>
                      <a:pt x="229" y="502"/>
                      <a:pt x="233" y="500"/>
                      <a:pt x="233" y="503"/>
                    </a:cubicBezTo>
                    <a:cubicBezTo>
                      <a:pt x="239" y="500"/>
                      <a:pt x="243" y="508"/>
                      <a:pt x="246" y="503"/>
                    </a:cubicBezTo>
                    <a:cubicBezTo>
                      <a:pt x="248" y="502"/>
                      <a:pt x="247" y="506"/>
                      <a:pt x="248" y="506"/>
                    </a:cubicBezTo>
                    <a:cubicBezTo>
                      <a:pt x="251" y="508"/>
                      <a:pt x="253" y="506"/>
                      <a:pt x="257" y="508"/>
                    </a:cubicBezTo>
                    <a:cubicBezTo>
                      <a:pt x="258" y="509"/>
                      <a:pt x="258" y="511"/>
                      <a:pt x="259" y="512"/>
                    </a:cubicBezTo>
                    <a:cubicBezTo>
                      <a:pt x="260" y="513"/>
                      <a:pt x="262" y="511"/>
                      <a:pt x="263" y="512"/>
                    </a:cubicBezTo>
                    <a:cubicBezTo>
                      <a:pt x="265" y="514"/>
                      <a:pt x="266" y="513"/>
                      <a:pt x="268" y="514"/>
                    </a:cubicBezTo>
                    <a:cubicBezTo>
                      <a:pt x="269" y="514"/>
                      <a:pt x="270" y="518"/>
                      <a:pt x="270" y="518"/>
                    </a:cubicBezTo>
                    <a:cubicBezTo>
                      <a:pt x="271" y="518"/>
                      <a:pt x="274" y="516"/>
                      <a:pt x="276" y="516"/>
                    </a:cubicBezTo>
                    <a:cubicBezTo>
                      <a:pt x="275" y="516"/>
                      <a:pt x="277" y="517"/>
                      <a:pt x="278" y="518"/>
                    </a:cubicBezTo>
                    <a:cubicBezTo>
                      <a:pt x="279" y="518"/>
                      <a:pt x="280" y="517"/>
                      <a:pt x="281" y="518"/>
                    </a:cubicBezTo>
                    <a:cubicBezTo>
                      <a:pt x="282" y="516"/>
                      <a:pt x="284" y="515"/>
                      <a:pt x="285" y="514"/>
                    </a:cubicBezTo>
                    <a:cubicBezTo>
                      <a:pt x="285" y="514"/>
                      <a:pt x="288" y="513"/>
                      <a:pt x="287" y="512"/>
                    </a:cubicBezTo>
                    <a:cubicBezTo>
                      <a:pt x="282" y="508"/>
                      <a:pt x="292" y="509"/>
                      <a:pt x="293" y="503"/>
                    </a:cubicBezTo>
                    <a:cubicBezTo>
                      <a:pt x="298" y="504"/>
                      <a:pt x="298" y="499"/>
                      <a:pt x="304" y="501"/>
                    </a:cubicBezTo>
                    <a:cubicBezTo>
                      <a:pt x="305" y="501"/>
                      <a:pt x="305" y="503"/>
                      <a:pt x="306" y="503"/>
                    </a:cubicBezTo>
                    <a:cubicBezTo>
                      <a:pt x="308" y="503"/>
                      <a:pt x="311" y="502"/>
                      <a:pt x="313" y="503"/>
                    </a:cubicBezTo>
                    <a:cubicBezTo>
                      <a:pt x="314" y="503"/>
                      <a:pt x="317" y="506"/>
                      <a:pt x="317" y="506"/>
                    </a:cubicBezTo>
                    <a:cubicBezTo>
                      <a:pt x="318" y="507"/>
                      <a:pt x="320" y="504"/>
                      <a:pt x="322" y="505"/>
                    </a:cubicBezTo>
                    <a:cubicBezTo>
                      <a:pt x="323" y="505"/>
                      <a:pt x="322" y="508"/>
                      <a:pt x="322" y="508"/>
                    </a:cubicBezTo>
                    <a:cubicBezTo>
                      <a:pt x="324" y="509"/>
                      <a:pt x="327" y="505"/>
                      <a:pt x="330" y="506"/>
                    </a:cubicBezTo>
                    <a:cubicBezTo>
                      <a:pt x="331" y="508"/>
                      <a:pt x="326" y="508"/>
                      <a:pt x="326" y="508"/>
                    </a:cubicBezTo>
                    <a:cubicBezTo>
                      <a:pt x="327" y="512"/>
                      <a:pt x="339" y="512"/>
                      <a:pt x="345" y="512"/>
                    </a:cubicBezTo>
                    <a:cubicBezTo>
                      <a:pt x="344" y="519"/>
                      <a:pt x="360" y="517"/>
                      <a:pt x="363" y="512"/>
                    </a:cubicBezTo>
                    <a:cubicBezTo>
                      <a:pt x="365" y="514"/>
                      <a:pt x="373" y="510"/>
                      <a:pt x="375" y="512"/>
                    </a:cubicBezTo>
                    <a:cubicBezTo>
                      <a:pt x="377" y="514"/>
                      <a:pt x="375" y="512"/>
                      <a:pt x="378" y="512"/>
                    </a:cubicBezTo>
                    <a:cubicBezTo>
                      <a:pt x="382" y="512"/>
                      <a:pt x="384" y="514"/>
                      <a:pt x="388" y="514"/>
                    </a:cubicBezTo>
                    <a:cubicBezTo>
                      <a:pt x="391" y="513"/>
                      <a:pt x="393" y="511"/>
                      <a:pt x="397" y="510"/>
                    </a:cubicBezTo>
                    <a:cubicBezTo>
                      <a:pt x="398" y="506"/>
                      <a:pt x="398" y="500"/>
                      <a:pt x="403" y="499"/>
                    </a:cubicBezTo>
                    <a:cubicBezTo>
                      <a:pt x="403" y="496"/>
                      <a:pt x="400" y="495"/>
                      <a:pt x="401" y="492"/>
                    </a:cubicBezTo>
                    <a:cubicBezTo>
                      <a:pt x="407" y="492"/>
                      <a:pt x="406" y="480"/>
                      <a:pt x="412" y="486"/>
                    </a:cubicBezTo>
                    <a:cubicBezTo>
                      <a:pt x="413" y="479"/>
                      <a:pt x="410" y="477"/>
                      <a:pt x="404" y="477"/>
                    </a:cubicBezTo>
                    <a:cubicBezTo>
                      <a:pt x="406" y="475"/>
                      <a:pt x="406" y="472"/>
                      <a:pt x="406" y="469"/>
                    </a:cubicBezTo>
                    <a:cubicBezTo>
                      <a:pt x="404" y="464"/>
                      <a:pt x="393" y="467"/>
                      <a:pt x="391" y="462"/>
                    </a:cubicBezTo>
                    <a:cubicBezTo>
                      <a:pt x="388" y="464"/>
                      <a:pt x="382" y="463"/>
                      <a:pt x="380" y="467"/>
                    </a:cubicBezTo>
                    <a:cubicBezTo>
                      <a:pt x="378" y="468"/>
                      <a:pt x="379" y="464"/>
                      <a:pt x="378" y="464"/>
                    </a:cubicBezTo>
                    <a:cubicBezTo>
                      <a:pt x="375" y="462"/>
                      <a:pt x="369" y="465"/>
                      <a:pt x="365" y="464"/>
                    </a:cubicBezTo>
                    <a:cubicBezTo>
                      <a:pt x="363" y="465"/>
                      <a:pt x="363" y="468"/>
                      <a:pt x="360" y="467"/>
                    </a:cubicBezTo>
                    <a:cubicBezTo>
                      <a:pt x="354" y="468"/>
                      <a:pt x="356" y="460"/>
                      <a:pt x="347" y="462"/>
                    </a:cubicBezTo>
                    <a:cubicBezTo>
                      <a:pt x="347" y="458"/>
                      <a:pt x="344" y="458"/>
                      <a:pt x="345" y="454"/>
                    </a:cubicBezTo>
                    <a:cubicBezTo>
                      <a:pt x="343" y="455"/>
                      <a:pt x="342" y="454"/>
                      <a:pt x="341" y="452"/>
                    </a:cubicBezTo>
                    <a:cubicBezTo>
                      <a:pt x="340" y="450"/>
                      <a:pt x="337" y="449"/>
                      <a:pt x="334" y="449"/>
                    </a:cubicBezTo>
                    <a:cubicBezTo>
                      <a:pt x="337" y="444"/>
                      <a:pt x="335" y="433"/>
                      <a:pt x="334" y="428"/>
                    </a:cubicBezTo>
                    <a:cubicBezTo>
                      <a:pt x="329" y="431"/>
                      <a:pt x="323" y="425"/>
                      <a:pt x="322" y="434"/>
                    </a:cubicBezTo>
                    <a:cubicBezTo>
                      <a:pt x="317" y="431"/>
                      <a:pt x="316" y="435"/>
                      <a:pt x="311" y="432"/>
                    </a:cubicBezTo>
                    <a:cubicBezTo>
                      <a:pt x="312" y="434"/>
                      <a:pt x="311" y="435"/>
                      <a:pt x="309" y="436"/>
                    </a:cubicBezTo>
                    <a:cubicBezTo>
                      <a:pt x="311" y="437"/>
                      <a:pt x="312" y="438"/>
                      <a:pt x="313" y="439"/>
                    </a:cubicBezTo>
                    <a:cubicBezTo>
                      <a:pt x="314" y="441"/>
                      <a:pt x="313" y="444"/>
                      <a:pt x="317" y="443"/>
                    </a:cubicBezTo>
                    <a:cubicBezTo>
                      <a:pt x="315" y="449"/>
                      <a:pt x="315" y="447"/>
                      <a:pt x="319" y="451"/>
                    </a:cubicBezTo>
                    <a:cubicBezTo>
                      <a:pt x="320" y="455"/>
                      <a:pt x="316" y="453"/>
                      <a:pt x="315" y="454"/>
                    </a:cubicBezTo>
                    <a:cubicBezTo>
                      <a:pt x="315" y="455"/>
                      <a:pt x="312" y="461"/>
                      <a:pt x="311" y="460"/>
                    </a:cubicBezTo>
                    <a:cubicBezTo>
                      <a:pt x="307" y="456"/>
                      <a:pt x="311" y="465"/>
                      <a:pt x="304" y="464"/>
                    </a:cubicBezTo>
                    <a:cubicBezTo>
                      <a:pt x="303" y="462"/>
                      <a:pt x="302" y="460"/>
                      <a:pt x="300" y="460"/>
                    </a:cubicBezTo>
                    <a:cubicBezTo>
                      <a:pt x="299" y="457"/>
                      <a:pt x="302" y="456"/>
                      <a:pt x="304" y="456"/>
                    </a:cubicBezTo>
                    <a:cubicBezTo>
                      <a:pt x="301" y="453"/>
                      <a:pt x="295" y="451"/>
                      <a:pt x="300" y="447"/>
                    </a:cubicBezTo>
                    <a:cubicBezTo>
                      <a:pt x="298" y="446"/>
                      <a:pt x="294" y="448"/>
                      <a:pt x="293" y="447"/>
                    </a:cubicBezTo>
                    <a:cubicBezTo>
                      <a:pt x="291" y="446"/>
                      <a:pt x="296" y="445"/>
                      <a:pt x="296" y="445"/>
                    </a:cubicBezTo>
                    <a:cubicBezTo>
                      <a:pt x="296" y="445"/>
                      <a:pt x="292" y="440"/>
                      <a:pt x="287" y="438"/>
                    </a:cubicBezTo>
                    <a:cubicBezTo>
                      <a:pt x="288" y="429"/>
                      <a:pt x="283" y="427"/>
                      <a:pt x="283" y="419"/>
                    </a:cubicBezTo>
                    <a:cubicBezTo>
                      <a:pt x="284" y="416"/>
                      <a:pt x="279" y="418"/>
                      <a:pt x="278" y="417"/>
                    </a:cubicBezTo>
                    <a:cubicBezTo>
                      <a:pt x="277" y="416"/>
                      <a:pt x="281" y="414"/>
                      <a:pt x="280" y="413"/>
                    </a:cubicBezTo>
                    <a:cubicBezTo>
                      <a:pt x="276" y="410"/>
                      <a:pt x="275" y="414"/>
                      <a:pt x="272" y="411"/>
                    </a:cubicBezTo>
                    <a:cubicBezTo>
                      <a:pt x="272" y="411"/>
                      <a:pt x="274" y="409"/>
                      <a:pt x="274" y="408"/>
                    </a:cubicBezTo>
                    <a:cubicBezTo>
                      <a:pt x="273" y="406"/>
                      <a:pt x="272" y="410"/>
                      <a:pt x="272" y="410"/>
                    </a:cubicBezTo>
                    <a:cubicBezTo>
                      <a:pt x="270" y="410"/>
                      <a:pt x="271" y="407"/>
                      <a:pt x="270" y="406"/>
                    </a:cubicBezTo>
                    <a:cubicBezTo>
                      <a:pt x="263" y="407"/>
                      <a:pt x="263" y="401"/>
                      <a:pt x="255" y="402"/>
                    </a:cubicBezTo>
                    <a:cubicBezTo>
                      <a:pt x="255" y="400"/>
                      <a:pt x="253" y="400"/>
                      <a:pt x="252" y="398"/>
                    </a:cubicBezTo>
                    <a:cubicBezTo>
                      <a:pt x="251" y="398"/>
                      <a:pt x="252" y="395"/>
                      <a:pt x="252" y="395"/>
                    </a:cubicBezTo>
                    <a:cubicBezTo>
                      <a:pt x="251" y="394"/>
                      <a:pt x="248" y="395"/>
                      <a:pt x="248" y="395"/>
                    </a:cubicBezTo>
                    <a:cubicBezTo>
                      <a:pt x="248" y="394"/>
                      <a:pt x="248" y="387"/>
                      <a:pt x="246" y="389"/>
                    </a:cubicBezTo>
                    <a:cubicBezTo>
                      <a:pt x="245" y="391"/>
                      <a:pt x="244" y="389"/>
                      <a:pt x="242" y="387"/>
                    </a:cubicBezTo>
                    <a:cubicBezTo>
                      <a:pt x="242" y="386"/>
                      <a:pt x="240" y="386"/>
                      <a:pt x="240" y="383"/>
                    </a:cubicBezTo>
                    <a:cubicBezTo>
                      <a:pt x="234" y="384"/>
                      <a:pt x="235" y="386"/>
                      <a:pt x="229" y="383"/>
                    </a:cubicBezTo>
                    <a:cubicBezTo>
                      <a:pt x="227" y="384"/>
                      <a:pt x="228" y="387"/>
                      <a:pt x="226" y="387"/>
                    </a:cubicBezTo>
                    <a:cubicBezTo>
                      <a:pt x="224" y="392"/>
                      <a:pt x="229" y="391"/>
                      <a:pt x="229" y="395"/>
                    </a:cubicBezTo>
                    <a:cubicBezTo>
                      <a:pt x="229" y="396"/>
                      <a:pt x="232" y="399"/>
                      <a:pt x="233" y="400"/>
                    </a:cubicBezTo>
                    <a:cubicBezTo>
                      <a:pt x="234" y="401"/>
                      <a:pt x="235" y="402"/>
                      <a:pt x="237" y="402"/>
                    </a:cubicBezTo>
                    <a:cubicBezTo>
                      <a:pt x="234" y="408"/>
                      <a:pt x="240" y="407"/>
                      <a:pt x="242" y="410"/>
                    </a:cubicBezTo>
                    <a:cubicBezTo>
                      <a:pt x="243" y="410"/>
                      <a:pt x="244" y="417"/>
                      <a:pt x="246" y="415"/>
                    </a:cubicBezTo>
                    <a:cubicBezTo>
                      <a:pt x="249" y="412"/>
                      <a:pt x="246" y="416"/>
                      <a:pt x="248" y="417"/>
                    </a:cubicBezTo>
                    <a:cubicBezTo>
                      <a:pt x="250" y="419"/>
                      <a:pt x="254" y="418"/>
                      <a:pt x="255" y="423"/>
                    </a:cubicBezTo>
                    <a:cubicBezTo>
                      <a:pt x="258" y="421"/>
                      <a:pt x="259" y="424"/>
                      <a:pt x="259" y="424"/>
                    </a:cubicBezTo>
                    <a:cubicBezTo>
                      <a:pt x="260" y="425"/>
                      <a:pt x="262" y="423"/>
                      <a:pt x="261" y="423"/>
                    </a:cubicBezTo>
                    <a:cubicBezTo>
                      <a:pt x="263" y="423"/>
                      <a:pt x="264" y="428"/>
                      <a:pt x="265" y="424"/>
                    </a:cubicBezTo>
                    <a:cubicBezTo>
                      <a:pt x="269" y="424"/>
                      <a:pt x="264" y="433"/>
                      <a:pt x="270" y="430"/>
                    </a:cubicBezTo>
                    <a:cubicBezTo>
                      <a:pt x="270" y="434"/>
                      <a:pt x="262" y="431"/>
                      <a:pt x="259" y="432"/>
                    </a:cubicBezTo>
                    <a:cubicBezTo>
                      <a:pt x="260" y="434"/>
                      <a:pt x="262" y="433"/>
                      <a:pt x="263" y="436"/>
                    </a:cubicBezTo>
                    <a:cubicBezTo>
                      <a:pt x="264" y="439"/>
                      <a:pt x="260" y="445"/>
                      <a:pt x="263" y="445"/>
                    </a:cubicBezTo>
                    <a:cubicBezTo>
                      <a:pt x="261" y="448"/>
                      <a:pt x="257" y="448"/>
                      <a:pt x="253" y="449"/>
                    </a:cubicBezTo>
                    <a:cubicBezTo>
                      <a:pt x="256" y="448"/>
                      <a:pt x="254" y="441"/>
                      <a:pt x="257" y="441"/>
                    </a:cubicBezTo>
                    <a:cubicBezTo>
                      <a:pt x="256" y="440"/>
                      <a:pt x="256" y="436"/>
                      <a:pt x="253" y="436"/>
                    </a:cubicBezTo>
                    <a:cubicBezTo>
                      <a:pt x="251" y="435"/>
                      <a:pt x="255" y="433"/>
                      <a:pt x="250" y="430"/>
                    </a:cubicBezTo>
                    <a:cubicBezTo>
                      <a:pt x="248" y="429"/>
                      <a:pt x="244" y="429"/>
                      <a:pt x="244" y="424"/>
                    </a:cubicBezTo>
                    <a:cubicBezTo>
                      <a:pt x="236" y="426"/>
                      <a:pt x="235" y="421"/>
                      <a:pt x="229" y="421"/>
                    </a:cubicBezTo>
                    <a:cubicBezTo>
                      <a:pt x="228" y="416"/>
                      <a:pt x="225" y="414"/>
                      <a:pt x="222" y="410"/>
                    </a:cubicBezTo>
                    <a:cubicBezTo>
                      <a:pt x="221" y="408"/>
                      <a:pt x="220" y="410"/>
                      <a:pt x="220" y="408"/>
                    </a:cubicBezTo>
                    <a:cubicBezTo>
                      <a:pt x="220" y="405"/>
                      <a:pt x="217" y="407"/>
                      <a:pt x="216" y="406"/>
                    </a:cubicBezTo>
                    <a:cubicBezTo>
                      <a:pt x="216" y="405"/>
                      <a:pt x="217" y="402"/>
                      <a:pt x="216" y="402"/>
                    </a:cubicBezTo>
                    <a:cubicBezTo>
                      <a:pt x="214" y="401"/>
                      <a:pt x="211" y="403"/>
                      <a:pt x="209" y="402"/>
                    </a:cubicBezTo>
                    <a:cubicBezTo>
                      <a:pt x="208" y="401"/>
                      <a:pt x="212" y="400"/>
                      <a:pt x="213" y="400"/>
                    </a:cubicBezTo>
                    <a:cubicBezTo>
                      <a:pt x="210" y="396"/>
                      <a:pt x="199" y="396"/>
                      <a:pt x="194" y="398"/>
                    </a:cubicBezTo>
                    <a:cubicBezTo>
                      <a:pt x="193" y="400"/>
                      <a:pt x="197" y="401"/>
                      <a:pt x="198" y="400"/>
                    </a:cubicBezTo>
                    <a:cubicBezTo>
                      <a:pt x="196" y="403"/>
                      <a:pt x="195" y="401"/>
                      <a:pt x="192" y="402"/>
                    </a:cubicBezTo>
                    <a:cubicBezTo>
                      <a:pt x="188" y="404"/>
                      <a:pt x="188" y="410"/>
                      <a:pt x="185" y="410"/>
                    </a:cubicBezTo>
                    <a:cubicBezTo>
                      <a:pt x="177" y="409"/>
                      <a:pt x="175" y="403"/>
                      <a:pt x="166" y="404"/>
                    </a:cubicBezTo>
                    <a:cubicBezTo>
                      <a:pt x="163" y="405"/>
                      <a:pt x="164" y="410"/>
                      <a:pt x="158" y="408"/>
                    </a:cubicBezTo>
                    <a:cubicBezTo>
                      <a:pt x="158" y="412"/>
                      <a:pt x="158" y="416"/>
                      <a:pt x="158" y="421"/>
                    </a:cubicBezTo>
                    <a:cubicBezTo>
                      <a:pt x="153" y="423"/>
                      <a:pt x="141" y="421"/>
                      <a:pt x="144" y="432"/>
                    </a:cubicBezTo>
                    <a:cubicBezTo>
                      <a:pt x="131" y="429"/>
                      <a:pt x="141" y="439"/>
                      <a:pt x="130" y="439"/>
                    </a:cubicBezTo>
                    <a:cubicBezTo>
                      <a:pt x="130" y="442"/>
                      <a:pt x="137" y="446"/>
                      <a:pt x="132" y="447"/>
                    </a:cubicBezTo>
                    <a:cubicBezTo>
                      <a:pt x="132" y="453"/>
                      <a:pt x="129" y="447"/>
                      <a:pt x="125" y="452"/>
                    </a:cubicBezTo>
                    <a:cubicBezTo>
                      <a:pt x="125" y="455"/>
                      <a:pt x="125" y="456"/>
                      <a:pt x="127" y="456"/>
                    </a:cubicBezTo>
                    <a:cubicBezTo>
                      <a:pt x="127" y="460"/>
                      <a:pt x="120" y="457"/>
                      <a:pt x="117" y="458"/>
                    </a:cubicBezTo>
                    <a:cubicBezTo>
                      <a:pt x="115" y="458"/>
                      <a:pt x="115" y="463"/>
                      <a:pt x="114" y="464"/>
                    </a:cubicBezTo>
                    <a:cubicBezTo>
                      <a:pt x="108" y="466"/>
                      <a:pt x="98" y="462"/>
                      <a:pt x="93" y="469"/>
                    </a:cubicBezTo>
                    <a:cubicBezTo>
                      <a:pt x="91" y="467"/>
                      <a:pt x="89" y="464"/>
                      <a:pt x="88" y="462"/>
                    </a:cubicBezTo>
                    <a:cubicBezTo>
                      <a:pt x="79" y="460"/>
                      <a:pt x="70" y="464"/>
                      <a:pt x="67" y="462"/>
                    </a:cubicBezTo>
                    <a:cubicBezTo>
                      <a:pt x="68" y="455"/>
                      <a:pt x="71" y="447"/>
                      <a:pt x="65" y="443"/>
                    </a:cubicBezTo>
                    <a:cubicBezTo>
                      <a:pt x="64" y="440"/>
                      <a:pt x="68" y="439"/>
                      <a:pt x="69" y="436"/>
                    </a:cubicBezTo>
                    <a:cubicBezTo>
                      <a:pt x="70" y="430"/>
                      <a:pt x="67" y="425"/>
                      <a:pt x="71" y="421"/>
                    </a:cubicBezTo>
                    <a:cubicBezTo>
                      <a:pt x="69" y="417"/>
                      <a:pt x="70" y="411"/>
                      <a:pt x="65" y="410"/>
                    </a:cubicBezTo>
                    <a:cubicBezTo>
                      <a:pt x="66" y="408"/>
                      <a:pt x="70" y="408"/>
                      <a:pt x="69" y="404"/>
                    </a:cubicBezTo>
                    <a:cubicBezTo>
                      <a:pt x="74" y="405"/>
                      <a:pt x="85" y="400"/>
                      <a:pt x="84" y="408"/>
                    </a:cubicBezTo>
                    <a:cubicBezTo>
                      <a:pt x="88" y="404"/>
                      <a:pt x="106" y="412"/>
                      <a:pt x="110" y="408"/>
                    </a:cubicBezTo>
                    <a:cubicBezTo>
                      <a:pt x="112" y="406"/>
                      <a:pt x="111" y="407"/>
                      <a:pt x="114" y="408"/>
                    </a:cubicBezTo>
                    <a:cubicBezTo>
                      <a:pt x="113" y="408"/>
                      <a:pt x="115" y="405"/>
                      <a:pt x="116" y="406"/>
                    </a:cubicBezTo>
                    <a:cubicBezTo>
                      <a:pt x="116" y="406"/>
                      <a:pt x="116" y="408"/>
                      <a:pt x="116" y="408"/>
                    </a:cubicBezTo>
                    <a:cubicBezTo>
                      <a:pt x="121" y="406"/>
                      <a:pt x="124" y="404"/>
                      <a:pt x="125" y="398"/>
                    </a:cubicBezTo>
                    <a:cubicBezTo>
                      <a:pt x="125" y="396"/>
                      <a:pt x="130" y="386"/>
                      <a:pt x="125" y="382"/>
                    </a:cubicBezTo>
                    <a:cubicBezTo>
                      <a:pt x="122" y="379"/>
                      <a:pt x="126" y="379"/>
                      <a:pt x="123" y="374"/>
                    </a:cubicBezTo>
                    <a:cubicBezTo>
                      <a:pt x="123" y="372"/>
                      <a:pt x="120" y="373"/>
                      <a:pt x="117" y="372"/>
                    </a:cubicBezTo>
                    <a:cubicBezTo>
                      <a:pt x="118" y="371"/>
                      <a:pt x="119" y="369"/>
                      <a:pt x="119" y="367"/>
                    </a:cubicBezTo>
                    <a:cubicBezTo>
                      <a:pt x="117" y="365"/>
                      <a:pt x="116" y="369"/>
                      <a:pt x="116" y="369"/>
                    </a:cubicBezTo>
                    <a:cubicBezTo>
                      <a:pt x="113" y="368"/>
                      <a:pt x="115" y="366"/>
                      <a:pt x="114" y="365"/>
                    </a:cubicBezTo>
                    <a:cubicBezTo>
                      <a:pt x="112" y="364"/>
                      <a:pt x="107" y="364"/>
                      <a:pt x="104" y="363"/>
                    </a:cubicBezTo>
                    <a:cubicBezTo>
                      <a:pt x="104" y="363"/>
                      <a:pt x="104" y="361"/>
                      <a:pt x="102" y="361"/>
                    </a:cubicBezTo>
                    <a:cubicBezTo>
                      <a:pt x="100" y="361"/>
                      <a:pt x="99" y="361"/>
                      <a:pt x="99" y="359"/>
                    </a:cubicBezTo>
                    <a:cubicBezTo>
                      <a:pt x="97" y="354"/>
                      <a:pt x="103" y="357"/>
                      <a:pt x="102" y="357"/>
                    </a:cubicBezTo>
                    <a:cubicBezTo>
                      <a:pt x="108" y="356"/>
                      <a:pt x="112" y="352"/>
                      <a:pt x="123" y="354"/>
                    </a:cubicBezTo>
                    <a:cubicBezTo>
                      <a:pt x="124" y="350"/>
                      <a:pt x="122" y="350"/>
                      <a:pt x="119" y="350"/>
                    </a:cubicBezTo>
                    <a:cubicBezTo>
                      <a:pt x="121" y="345"/>
                      <a:pt x="127" y="350"/>
                      <a:pt x="130" y="350"/>
                    </a:cubicBezTo>
                    <a:cubicBezTo>
                      <a:pt x="132" y="350"/>
                      <a:pt x="136" y="346"/>
                      <a:pt x="136" y="350"/>
                    </a:cubicBezTo>
                    <a:cubicBezTo>
                      <a:pt x="140" y="347"/>
                      <a:pt x="140" y="341"/>
                      <a:pt x="147" y="341"/>
                    </a:cubicBezTo>
                    <a:cubicBezTo>
                      <a:pt x="145" y="334"/>
                      <a:pt x="152" y="337"/>
                      <a:pt x="151" y="331"/>
                    </a:cubicBezTo>
                    <a:cubicBezTo>
                      <a:pt x="155" y="331"/>
                      <a:pt x="158" y="331"/>
                      <a:pt x="162" y="331"/>
                    </a:cubicBezTo>
                    <a:cubicBezTo>
                      <a:pt x="162" y="329"/>
                      <a:pt x="160" y="330"/>
                      <a:pt x="158" y="329"/>
                    </a:cubicBezTo>
                    <a:cubicBezTo>
                      <a:pt x="159" y="326"/>
                      <a:pt x="164" y="328"/>
                      <a:pt x="162" y="322"/>
                    </a:cubicBezTo>
                    <a:cubicBezTo>
                      <a:pt x="167" y="322"/>
                      <a:pt x="166" y="325"/>
                      <a:pt x="170" y="322"/>
                    </a:cubicBezTo>
                    <a:cubicBezTo>
                      <a:pt x="165" y="312"/>
                      <a:pt x="173" y="316"/>
                      <a:pt x="173" y="307"/>
                    </a:cubicBezTo>
                    <a:cubicBezTo>
                      <a:pt x="176" y="307"/>
                      <a:pt x="178" y="308"/>
                      <a:pt x="181" y="307"/>
                    </a:cubicBezTo>
                    <a:cubicBezTo>
                      <a:pt x="183" y="306"/>
                      <a:pt x="183" y="304"/>
                      <a:pt x="185" y="303"/>
                    </a:cubicBezTo>
                    <a:cubicBezTo>
                      <a:pt x="187" y="302"/>
                      <a:pt x="186" y="305"/>
                      <a:pt x="186" y="305"/>
                    </a:cubicBezTo>
                    <a:cubicBezTo>
                      <a:pt x="189" y="306"/>
                      <a:pt x="188" y="303"/>
                      <a:pt x="188" y="303"/>
                    </a:cubicBezTo>
                    <a:cubicBezTo>
                      <a:pt x="190" y="303"/>
                      <a:pt x="194" y="304"/>
                      <a:pt x="196" y="303"/>
                    </a:cubicBezTo>
                    <a:cubicBezTo>
                      <a:pt x="198" y="303"/>
                      <a:pt x="199" y="297"/>
                      <a:pt x="203" y="300"/>
                    </a:cubicBezTo>
                    <a:cubicBezTo>
                      <a:pt x="203" y="295"/>
                      <a:pt x="197" y="296"/>
                      <a:pt x="198" y="290"/>
                    </a:cubicBezTo>
                    <a:cubicBezTo>
                      <a:pt x="203" y="289"/>
                      <a:pt x="200" y="288"/>
                      <a:pt x="199" y="281"/>
                    </a:cubicBezTo>
                    <a:cubicBezTo>
                      <a:pt x="199" y="276"/>
                      <a:pt x="202" y="273"/>
                      <a:pt x="201" y="268"/>
                    </a:cubicBezTo>
                    <a:cubicBezTo>
                      <a:pt x="204" y="268"/>
                      <a:pt x="206" y="268"/>
                      <a:pt x="209" y="268"/>
                    </a:cubicBezTo>
                    <a:cubicBezTo>
                      <a:pt x="214" y="268"/>
                      <a:pt x="204" y="263"/>
                      <a:pt x="213" y="264"/>
                    </a:cubicBezTo>
                    <a:cubicBezTo>
                      <a:pt x="213" y="266"/>
                      <a:pt x="215" y="266"/>
                      <a:pt x="216" y="266"/>
                    </a:cubicBezTo>
                    <a:cubicBezTo>
                      <a:pt x="213" y="270"/>
                      <a:pt x="213" y="266"/>
                      <a:pt x="214" y="272"/>
                    </a:cubicBezTo>
                    <a:cubicBezTo>
                      <a:pt x="215" y="275"/>
                      <a:pt x="214" y="278"/>
                      <a:pt x="218" y="277"/>
                    </a:cubicBezTo>
                    <a:cubicBezTo>
                      <a:pt x="218" y="280"/>
                      <a:pt x="218" y="282"/>
                      <a:pt x="216" y="283"/>
                    </a:cubicBezTo>
                    <a:cubicBezTo>
                      <a:pt x="216" y="286"/>
                      <a:pt x="224" y="280"/>
                      <a:pt x="227" y="285"/>
                    </a:cubicBezTo>
                    <a:cubicBezTo>
                      <a:pt x="226" y="290"/>
                      <a:pt x="215" y="286"/>
                      <a:pt x="214" y="292"/>
                    </a:cubicBezTo>
                    <a:cubicBezTo>
                      <a:pt x="213" y="296"/>
                      <a:pt x="219" y="297"/>
                      <a:pt x="220" y="298"/>
                    </a:cubicBezTo>
                    <a:cubicBezTo>
                      <a:pt x="222" y="299"/>
                      <a:pt x="222" y="302"/>
                      <a:pt x="226" y="301"/>
                    </a:cubicBezTo>
                    <a:cubicBezTo>
                      <a:pt x="224" y="298"/>
                      <a:pt x="219" y="298"/>
                      <a:pt x="227" y="298"/>
                    </a:cubicBezTo>
                    <a:cubicBezTo>
                      <a:pt x="230" y="298"/>
                      <a:pt x="233" y="297"/>
                      <a:pt x="235" y="298"/>
                    </a:cubicBezTo>
                    <a:cubicBezTo>
                      <a:pt x="238" y="298"/>
                      <a:pt x="239" y="300"/>
                      <a:pt x="242" y="300"/>
                    </a:cubicBezTo>
                    <a:cubicBezTo>
                      <a:pt x="247" y="300"/>
                      <a:pt x="248" y="296"/>
                      <a:pt x="253" y="298"/>
                    </a:cubicBezTo>
                    <a:cubicBezTo>
                      <a:pt x="254" y="298"/>
                      <a:pt x="260" y="301"/>
                      <a:pt x="263" y="298"/>
                    </a:cubicBezTo>
                    <a:cubicBezTo>
                      <a:pt x="263" y="298"/>
                      <a:pt x="263" y="296"/>
                      <a:pt x="263" y="296"/>
                    </a:cubicBezTo>
                    <a:cubicBezTo>
                      <a:pt x="268" y="294"/>
                      <a:pt x="274" y="296"/>
                      <a:pt x="276" y="292"/>
                    </a:cubicBezTo>
                    <a:cubicBezTo>
                      <a:pt x="283" y="300"/>
                      <a:pt x="288" y="286"/>
                      <a:pt x="293" y="290"/>
                    </a:cubicBezTo>
                    <a:cubicBezTo>
                      <a:pt x="293" y="288"/>
                      <a:pt x="293" y="285"/>
                      <a:pt x="293" y="283"/>
                    </a:cubicBezTo>
                    <a:cubicBezTo>
                      <a:pt x="296" y="284"/>
                      <a:pt x="296" y="281"/>
                      <a:pt x="296" y="279"/>
                    </a:cubicBezTo>
                    <a:cubicBezTo>
                      <a:pt x="296" y="279"/>
                      <a:pt x="298" y="274"/>
                      <a:pt x="298" y="273"/>
                    </a:cubicBezTo>
                    <a:cubicBezTo>
                      <a:pt x="300" y="272"/>
                      <a:pt x="298" y="272"/>
                      <a:pt x="298" y="268"/>
                    </a:cubicBezTo>
                    <a:cubicBezTo>
                      <a:pt x="302" y="268"/>
                      <a:pt x="305" y="267"/>
                      <a:pt x="306" y="264"/>
                    </a:cubicBezTo>
                    <a:cubicBezTo>
                      <a:pt x="308" y="264"/>
                      <a:pt x="307" y="266"/>
                      <a:pt x="308" y="268"/>
                    </a:cubicBezTo>
                    <a:cubicBezTo>
                      <a:pt x="309" y="266"/>
                      <a:pt x="312" y="266"/>
                      <a:pt x="315" y="266"/>
                    </a:cubicBezTo>
                    <a:cubicBezTo>
                      <a:pt x="317" y="266"/>
                      <a:pt x="316" y="262"/>
                      <a:pt x="319" y="262"/>
                    </a:cubicBezTo>
                    <a:cubicBezTo>
                      <a:pt x="319" y="258"/>
                      <a:pt x="318" y="255"/>
                      <a:pt x="315" y="255"/>
                    </a:cubicBezTo>
                    <a:cubicBezTo>
                      <a:pt x="316" y="253"/>
                      <a:pt x="317" y="251"/>
                      <a:pt x="317" y="247"/>
                    </a:cubicBezTo>
                    <a:cubicBezTo>
                      <a:pt x="321" y="248"/>
                      <a:pt x="323" y="247"/>
                      <a:pt x="322" y="244"/>
                    </a:cubicBezTo>
                    <a:cubicBezTo>
                      <a:pt x="327" y="248"/>
                      <a:pt x="328" y="241"/>
                      <a:pt x="335" y="244"/>
                    </a:cubicBezTo>
                    <a:cubicBezTo>
                      <a:pt x="336" y="244"/>
                      <a:pt x="338" y="246"/>
                      <a:pt x="337" y="246"/>
                    </a:cubicBezTo>
                    <a:cubicBezTo>
                      <a:pt x="339" y="246"/>
                      <a:pt x="339" y="244"/>
                      <a:pt x="341" y="244"/>
                    </a:cubicBezTo>
                    <a:cubicBezTo>
                      <a:pt x="343" y="243"/>
                      <a:pt x="345" y="245"/>
                      <a:pt x="345" y="246"/>
                    </a:cubicBezTo>
                    <a:cubicBezTo>
                      <a:pt x="347" y="245"/>
                      <a:pt x="345" y="243"/>
                      <a:pt x="347" y="242"/>
                    </a:cubicBezTo>
                    <a:cubicBezTo>
                      <a:pt x="348" y="241"/>
                      <a:pt x="350" y="242"/>
                      <a:pt x="350" y="242"/>
                    </a:cubicBezTo>
                    <a:cubicBezTo>
                      <a:pt x="353" y="240"/>
                      <a:pt x="353" y="236"/>
                      <a:pt x="358" y="238"/>
                    </a:cubicBezTo>
                    <a:cubicBezTo>
                      <a:pt x="355" y="236"/>
                      <a:pt x="357" y="229"/>
                      <a:pt x="352" y="229"/>
                    </a:cubicBezTo>
                    <a:cubicBezTo>
                      <a:pt x="349" y="226"/>
                      <a:pt x="349" y="232"/>
                      <a:pt x="349" y="232"/>
                    </a:cubicBezTo>
                    <a:cubicBezTo>
                      <a:pt x="347" y="233"/>
                      <a:pt x="346" y="230"/>
                      <a:pt x="345" y="231"/>
                    </a:cubicBezTo>
                    <a:cubicBezTo>
                      <a:pt x="344" y="231"/>
                      <a:pt x="342" y="232"/>
                      <a:pt x="343" y="232"/>
                    </a:cubicBezTo>
                    <a:cubicBezTo>
                      <a:pt x="341" y="232"/>
                      <a:pt x="341" y="230"/>
                      <a:pt x="339" y="231"/>
                    </a:cubicBezTo>
                    <a:cubicBezTo>
                      <a:pt x="336" y="231"/>
                      <a:pt x="334" y="234"/>
                      <a:pt x="330" y="232"/>
                    </a:cubicBezTo>
                    <a:cubicBezTo>
                      <a:pt x="328" y="232"/>
                      <a:pt x="328" y="235"/>
                      <a:pt x="328" y="236"/>
                    </a:cubicBezTo>
                    <a:cubicBezTo>
                      <a:pt x="320" y="235"/>
                      <a:pt x="312" y="237"/>
                      <a:pt x="306" y="234"/>
                    </a:cubicBezTo>
                    <a:cubicBezTo>
                      <a:pt x="305" y="234"/>
                      <a:pt x="306" y="231"/>
                      <a:pt x="306" y="231"/>
                    </a:cubicBezTo>
                    <a:cubicBezTo>
                      <a:pt x="304" y="229"/>
                      <a:pt x="299" y="231"/>
                      <a:pt x="298" y="229"/>
                    </a:cubicBezTo>
                    <a:cubicBezTo>
                      <a:pt x="303" y="218"/>
                      <a:pt x="300" y="213"/>
                      <a:pt x="298" y="201"/>
                    </a:cubicBezTo>
                    <a:cubicBezTo>
                      <a:pt x="303" y="200"/>
                      <a:pt x="311" y="193"/>
                      <a:pt x="313" y="197"/>
                    </a:cubicBezTo>
                    <a:cubicBezTo>
                      <a:pt x="316" y="195"/>
                      <a:pt x="313" y="194"/>
                      <a:pt x="315" y="190"/>
                    </a:cubicBezTo>
                    <a:cubicBezTo>
                      <a:pt x="321" y="190"/>
                      <a:pt x="321" y="179"/>
                      <a:pt x="322" y="177"/>
                    </a:cubicBezTo>
                    <a:cubicBezTo>
                      <a:pt x="323" y="176"/>
                      <a:pt x="326" y="177"/>
                      <a:pt x="326" y="177"/>
                    </a:cubicBezTo>
                    <a:cubicBezTo>
                      <a:pt x="326" y="173"/>
                      <a:pt x="319" y="171"/>
                      <a:pt x="322" y="167"/>
                    </a:cubicBezTo>
                    <a:cubicBezTo>
                      <a:pt x="320" y="169"/>
                      <a:pt x="315" y="167"/>
                      <a:pt x="311" y="167"/>
                    </a:cubicBezTo>
                    <a:cubicBezTo>
                      <a:pt x="307" y="168"/>
                      <a:pt x="303" y="172"/>
                      <a:pt x="298" y="171"/>
                    </a:cubicBezTo>
                    <a:cubicBezTo>
                      <a:pt x="295" y="168"/>
                      <a:pt x="295" y="182"/>
                      <a:pt x="296" y="178"/>
                    </a:cubicBezTo>
                    <a:cubicBezTo>
                      <a:pt x="295" y="182"/>
                      <a:pt x="294" y="177"/>
                      <a:pt x="293" y="178"/>
                    </a:cubicBezTo>
                    <a:cubicBezTo>
                      <a:pt x="291" y="180"/>
                      <a:pt x="294" y="184"/>
                      <a:pt x="293" y="186"/>
                    </a:cubicBezTo>
                    <a:cubicBezTo>
                      <a:pt x="292" y="187"/>
                      <a:pt x="288" y="191"/>
                      <a:pt x="285" y="193"/>
                    </a:cubicBezTo>
                    <a:cubicBezTo>
                      <a:pt x="280" y="199"/>
                      <a:pt x="280" y="203"/>
                      <a:pt x="272" y="203"/>
                    </a:cubicBezTo>
                    <a:cubicBezTo>
                      <a:pt x="272" y="205"/>
                      <a:pt x="275" y="208"/>
                      <a:pt x="272" y="208"/>
                    </a:cubicBezTo>
                    <a:cubicBezTo>
                      <a:pt x="270" y="208"/>
                      <a:pt x="272" y="211"/>
                      <a:pt x="270" y="212"/>
                    </a:cubicBezTo>
                    <a:cubicBezTo>
                      <a:pt x="270" y="212"/>
                      <a:pt x="267" y="211"/>
                      <a:pt x="267" y="212"/>
                    </a:cubicBezTo>
                    <a:cubicBezTo>
                      <a:pt x="266" y="213"/>
                      <a:pt x="267" y="215"/>
                      <a:pt x="267" y="216"/>
                    </a:cubicBezTo>
                    <a:cubicBezTo>
                      <a:pt x="266" y="216"/>
                      <a:pt x="265" y="215"/>
                      <a:pt x="265" y="216"/>
                    </a:cubicBezTo>
                    <a:cubicBezTo>
                      <a:pt x="264" y="218"/>
                      <a:pt x="266" y="223"/>
                      <a:pt x="263" y="223"/>
                    </a:cubicBezTo>
                    <a:cubicBezTo>
                      <a:pt x="264" y="225"/>
                      <a:pt x="268" y="226"/>
                      <a:pt x="265" y="227"/>
                    </a:cubicBezTo>
                    <a:cubicBezTo>
                      <a:pt x="267" y="229"/>
                      <a:pt x="269" y="232"/>
                      <a:pt x="274" y="232"/>
                    </a:cubicBezTo>
                    <a:cubicBezTo>
                      <a:pt x="274" y="236"/>
                      <a:pt x="275" y="237"/>
                      <a:pt x="278" y="238"/>
                    </a:cubicBezTo>
                    <a:cubicBezTo>
                      <a:pt x="276" y="240"/>
                      <a:pt x="275" y="240"/>
                      <a:pt x="274" y="242"/>
                    </a:cubicBezTo>
                    <a:cubicBezTo>
                      <a:pt x="273" y="244"/>
                      <a:pt x="274" y="246"/>
                      <a:pt x="272" y="247"/>
                    </a:cubicBezTo>
                    <a:cubicBezTo>
                      <a:pt x="270" y="249"/>
                      <a:pt x="268" y="249"/>
                      <a:pt x="265" y="249"/>
                    </a:cubicBezTo>
                    <a:cubicBezTo>
                      <a:pt x="264" y="257"/>
                      <a:pt x="257" y="259"/>
                      <a:pt x="259" y="270"/>
                    </a:cubicBezTo>
                    <a:cubicBezTo>
                      <a:pt x="252" y="267"/>
                      <a:pt x="253" y="279"/>
                      <a:pt x="248" y="279"/>
                    </a:cubicBezTo>
                    <a:cubicBezTo>
                      <a:pt x="247" y="279"/>
                      <a:pt x="247" y="279"/>
                      <a:pt x="246" y="279"/>
                    </a:cubicBezTo>
                    <a:cubicBezTo>
                      <a:pt x="244" y="280"/>
                      <a:pt x="245" y="282"/>
                      <a:pt x="244" y="283"/>
                    </a:cubicBezTo>
                    <a:cubicBezTo>
                      <a:pt x="241" y="284"/>
                      <a:pt x="237" y="280"/>
                      <a:pt x="235" y="285"/>
                    </a:cubicBezTo>
                    <a:cubicBezTo>
                      <a:pt x="231" y="284"/>
                      <a:pt x="234" y="277"/>
                      <a:pt x="233" y="273"/>
                    </a:cubicBezTo>
                    <a:cubicBezTo>
                      <a:pt x="231" y="272"/>
                      <a:pt x="232" y="268"/>
                      <a:pt x="229" y="268"/>
                    </a:cubicBezTo>
                    <a:cubicBezTo>
                      <a:pt x="224" y="268"/>
                      <a:pt x="231" y="262"/>
                      <a:pt x="224" y="262"/>
                    </a:cubicBezTo>
                    <a:cubicBezTo>
                      <a:pt x="227" y="258"/>
                      <a:pt x="220" y="257"/>
                      <a:pt x="220" y="255"/>
                    </a:cubicBezTo>
                    <a:cubicBezTo>
                      <a:pt x="220" y="254"/>
                      <a:pt x="222" y="253"/>
                      <a:pt x="222" y="251"/>
                    </a:cubicBezTo>
                    <a:cubicBezTo>
                      <a:pt x="221" y="246"/>
                      <a:pt x="217" y="243"/>
                      <a:pt x="213" y="240"/>
                    </a:cubicBezTo>
                    <a:cubicBezTo>
                      <a:pt x="207" y="242"/>
                      <a:pt x="209" y="251"/>
                      <a:pt x="199" y="249"/>
                    </a:cubicBezTo>
                    <a:cubicBezTo>
                      <a:pt x="200" y="251"/>
                      <a:pt x="202" y="251"/>
                      <a:pt x="203" y="251"/>
                    </a:cubicBezTo>
                    <a:cubicBezTo>
                      <a:pt x="203" y="253"/>
                      <a:pt x="201" y="253"/>
                      <a:pt x="199" y="253"/>
                    </a:cubicBezTo>
                    <a:cubicBezTo>
                      <a:pt x="196" y="253"/>
                      <a:pt x="198" y="259"/>
                      <a:pt x="194" y="259"/>
                    </a:cubicBezTo>
                    <a:cubicBezTo>
                      <a:pt x="185" y="260"/>
                      <a:pt x="188" y="251"/>
                      <a:pt x="179" y="253"/>
                    </a:cubicBezTo>
                    <a:cubicBezTo>
                      <a:pt x="179" y="251"/>
                      <a:pt x="181" y="252"/>
                      <a:pt x="183" y="251"/>
                    </a:cubicBezTo>
                    <a:cubicBezTo>
                      <a:pt x="185" y="246"/>
                      <a:pt x="178" y="242"/>
                      <a:pt x="183" y="240"/>
                    </a:cubicBezTo>
                    <a:cubicBezTo>
                      <a:pt x="181" y="238"/>
                      <a:pt x="179" y="237"/>
                      <a:pt x="177" y="236"/>
                    </a:cubicBezTo>
                    <a:cubicBezTo>
                      <a:pt x="176" y="234"/>
                      <a:pt x="179" y="233"/>
                      <a:pt x="179" y="232"/>
                    </a:cubicBezTo>
                    <a:cubicBezTo>
                      <a:pt x="179" y="231"/>
                      <a:pt x="175" y="229"/>
                      <a:pt x="175" y="229"/>
                    </a:cubicBezTo>
                    <a:cubicBezTo>
                      <a:pt x="175" y="227"/>
                      <a:pt x="178" y="216"/>
                      <a:pt x="175" y="223"/>
                    </a:cubicBezTo>
                    <a:cubicBezTo>
                      <a:pt x="172" y="222"/>
                      <a:pt x="174" y="219"/>
                      <a:pt x="177" y="219"/>
                    </a:cubicBezTo>
                    <a:cubicBezTo>
                      <a:pt x="173" y="213"/>
                      <a:pt x="183" y="211"/>
                      <a:pt x="179" y="210"/>
                    </a:cubicBezTo>
                    <a:cubicBezTo>
                      <a:pt x="179" y="207"/>
                      <a:pt x="184" y="209"/>
                      <a:pt x="185" y="206"/>
                    </a:cubicBezTo>
                    <a:cubicBezTo>
                      <a:pt x="185" y="204"/>
                      <a:pt x="187" y="206"/>
                      <a:pt x="186" y="206"/>
                    </a:cubicBezTo>
                    <a:cubicBezTo>
                      <a:pt x="188" y="205"/>
                      <a:pt x="188" y="203"/>
                      <a:pt x="190" y="203"/>
                    </a:cubicBezTo>
                    <a:cubicBezTo>
                      <a:pt x="192" y="202"/>
                      <a:pt x="192" y="199"/>
                      <a:pt x="192" y="197"/>
                    </a:cubicBezTo>
                    <a:cubicBezTo>
                      <a:pt x="196" y="198"/>
                      <a:pt x="198" y="197"/>
                      <a:pt x="198" y="193"/>
                    </a:cubicBezTo>
                    <a:cubicBezTo>
                      <a:pt x="203" y="192"/>
                      <a:pt x="200" y="200"/>
                      <a:pt x="207" y="197"/>
                    </a:cubicBezTo>
                    <a:cubicBezTo>
                      <a:pt x="207" y="195"/>
                      <a:pt x="205" y="196"/>
                      <a:pt x="203" y="195"/>
                    </a:cubicBezTo>
                    <a:cubicBezTo>
                      <a:pt x="208" y="191"/>
                      <a:pt x="214" y="193"/>
                      <a:pt x="218" y="188"/>
                    </a:cubicBezTo>
                    <a:cubicBezTo>
                      <a:pt x="219" y="187"/>
                      <a:pt x="217" y="185"/>
                      <a:pt x="218" y="184"/>
                    </a:cubicBezTo>
                    <a:cubicBezTo>
                      <a:pt x="219" y="183"/>
                      <a:pt x="221" y="185"/>
                      <a:pt x="222" y="184"/>
                    </a:cubicBezTo>
                    <a:cubicBezTo>
                      <a:pt x="223" y="183"/>
                      <a:pt x="221" y="180"/>
                      <a:pt x="222" y="178"/>
                    </a:cubicBezTo>
                    <a:cubicBezTo>
                      <a:pt x="222" y="177"/>
                      <a:pt x="227" y="176"/>
                      <a:pt x="227" y="175"/>
                    </a:cubicBezTo>
                    <a:cubicBezTo>
                      <a:pt x="228" y="173"/>
                      <a:pt x="226" y="169"/>
                      <a:pt x="227" y="167"/>
                    </a:cubicBezTo>
                    <a:cubicBezTo>
                      <a:pt x="228" y="167"/>
                      <a:pt x="230" y="170"/>
                      <a:pt x="231" y="169"/>
                    </a:cubicBezTo>
                    <a:cubicBezTo>
                      <a:pt x="229" y="170"/>
                      <a:pt x="234" y="160"/>
                      <a:pt x="233" y="160"/>
                    </a:cubicBezTo>
                    <a:cubicBezTo>
                      <a:pt x="237" y="164"/>
                      <a:pt x="238" y="157"/>
                      <a:pt x="242" y="156"/>
                    </a:cubicBezTo>
                    <a:cubicBezTo>
                      <a:pt x="242" y="153"/>
                      <a:pt x="245" y="151"/>
                      <a:pt x="242" y="150"/>
                    </a:cubicBezTo>
                    <a:cubicBezTo>
                      <a:pt x="243" y="147"/>
                      <a:pt x="248" y="150"/>
                      <a:pt x="248" y="145"/>
                    </a:cubicBezTo>
                    <a:cubicBezTo>
                      <a:pt x="248" y="143"/>
                      <a:pt x="251" y="143"/>
                      <a:pt x="253" y="143"/>
                    </a:cubicBezTo>
                    <a:cubicBezTo>
                      <a:pt x="254" y="141"/>
                      <a:pt x="253" y="140"/>
                      <a:pt x="252" y="139"/>
                    </a:cubicBezTo>
                    <a:cubicBezTo>
                      <a:pt x="257" y="135"/>
                      <a:pt x="260" y="135"/>
                      <a:pt x="265" y="134"/>
                    </a:cubicBezTo>
                    <a:cubicBezTo>
                      <a:pt x="267" y="132"/>
                      <a:pt x="264" y="131"/>
                      <a:pt x="267" y="126"/>
                    </a:cubicBezTo>
                    <a:cubicBezTo>
                      <a:pt x="268" y="125"/>
                      <a:pt x="272" y="124"/>
                      <a:pt x="272" y="121"/>
                    </a:cubicBezTo>
                    <a:cubicBezTo>
                      <a:pt x="272" y="116"/>
                      <a:pt x="278" y="123"/>
                      <a:pt x="278" y="115"/>
                    </a:cubicBezTo>
                    <a:cubicBezTo>
                      <a:pt x="285" y="112"/>
                      <a:pt x="292" y="119"/>
                      <a:pt x="293" y="108"/>
                    </a:cubicBezTo>
                    <a:cubicBezTo>
                      <a:pt x="296" y="110"/>
                      <a:pt x="304" y="106"/>
                      <a:pt x="309" y="109"/>
                    </a:cubicBezTo>
                    <a:cubicBezTo>
                      <a:pt x="311" y="108"/>
                      <a:pt x="312" y="106"/>
                      <a:pt x="313" y="104"/>
                    </a:cubicBezTo>
                    <a:cubicBezTo>
                      <a:pt x="318" y="101"/>
                      <a:pt x="323" y="110"/>
                      <a:pt x="322" y="102"/>
                    </a:cubicBezTo>
                    <a:cubicBezTo>
                      <a:pt x="326" y="103"/>
                      <a:pt x="326" y="107"/>
                      <a:pt x="330" y="108"/>
                    </a:cubicBezTo>
                    <a:cubicBezTo>
                      <a:pt x="333" y="107"/>
                      <a:pt x="332" y="102"/>
                      <a:pt x="337" y="104"/>
                    </a:cubicBezTo>
                    <a:cubicBezTo>
                      <a:pt x="338" y="107"/>
                      <a:pt x="336" y="107"/>
                      <a:pt x="335" y="109"/>
                    </a:cubicBezTo>
                    <a:cubicBezTo>
                      <a:pt x="337" y="110"/>
                      <a:pt x="346" y="101"/>
                      <a:pt x="350" y="106"/>
                    </a:cubicBezTo>
                    <a:cubicBezTo>
                      <a:pt x="353" y="108"/>
                      <a:pt x="351" y="105"/>
                      <a:pt x="354" y="106"/>
                    </a:cubicBezTo>
                    <a:cubicBezTo>
                      <a:pt x="358" y="106"/>
                      <a:pt x="362" y="109"/>
                      <a:pt x="367" y="108"/>
                    </a:cubicBezTo>
                    <a:cubicBezTo>
                      <a:pt x="366" y="109"/>
                      <a:pt x="368" y="112"/>
                      <a:pt x="367" y="113"/>
                    </a:cubicBezTo>
                    <a:cubicBezTo>
                      <a:pt x="367" y="114"/>
                      <a:pt x="364" y="113"/>
                      <a:pt x="363" y="113"/>
                    </a:cubicBezTo>
                    <a:cubicBezTo>
                      <a:pt x="362" y="115"/>
                      <a:pt x="364" y="118"/>
                      <a:pt x="360" y="117"/>
                    </a:cubicBezTo>
                    <a:cubicBezTo>
                      <a:pt x="363" y="121"/>
                      <a:pt x="374" y="118"/>
                      <a:pt x="378" y="117"/>
                    </a:cubicBezTo>
                    <a:cubicBezTo>
                      <a:pt x="382" y="115"/>
                      <a:pt x="381" y="120"/>
                      <a:pt x="382" y="121"/>
                    </a:cubicBezTo>
                    <a:cubicBezTo>
                      <a:pt x="384" y="122"/>
                      <a:pt x="388" y="119"/>
                      <a:pt x="388" y="122"/>
                    </a:cubicBezTo>
                    <a:cubicBezTo>
                      <a:pt x="401" y="119"/>
                      <a:pt x="404" y="130"/>
                      <a:pt x="412" y="126"/>
                    </a:cubicBezTo>
                    <a:cubicBezTo>
                      <a:pt x="410" y="132"/>
                      <a:pt x="418" y="129"/>
                      <a:pt x="418" y="134"/>
                    </a:cubicBezTo>
                    <a:cubicBezTo>
                      <a:pt x="422" y="134"/>
                      <a:pt x="430" y="133"/>
                      <a:pt x="425" y="137"/>
                    </a:cubicBezTo>
                    <a:cubicBezTo>
                      <a:pt x="429" y="139"/>
                      <a:pt x="433" y="138"/>
                      <a:pt x="436" y="139"/>
                    </a:cubicBezTo>
                    <a:cubicBezTo>
                      <a:pt x="437" y="139"/>
                      <a:pt x="436" y="143"/>
                      <a:pt x="436" y="143"/>
                    </a:cubicBezTo>
                    <a:cubicBezTo>
                      <a:pt x="437" y="144"/>
                      <a:pt x="441" y="142"/>
                      <a:pt x="442" y="143"/>
                    </a:cubicBezTo>
                    <a:cubicBezTo>
                      <a:pt x="443" y="150"/>
                      <a:pt x="443" y="152"/>
                      <a:pt x="442" y="160"/>
                    </a:cubicBezTo>
                    <a:cubicBezTo>
                      <a:pt x="439" y="155"/>
                      <a:pt x="435" y="161"/>
                      <a:pt x="431" y="162"/>
                    </a:cubicBezTo>
                    <a:cubicBezTo>
                      <a:pt x="425" y="162"/>
                      <a:pt x="419" y="156"/>
                      <a:pt x="414" y="162"/>
                    </a:cubicBezTo>
                    <a:cubicBezTo>
                      <a:pt x="412" y="162"/>
                      <a:pt x="413" y="158"/>
                      <a:pt x="412" y="158"/>
                    </a:cubicBezTo>
                    <a:cubicBezTo>
                      <a:pt x="409" y="157"/>
                      <a:pt x="409" y="160"/>
                      <a:pt x="408" y="160"/>
                    </a:cubicBezTo>
                    <a:cubicBezTo>
                      <a:pt x="406" y="160"/>
                      <a:pt x="405" y="156"/>
                      <a:pt x="404" y="156"/>
                    </a:cubicBezTo>
                    <a:cubicBezTo>
                      <a:pt x="401" y="156"/>
                      <a:pt x="396" y="161"/>
                      <a:pt x="397" y="154"/>
                    </a:cubicBezTo>
                    <a:cubicBezTo>
                      <a:pt x="391" y="156"/>
                      <a:pt x="393" y="154"/>
                      <a:pt x="386" y="154"/>
                    </a:cubicBezTo>
                    <a:cubicBezTo>
                      <a:pt x="385" y="157"/>
                      <a:pt x="387" y="158"/>
                      <a:pt x="390" y="158"/>
                    </a:cubicBezTo>
                    <a:cubicBezTo>
                      <a:pt x="393" y="157"/>
                      <a:pt x="393" y="160"/>
                      <a:pt x="395" y="160"/>
                    </a:cubicBezTo>
                    <a:cubicBezTo>
                      <a:pt x="392" y="163"/>
                      <a:pt x="395" y="162"/>
                      <a:pt x="397" y="163"/>
                    </a:cubicBezTo>
                    <a:cubicBezTo>
                      <a:pt x="398" y="164"/>
                      <a:pt x="397" y="166"/>
                      <a:pt x="397" y="167"/>
                    </a:cubicBezTo>
                    <a:cubicBezTo>
                      <a:pt x="398" y="169"/>
                      <a:pt x="401" y="169"/>
                      <a:pt x="401" y="171"/>
                    </a:cubicBezTo>
                    <a:cubicBezTo>
                      <a:pt x="401" y="173"/>
                      <a:pt x="405" y="178"/>
                      <a:pt x="404" y="184"/>
                    </a:cubicBezTo>
                    <a:cubicBezTo>
                      <a:pt x="405" y="190"/>
                      <a:pt x="416" y="186"/>
                      <a:pt x="418" y="191"/>
                    </a:cubicBezTo>
                    <a:cubicBezTo>
                      <a:pt x="419" y="190"/>
                      <a:pt x="419" y="187"/>
                      <a:pt x="423" y="188"/>
                    </a:cubicBezTo>
                    <a:cubicBezTo>
                      <a:pt x="422" y="182"/>
                      <a:pt x="414" y="184"/>
                      <a:pt x="412" y="180"/>
                    </a:cubicBezTo>
                    <a:cubicBezTo>
                      <a:pt x="411" y="173"/>
                      <a:pt x="422" y="178"/>
                      <a:pt x="427" y="177"/>
                    </a:cubicBezTo>
                    <a:cubicBezTo>
                      <a:pt x="426" y="181"/>
                      <a:pt x="435" y="176"/>
                      <a:pt x="432" y="182"/>
                    </a:cubicBezTo>
                    <a:cubicBezTo>
                      <a:pt x="437" y="184"/>
                      <a:pt x="440" y="176"/>
                      <a:pt x="440" y="184"/>
                    </a:cubicBezTo>
                    <a:cubicBezTo>
                      <a:pt x="445" y="181"/>
                      <a:pt x="440" y="174"/>
                      <a:pt x="436" y="175"/>
                    </a:cubicBezTo>
                    <a:cubicBezTo>
                      <a:pt x="437" y="171"/>
                      <a:pt x="441" y="170"/>
                      <a:pt x="445" y="169"/>
                    </a:cubicBezTo>
                    <a:cubicBezTo>
                      <a:pt x="448" y="167"/>
                      <a:pt x="448" y="162"/>
                      <a:pt x="451" y="160"/>
                    </a:cubicBezTo>
                    <a:cubicBezTo>
                      <a:pt x="459" y="159"/>
                      <a:pt x="463" y="162"/>
                      <a:pt x="468" y="163"/>
                    </a:cubicBezTo>
                    <a:cubicBezTo>
                      <a:pt x="470" y="163"/>
                      <a:pt x="469" y="160"/>
                      <a:pt x="472" y="160"/>
                    </a:cubicBezTo>
                    <a:cubicBezTo>
                      <a:pt x="472" y="157"/>
                      <a:pt x="470" y="155"/>
                      <a:pt x="468" y="154"/>
                    </a:cubicBezTo>
                    <a:cubicBezTo>
                      <a:pt x="471" y="147"/>
                      <a:pt x="471" y="140"/>
                      <a:pt x="470" y="134"/>
                    </a:cubicBezTo>
                    <a:cubicBezTo>
                      <a:pt x="476" y="134"/>
                      <a:pt x="481" y="133"/>
                      <a:pt x="485" y="136"/>
                    </a:cubicBezTo>
                    <a:cubicBezTo>
                      <a:pt x="486" y="136"/>
                      <a:pt x="491" y="136"/>
                      <a:pt x="490" y="141"/>
                    </a:cubicBezTo>
                    <a:cubicBezTo>
                      <a:pt x="486" y="141"/>
                      <a:pt x="483" y="141"/>
                      <a:pt x="479" y="141"/>
                    </a:cubicBezTo>
                    <a:cubicBezTo>
                      <a:pt x="479" y="143"/>
                      <a:pt x="479" y="145"/>
                      <a:pt x="479" y="147"/>
                    </a:cubicBezTo>
                    <a:cubicBezTo>
                      <a:pt x="483" y="152"/>
                      <a:pt x="485" y="146"/>
                      <a:pt x="488" y="149"/>
                    </a:cubicBezTo>
                    <a:cubicBezTo>
                      <a:pt x="490" y="150"/>
                      <a:pt x="483" y="151"/>
                      <a:pt x="483" y="150"/>
                    </a:cubicBezTo>
                    <a:cubicBezTo>
                      <a:pt x="481" y="154"/>
                      <a:pt x="488" y="150"/>
                      <a:pt x="490" y="154"/>
                    </a:cubicBezTo>
                    <a:cubicBezTo>
                      <a:pt x="493" y="152"/>
                      <a:pt x="497" y="150"/>
                      <a:pt x="500" y="147"/>
                    </a:cubicBezTo>
                    <a:cubicBezTo>
                      <a:pt x="500" y="146"/>
                      <a:pt x="502" y="145"/>
                      <a:pt x="501" y="143"/>
                    </a:cubicBezTo>
                    <a:cubicBezTo>
                      <a:pt x="510" y="145"/>
                      <a:pt x="509" y="138"/>
                      <a:pt x="516" y="139"/>
                    </a:cubicBezTo>
                    <a:cubicBezTo>
                      <a:pt x="519" y="138"/>
                      <a:pt x="520" y="137"/>
                      <a:pt x="520" y="134"/>
                    </a:cubicBezTo>
                    <a:cubicBezTo>
                      <a:pt x="523" y="134"/>
                      <a:pt x="525" y="132"/>
                      <a:pt x="526" y="130"/>
                    </a:cubicBezTo>
                    <a:cubicBezTo>
                      <a:pt x="533" y="136"/>
                      <a:pt x="539" y="127"/>
                      <a:pt x="546" y="126"/>
                    </a:cubicBezTo>
                    <a:cubicBezTo>
                      <a:pt x="546" y="129"/>
                      <a:pt x="546" y="131"/>
                      <a:pt x="546" y="134"/>
                    </a:cubicBezTo>
                    <a:cubicBezTo>
                      <a:pt x="553" y="134"/>
                      <a:pt x="559" y="134"/>
                      <a:pt x="563" y="132"/>
                    </a:cubicBezTo>
                    <a:cubicBezTo>
                      <a:pt x="564" y="132"/>
                      <a:pt x="566" y="132"/>
                      <a:pt x="567" y="132"/>
                    </a:cubicBezTo>
                    <a:cubicBezTo>
                      <a:pt x="567" y="132"/>
                      <a:pt x="566" y="130"/>
                      <a:pt x="567" y="130"/>
                    </a:cubicBezTo>
                    <a:cubicBezTo>
                      <a:pt x="570" y="129"/>
                      <a:pt x="576" y="130"/>
                      <a:pt x="576" y="124"/>
                    </a:cubicBezTo>
                    <a:cubicBezTo>
                      <a:pt x="581" y="127"/>
                      <a:pt x="588" y="127"/>
                      <a:pt x="591" y="132"/>
                    </a:cubicBezTo>
                    <a:cubicBezTo>
                      <a:pt x="594" y="131"/>
                      <a:pt x="595" y="129"/>
                      <a:pt x="596" y="126"/>
                    </a:cubicBezTo>
                    <a:cubicBezTo>
                      <a:pt x="597" y="124"/>
                      <a:pt x="588" y="122"/>
                      <a:pt x="595" y="121"/>
                    </a:cubicBezTo>
                    <a:cubicBezTo>
                      <a:pt x="592" y="116"/>
                      <a:pt x="583" y="118"/>
                      <a:pt x="585" y="108"/>
                    </a:cubicBezTo>
                    <a:cubicBezTo>
                      <a:pt x="588" y="109"/>
                      <a:pt x="589" y="112"/>
                      <a:pt x="595" y="113"/>
                    </a:cubicBezTo>
                    <a:cubicBezTo>
                      <a:pt x="597" y="114"/>
                      <a:pt x="600" y="118"/>
                      <a:pt x="606" y="117"/>
                    </a:cubicBezTo>
                    <a:cubicBezTo>
                      <a:pt x="607" y="117"/>
                      <a:pt x="608" y="115"/>
                      <a:pt x="608" y="115"/>
                    </a:cubicBezTo>
                    <a:cubicBezTo>
                      <a:pt x="609" y="115"/>
                      <a:pt x="611" y="118"/>
                      <a:pt x="611" y="115"/>
                    </a:cubicBezTo>
                    <a:cubicBezTo>
                      <a:pt x="614" y="115"/>
                      <a:pt x="614" y="118"/>
                      <a:pt x="615" y="119"/>
                    </a:cubicBezTo>
                    <a:cubicBezTo>
                      <a:pt x="618" y="120"/>
                      <a:pt x="621" y="118"/>
                      <a:pt x="621" y="122"/>
                    </a:cubicBezTo>
                    <a:cubicBezTo>
                      <a:pt x="627" y="120"/>
                      <a:pt x="629" y="124"/>
                      <a:pt x="636" y="121"/>
                    </a:cubicBezTo>
                    <a:cubicBezTo>
                      <a:pt x="633" y="127"/>
                      <a:pt x="642" y="122"/>
                      <a:pt x="639" y="128"/>
                    </a:cubicBezTo>
                    <a:cubicBezTo>
                      <a:pt x="643" y="128"/>
                      <a:pt x="644" y="129"/>
                      <a:pt x="645" y="132"/>
                    </a:cubicBezTo>
                    <a:cubicBezTo>
                      <a:pt x="651" y="131"/>
                      <a:pt x="652" y="135"/>
                      <a:pt x="658" y="134"/>
                    </a:cubicBezTo>
                    <a:cubicBezTo>
                      <a:pt x="661" y="122"/>
                      <a:pt x="647" y="128"/>
                      <a:pt x="651" y="117"/>
                    </a:cubicBezTo>
                    <a:cubicBezTo>
                      <a:pt x="650" y="114"/>
                      <a:pt x="648" y="118"/>
                      <a:pt x="645" y="117"/>
                    </a:cubicBezTo>
                    <a:cubicBezTo>
                      <a:pt x="645" y="113"/>
                      <a:pt x="648" y="111"/>
                      <a:pt x="647" y="106"/>
                    </a:cubicBezTo>
                    <a:cubicBezTo>
                      <a:pt x="647" y="103"/>
                      <a:pt x="644" y="105"/>
                      <a:pt x="643" y="104"/>
                    </a:cubicBezTo>
                    <a:cubicBezTo>
                      <a:pt x="643" y="103"/>
                      <a:pt x="647" y="100"/>
                      <a:pt x="643" y="100"/>
                    </a:cubicBezTo>
                    <a:cubicBezTo>
                      <a:pt x="643" y="96"/>
                      <a:pt x="648" y="98"/>
                      <a:pt x="647" y="93"/>
                    </a:cubicBezTo>
                    <a:cubicBezTo>
                      <a:pt x="651" y="93"/>
                      <a:pt x="649" y="88"/>
                      <a:pt x="654" y="89"/>
                    </a:cubicBezTo>
                    <a:cubicBezTo>
                      <a:pt x="654" y="85"/>
                      <a:pt x="656" y="83"/>
                      <a:pt x="660" y="83"/>
                    </a:cubicBezTo>
                    <a:cubicBezTo>
                      <a:pt x="658" y="75"/>
                      <a:pt x="666" y="77"/>
                      <a:pt x="665" y="70"/>
                    </a:cubicBezTo>
                    <a:cubicBezTo>
                      <a:pt x="674" y="69"/>
                      <a:pt x="678" y="73"/>
                      <a:pt x="684" y="74"/>
                    </a:cubicBezTo>
                    <a:cubicBezTo>
                      <a:pt x="684" y="77"/>
                      <a:pt x="684" y="79"/>
                      <a:pt x="686" y="80"/>
                    </a:cubicBezTo>
                    <a:cubicBezTo>
                      <a:pt x="686" y="82"/>
                      <a:pt x="682" y="81"/>
                      <a:pt x="680" y="81"/>
                    </a:cubicBezTo>
                    <a:cubicBezTo>
                      <a:pt x="680" y="89"/>
                      <a:pt x="684" y="92"/>
                      <a:pt x="680" y="98"/>
                    </a:cubicBezTo>
                    <a:cubicBezTo>
                      <a:pt x="682" y="99"/>
                      <a:pt x="683" y="101"/>
                      <a:pt x="684" y="102"/>
                    </a:cubicBezTo>
                    <a:cubicBezTo>
                      <a:pt x="685" y="103"/>
                      <a:pt x="686" y="104"/>
                      <a:pt x="688" y="104"/>
                    </a:cubicBezTo>
                    <a:cubicBezTo>
                      <a:pt x="685" y="108"/>
                      <a:pt x="687" y="118"/>
                      <a:pt x="684" y="122"/>
                    </a:cubicBezTo>
                    <a:cubicBezTo>
                      <a:pt x="682" y="128"/>
                      <a:pt x="689" y="126"/>
                      <a:pt x="690" y="130"/>
                    </a:cubicBezTo>
                    <a:cubicBezTo>
                      <a:pt x="688" y="145"/>
                      <a:pt x="682" y="154"/>
                      <a:pt x="669" y="158"/>
                    </a:cubicBezTo>
                    <a:cubicBezTo>
                      <a:pt x="670" y="162"/>
                      <a:pt x="677" y="158"/>
                      <a:pt x="678" y="162"/>
                    </a:cubicBezTo>
                    <a:cubicBezTo>
                      <a:pt x="683" y="161"/>
                      <a:pt x="682" y="155"/>
                      <a:pt x="688" y="156"/>
                    </a:cubicBezTo>
                    <a:cubicBezTo>
                      <a:pt x="687" y="158"/>
                      <a:pt x="686" y="159"/>
                      <a:pt x="686" y="162"/>
                    </a:cubicBezTo>
                    <a:cubicBezTo>
                      <a:pt x="688" y="161"/>
                      <a:pt x="687" y="158"/>
                      <a:pt x="690" y="158"/>
                    </a:cubicBezTo>
                    <a:cubicBezTo>
                      <a:pt x="692" y="158"/>
                      <a:pt x="691" y="155"/>
                      <a:pt x="692" y="154"/>
                    </a:cubicBezTo>
                    <a:cubicBezTo>
                      <a:pt x="692" y="154"/>
                      <a:pt x="695" y="155"/>
                      <a:pt x="695" y="154"/>
                    </a:cubicBezTo>
                    <a:cubicBezTo>
                      <a:pt x="696" y="153"/>
                      <a:pt x="695" y="150"/>
                      <a:pt x="695" y="149"/>
                    </a:cubicBezTo>
                    <a:cubicBezTo>
                      <a:pt x="697" y="149"/>
                      <a:pt x="699" y="149"/>
                      <a:pt x="701" y="149"/>
                    </a:cubicBezTo>
                    <a:cubicBezTo>
                      <a:pt x="699" y="143"/>
                      <a:pt x="707" y="137"/>
                      <a:pt x="701" y="134"/>
                    </a:cubicBezTo>
                    <a:cubicBezTo>
                      <a:pt x="701" y="132"/>
                      <a:pt x="705" y="132"/>
                      <a:pt x="705" y="130"/>
                    </a:cubicBezTo>
                    <a:cubicBezTo>
                      <a:pt x="705" y="128"/>
                      <a:pt x="702" y="128"/>
                      <a:pt x="701" y="128"/>
                    </a:cubicBezTo>
                    <a:cubicBezTo>
                      <a:pt x="701" y="124"/>
                      <a:pt x="707" y="127"/>
                      <a:pt x="710" y="126"/>
                    </a:cubicBezTo>
                    <a:cubicBezTo>
                      <a:pt x="708" y="124"/>
                      <a:pt x="710" y="119"/>
                      <a:pt x="705" y="121"/>
                    </a:cubicBezTo>
                    <a:cubicBezTo>
                      <a:pt x="700" y="123"/>
                      <a:pt x="698" y="116"/>
                      <a:pt x="697" y="121"/>
                    </a:cubicBezTo>
                    <a:cubicBezTo>
                      <a:pt x="694" y="117"/>
                      <a:pt x="694" y="113"/>
                      <a:pt x="695" y="109"/>
                    </a:cubicBezTo>
                    <a:cubicBezTo>
                      <a:pt x="695" y="109"/>
                      <a:pt x="699" y="110"/>
                      <a:pt x="699" y="109"/>
                    </a:cubicBezTo>
                    <a:cubicBezTo>
                      <a:pt x="701" y="108"/>
                      <a:pt x="698" y="102"/>
                      <a:pt x="699" y="100"/>
                    </a:cubicBezTo>
                    <a:cubicBezTo>
                      <a:pt x="699" y="97"/>
                      <a:pt x="697" y="100"/>
                      <a:pt x="697" y="100"/>
                    </a:cubicBezTo>
                    <a:cubicBezTo>
                      <a:pt x="693" y="97"/>
                      <a:pt x="696" y="93"/>
                      <a:pt x="693" y="89"/>
                    </a:cubicBezTo>
                    <a:cubicBezTo>
                      <a:pt x="701" y="91"/>
                      <a:pt x="698" y="84"/>
                      <a:pt x="703" y="83"/>
                    </a:cubicBezTo>
                    <a:cubicBezTo>
                      <a:pt x="703" y="80"/>
                      <a:pt x="703" y="77"/>
                      <a:pt x="703" y="74"/>
                    </a:cubicBezTo>
                    <a:cubicBezTo>
                      <a:pt x="709" y="72"/>
                      <a:pt x="706" y="80"/>
                      <a:pt x="706" y="83"/>
                    </a:cubicBezTo>
                    <a:cubicBezTo>
                      <a:pt x="707" y="86"/>
                      <a:pt x="710" y="82"/>
                      <a:pt x="710" y="85"/>
                    </a:cubicBezTo>
                    <a:cubicBezTo>
                      <a:pt x="710" y="86"/>
                      <a:pt x="708" y="88"/>
                      <a:pt x="708" y="87"/>
                    </a:cubicBezTo>
                    <a:cubicBezTo>
                      <a:pt x="710" y="92"/>
                      <a:pt x="714" y="93"/>
                      <a:pt x="719" y="96"/>
                    </a:cubicBezTo>
                    <a:cubicBezTo>
                      <a:pt x="723" y="97"/>
                      <a:pt x="719" y="91"/>
                      <a:pt x="718" y="91"/>
                    </a:cubicBezTo>
                    <a:cubicBezTo>
                      <a:pt x="720" y="88"/>
                      <a:pt x="726" y="88"/>
                      <a:pt x="731" y="87"/>
                    </a:cubicBezTo>
                    <a:cubicBezTo>
                      <a:pt x="730" y="85"/>
                      <a:pt x="727" y="85"/>
                      <a:pt x="725" y="85"/>
                    </a:cubicBezTo>
                    <a:cubicBezTo>
                      <a:pt x="727" y="80"/>
                      <a:pt x="722" y="80"/>
                      <a:pt x="723" y="76"/>
                    </a:cubicBezTo>
                    <a:cubicBezTo>
                      <a:pt x="725" y="80"/>
                      <a:pt x="736" y="74"/>
                      <a:pt x="734" y="81"/>
                    </a:cubicBezTo>
                    <a:cubicBezTo>
                      <a:pt x="736" y="83"/>
                      <a:pt x="738" y="80"/>
                      <a:pt x="738" y="80"/>
                    </a:cubicBezTo>
                    <a:cubicBezTo>
                      <a:pt x="741" y="80"/>
                      <a:pt x="739" y="82"/>
                      <a:pt x="740" y="83"/>
                    </a:cubicBezTo>
                    <a:cubicBezTo>
                      <a:pt x="741" y="84"/>
                      <a:pt x="743" y="83"/>
                      <a:pt x="744" y="83"/>
                    </a:cubicBezTo>
                    <a:cubicBezTo>
                      <a:pt x="747" y="87"/>
                      <a:pt x="754" y="83"/>
                      <a:pt x="749" y="89"/>
                    </a:cubicBezTo>
                    <a:cubicBezTo>
                      <a:pt x="752" y="89"/>
                      <a:pt x="756" y="89"/>
                      <a:pt x="759" y="89"/>
                    </a:cubicBezTo>
                    <a:cubicBezTo>
                      <a:pt x="759" y="87"/>
                      <a:pt x="751" y="85"/>
                      <a:pt x="757" y="83"/>
                    </a:cubicBezTo>
                    <a:cubicBezTo>
                      <a:pt x="755" y="82"/>
                      <a:pt x="753" y="81"/>
                      <a:pt x="751" y="80"/>
                    </a:cubicBezTo>
                    <a:cubicBezTo>
                      <a:pt x="750" y="70"/>
                      <a:pt x="751" y="70"/>
                      <a:pt x="751" y="59"/>
                    </a:cubicBezTo>
                    <a:cubicBezTo>
                      <a:pt x="761" y="58"/>
                      <a:pt x="775" y="61"/>
                      <a:pt x="783" y="59"/>
                    </a:cubicBezTo>
                    <a:cubicBezTo>
                      <a:pt x="786" y="58"/>
                      <a:pt x="784" y="53"/>
                      <a:pt x="788" y="57"/>
                    </a:cubicBezTo>
                    <a:cubicBezTo>
                      <a:pt x="794" y="53"/>
                      <a:pt x="790" y="50"/>
                      <a:pt x="792" y="44"/>
                    </a:cubicBezTo>
                    <a:cubicBezTo>
                      <a:pt x="797" y="45"/>
                      <a:pt x="799" y="44"/>
                      <a:pt x="801" y="42"/>
                    </a:cubicBezTo>
                    <a:cubicBezTo>
                      <a:pt x="804" y="38"/>
                      <a:pt x="809" y="37"/>
                      <a:pt x="813" y="33"/>
                    </a:cubicBezTo>
                    <a:cubicBezTo>
                      <a:pt x="832" y="30"/>
                      <a:pt x="851" y="28"/>
                      <a:pt x="867" y="22"/>
                    </a:cubicBezTo>
                    <a:cubicBezTo>
                      <a:pt x="870" y="19"/>
                      <a:pt x="870" y="26"/>
                      <a:pt x="870" y="26"/>
                    </a:cubicBezTo>
                    <a:cubicBezTo>
                      <a:pt x="871" y="25"/>
                      <a:pt x="874" y="21"/>
                      <a:pt x="872" y="20"/>
                    </a:cubicBezTo>
                    <a:cubicBezTo>
                      <a:pt x="875" y="21"/>
                      <a:pt x="872" y="23"/>
                      <a:pt x="874" y="26"/>
                    </a:cubicBezTo>
                    <a:cubicBezTo>
                      <a:pt x="875" y="26"/>
                      <a:pt x="879" y="25"/>
                      <a:pt x="878" y="27"/>
                    </a:cubicBezTo>
                    <a:cubicBezTo>
                      <a:pt x="881" y="26"/>
                      <a:pt x="876" y="25"/>
                      <a:pt x="880" y="24"/>
                    </a:cubicBezTo>
                    <a:cubicBezTo>
                      <a:pt x="883" y="23"/>
                      <a:pt x="889" y="24"/>
                      <a:pt x="889" y="18"/>
                    </a:cubicBezTo>
                    <a:cubicBezTo>
                      <a:pt x="893" y="19"/>
                      <a:pt x="895" y="18"/>
                      <a:pt x="895" y="14"/>
                    </a:cubicBezTo>
                    <a:cubicBezTo>
                      <a:pt x="897" y="15"/>
                      <a:pt x="898" y="18"/>
                      <a:pt x="900" y="18"/>
                    </a:cubicBezTo>
                    <a:cubicBezTo>
                      <a:pt x="905" y="18"/>
                      <a:pt x="904" y="12"/>
                      <a:pt x="904" y="7"/>
                    </a:cubicBezTo>
                    <a:cubicBezTo>
                      <a:pt x="913" y="4"/>
                      <a:pt x="922" y="0"/>
                      <a:pt x="936" y="1"/>
                    </a:cubicBezTo>
                    <a:cubicBezTo>
                      <a:pt x="934" y="3"/>
                      <a:pt x="934" y="6"/>
                      <a:pt x="934" y="9"/>
                    </a:cubicBezTo>
                    <a:cubicBezTo>
                      <a:pt x="937" y="13"/>
                      <a:pt x="945" y="13"/>
                      <a:pt x="949" y="9"/>
                    </a:cubicBezTo>
                    <a:cubicBezTo>
                      <a:pt x="951" y="9"/>
                      <a:pt x="950" y="11"/>
                      <a:pt x="949" y="11"/>
                    </a:cubicBezTo>
                    <a:close/>
                    <a:moveTo>
                      <a:pt x="1396" y="238"/>
                    </a:moveTo>
                    <a:cubicBezTo>
                      <a:pt x="1396" y="236"/>
                      <a:pt x="1393" y="236"/>
                      <a:pt x="1392" y="234"/>
                    </a:cubicBezTo>
                    <a:cubicBezTo>
                      <a:pt x="1386" y="233"/>
                      <a:pt x="1386" y="238"/>
                      <a:pt x="1392" y="236"/>
                    </a:cubicBezTo>
                    <a:cubicBezTo>
                      <a:pt x="1393" y="238"/>
                      <a:pt x="1394" y="238"/>
                      <a:pt x="1396" y="238"/>
                    </a:cubicBezTo>
                    <a:close/>
                    <a:moveTo>
                      <a:pt x="403" y="378"/>
                    </a:moveTo>
                    <a:cubicBezTo>
                      <a:pt x="401" y="384"/>
                      <a:pt x="409" y="380"/>
                      <a:pt x="406" y="387"/>
                    </a:cubicBezTo>
                    <a:cubicBezTo>
                      <a:pt x="410" y="388"/>
                      <a:pt x="411" y="384"/>
                      <a:pt x="412" y="387"/>
                    </a:cubicBezTo>
                    <a:cubicBezTo>
                      <a:pt x="412" y="389"/>
                      <a:pt x="411" y="389"/>
                      <a:pt x="410" y="389"/>
                    </a:cubicBezTo>
                    <a:cubicBezTo>
                      <a:pt x="407" y="390"/>
                      <a:pt x="399" y="393"/>
                      <a:pt x="397" y="393"/>
                    </a:cubicBezTo>
                    <a:cubicBezTo>
                      <a:pt x="392" y="392"/>
                      <a:pt x="391" y="388"/>
                      <a:pt x="388" y="385"/>
                    </a:cubicBezTo>
                    <a:cubicBezTo>
                      <a:pt x="388" y="382"/>
                      <a:pt x="393" y="384"/>
                      <a:pt x="393" y="382"/>
                    </a:cubicBezTo>
                    <a:cubicBezTo>
                      <a:pt x="389" y="378"/>
                      <a:pt x="388" y="377"/>
                      <a:pt x="382" y="380"/>
                    </a:cubicBezTo>
                    <a:cubicBezTo>
                      <a:pt x="380" y="376"/>
                      <a:pt x="379" y="373"/>
                      <a:pt x="373" y="374"/>
                    </a:cubicBezTo>
                    <a:cubicBezTo>
                      <a:pt x="370" y="374"/>
                      <a:pt x="372" y="377"/>
                      <a:pt x="371" y="378"/>
                    </a:cubicBezTo>
                    <a:cubicBezTo>
                      <a:pt x="370" y="379"/>
                      <a:pt x="367" y="379"/>
                      <a:pt x="365" y="380"/>
                    </a:cubicBezTo>
                    <a:cubicBezTo>
                      <a:pt x="363" y="381"/>
                      <a:pt x="362" y="387"/>
                      <a:pt x="358" y="385"/>
                    </a:cubicBezTo>
                    <a:cubicBezTo>
                      <a:pt x="360" y="392"/>
                      <a:pt x="354" y="394"/>
                      <a:pt x="354" y="395"/>
                    </a:cubicBezTo>
                    <a:cubicBezTo>
                      <a:pt x="353" y="399"/>
                      <a:pt x="354" y="403"/>
                      <a:pt x="352" y="408"/>
                    </a:cubicBezTo>
                    <a:cubicBezTo>
                      <a:pt x="350" y="408"/>
                      <a:pt x="350" y="406"/>
                      <a:pt x="349" y="406"/>
                    </a:cubicBezTo>
                    <a:cubicBezTo>
                      <a:pt x="347" y="412"/>
                      <a:pt x="353" y="415"/>
                      <a:pt x="349" y="419"/>
                    </a:cubicBezTo>
                    <a:cubicBezTo>
                      <a:pt x="352" y="417"/>
                      <a:pt x="351" y="422"/>
                      <a:pt x="352" y="423"/>
                    </a:cubicBezTo>
                    <a:cubicBezTo>
                      <a:pt x="353" y="423"/>
                      <a:pt x="355" y="422"/>
                      <a:pt x="356" y="423"/>
                    </a:cubicBezTo>
                    <a:cubicBezTo>
                      <a:pt x="360" y="424"/>
                      <a:pt x="361" y="427"/>
                      <a:pt x="363" y="424"/>
                    </a:cubicBezTo>
                    <a:cubicBezTo>
                      <a:pt x="364" y="424"/>
                      <a:pt x="367" y="425"/>
                      <a:pt x="367" y="424"/>
                    </a:cubicBezTo>
                    <a:cubicBezTo>
                      <a:pt x="374" y="424"/>
                      <a:pt x="372" y="423"/>
                      <a:pt x="375" y="421"/>
                    </a:cubicBezTo>
                    <a:cubicBezTo>
                      <a:pt x="378" y="420"/>
                      <a:pt x="379" y="423"/>
                      <a:pt x="382" y="423"/>
                    </a:cubicBezTo>
                    <a:cubicBezTo>
                      <a:pt x="382" y="421"/>
                      <a:pt x="382" y="419"/>
                      <a:pt x="384" y="419"/>
                    </a:cubicBezTo>
                    <a:cubicBezTo>
                      <a:pt x="388" y="418"/>
                      <a:pt x="397" y="418"/>
                      <a:pt x="401" y="419"/>
                    </a:cubicBezTo>
                    <a:cubicBezTo>
                      <a:pt x="404" y="420"/>
                      <a:pt x="405" y="422"/>
                      <a:pt x="408" y="423"/>
                    </a:cubicBezTo>
                    <a:cubicBezTo>
                      <a:pt x="410" y="423"/>
                      <a:pt x="410" y="421"/>
                      <a:pt x="412" y="421"/>
                    </a:cubicBezTo>
                    <a:cubicBezTo>
                      <a:pt x="411" y="421"/>
                      <a:pt x="413" y="422"/>
                      <a:pt x="414" y="423"/>
                    </a:cubicBezTo>
                    <a:cubicBezTo>
                      <a:pt x="419" y="424"/>
                      <a:pt x="419" y="424"/>
                      <a:pt x="423" y="424"/>
                    </a:cubicBezTo>
                    <a:cubicBezTo>
                      <a:pt x="431" y="425"/>
                      <a:pt x="441" y="423"/>
                      <a:pt x="449" y="424"/>
                    </a:cubicBezTo>
                    <a:cubicBezTo>
                      <a:pt x="449" y="420"/>
                      <a:pt x="449" y="417"/>
                      <a:pt x="451" y="415"/>
                    </a:cubicBezTo>
                    <a:cubicBezTo>
                      <a:pt x="445" y="407"/>
                      <a:pt x="439" y="398"/>
                      <a:pt x="427" y="396"/>
                    </a:cubicBezTo>
                    <a:cubicBezTo>
                      <a:pt x="427" y="393"/>
                      <a:pt x="424" y="393"/>
                      <a:pt x="423" y="391"/>
                    </a:cubicBezTo>
                    <a:cubicBezTo>
                      <a:pt x="423" y="388"/>
                      <a:pt x="422" y="387"/>
                      <a:pt x="421" y="385"/>
                    </a:cubicBezTo>
                    <a:cubicBezTo>
                      <a:pt x="422" y="380"/>
                      <a:pt x="428" y="379"/>
                      <a:pt x="427" y="372"/>
                    </a:cubicBezTo>
                    <a:cubicBezTo>
                      <a:pt x="416" y="371"/>
                      <a:pt x="411" y="376"/>
                      <a:pt x="403" y="378"/>
                    </a:cubicBezTo>
                    <a:close/>
                    <a:moveTo>
                      <a:pt x="531" y="464"/>
                    </a:moveTo>
                    <a:cubicBezTo>
                      <a:pt x="529" y="464"/>
                      <a:pt x="526" y="464"/>
                      <a:pt x="529" y="465"/>
                    </a:cubicBezTo>
                    <a:cubicBezTo>
                      <a:pt x="532" y="463"/>
                      <a:pt x="539" y="463"/>
                      <a:pt x="542" y="462"/>
                    </a:cubicBezTo>
                    <a:cubicBezTo>
                      <a:pt x="543" y="462"/>
                      <a:pt x="542" y="458"/>
                      <a:pt x="542" y="458"/>
                    </a:cubicBezTo>
                    <a:cubicBezTo>
                      <a:pt x="543" y="457"/>
                      <a:pt x="545" y="460"/>
                      <a:pt x="546" y="460"/>
                    </a:cubicBezTo>
                    <a:cubicBezTo>
                      <a:pt x="546" y="456"/>
                      <a:pt x="546" y="451"/>
                      <a:pt x="546" y="447"/>
                    </a:cubicBezTo>
                    <a:cubicBezTo>
                      <a:pt x="544" y="444"/>
                      <a:pt x="542" y="443"/>
                      <a:pt x="541" y="441"/>
                    </a:cubicBezTo>
                    <a:cubicBezTo>
                      <a:pt x="540" y="440"/>
                      <a:pt x="541" y="438"/>
                      <a:pt x="541" y="438"/>
                    </a:cubicBezTo>
                    <a:cubicBezTo>
                      <a:pt x="540" y="435"/>
                      <a:pt x="534" y="433"/>
                      <a:pt x="539" y="432"/>
                    </a:cubicBezTo>
                    <a:cubicBezTo>
                      <a:pt x="542" y="432"/>
                      <a:pt x="546" y="432"/>
                      <a:pt x="550" y="432"/>
                    </a:cubicBezTo>
                    <a:cubicBezTo>
                      <a:pt x="551" y="425"/>
                      <a:pt x="546" y="425"/>
                      <a:pt x="546" y="423"/>
                    </a:cubicBezTo>
                    <a:cubicBezTo>
                      <a:pt x="546" y="419"/>
                      <a:pt x="542" y="419"/>
                      <a:pt x="541" y="417"/>
                    </a:cubicBezTo>
                    <a:cubicBezTo>
                      <a:pt x="541" y="417"/>
                      <a:pt x="544" y="415"/>
                      <a:pt x="542" y="413"/>
                    </a:cubicBezTo>
                    <a:cubicBezTo>
                      <a:pt x="537" y="415"/>
                      <a:pt x="536" y="411"/>
                      <a:pt x="531" y="411"/>
                    </a:cubicBezTo>
                    <a:cubicBezTo>
                      <a:pt x="533" y="401"/>
                      <a:pt x="520" y="404"/>
                      <a:pt x="520" y="395"/>
                    </a:cubicBezTo>
                    <a:cubicBezTo>
                      <a:pt x="525" y="391"/>
                      <a:pt x="528" y="385"/>
                      <a:pt x="539" y="387"/>
                    </a:cubicBezTo>
                    <a:cubicBezTo>
                      <a:pt x="539" y="386"/>
                      <a:pt x="539" y="384"/>
                      <a:pt x="541" y="383"/>
                    </a:cubicBezTo>
                    <a:cubicBezTo>
                      <a:pt x="541" y="378"/>
                      <a:pt x="535" y="379"/>
                      <a:pt x="535" y="374"/>
                    </a:cubicBezTo>
                    <a:cubicBezTo>
                      <a:pt x="526" y="373"/>
                      <a:pt x="522" y="377"/>
                      <a:pt x="516" y="374"/>
                    </a:cubicBezTo>
                    <a:cubicBezTo>
                      <a:pt x="516" y="377"/>
                      <a:pt x="516" y="378"/>
                      <a:pt x="514" y="376"/>
                    </a:cubicBezTo>
                    <a:cubicBezTo>
                      <a:pt x="513" y="375"/>
                      <a:pt x="512" y="378"/>
                      <a:pt x="513" y="378"/>
                    </a:cubicBezTo>
                    <a:cubicBezTo>
                      <a:pt x="508" y="380"/>
                      <a:pt x="502" y="383"/>
                      <a:pt x="500" y="383"/>
                    </a:cubicBezTo>
                    <a:cubicBezTo>
                      <a:pt x="494" y="385"/>
                      <a:pt x="496" y="386"/>
                      <a:pt x="494" y="389"/>
                    </a:cubicBezTo>
                    <a:cubicBezTo>
                      <a:pt x="493" y="390"/>
                      <a:pt x="491" y="388"/>
                      <a:pt x="490" y="389"/>
                    </a:cubicBezTo>
                    <a:cubicBezTo>
                      <a:pt x="489" y="390"/>
                      <a:pt x="491" y="394"/>
                      <a:pt x="490" y="395"/>
                    </a:cubicBezTo>
                    <a:cubicBezTo>
                      <a:pt x="491" y="399"/>
                      <a:pt x="495" y="392"/>
                      <a:pt x="496" y="398"/>
                    </a:cubicBezTo>
                    <a:cubicBezTo>
                      <a:pt x="496" y="400"/>
                      <a:pt x="497" y="401"/>
                      <a:pt x="498" y="402"/>
                    </a:cubicBezTo>
                    <a:cubicBezTo>
                      <a:pt x="496" y="408"/>
                      <a:pt x="499" y="412"/>
                      <a:pt x="500" y="413"/>
                    </a:cubicBezTo>
                    <a:cubicBezTo>
                      <a:pt x="500" y="416"/>
                      <a:pt x="500" y="416"/>
                      <a:pt x="501" y="417"/>
                    </a:cubicBezTo>
                    <a:cubicBezTo>
                      <a:pt x="502" y="417"/>
                      <a:pt x="503" y="423"/>
                      <a:pt x="503" y="423"/>
                    </a:cubicBezTo>
                    <a:cubicBezTo>
                      <a:pt x="505" y="428"/>
                      <a:pt x="505" y="427"/>
                      <a:pt x="507" y="430"/>
                    </a:cubicBezTo>
                    <a:cubicBezTo>
                      <a:pt x="508" y="432"/>
                      <a:pt x="506" y="434"/>
                      <a:pt x="507" y="436"/>
                    </a:cubicBezTo>
                    <a:cubicBezTo>
                      <a:pt x="508" y="437"/>
                      <a:pt x="512" y="438"/>
                      <a:pt x="511" y="441"/>
                    </a:cubicBezTo>
                    <a:cubicBezTo>
                      <a:pt x="504" y="439"/>
                      <a:pt x="509" y="449"/>
                      <a:pt x="505" y="451"/>
                    </a:cubicBezTo>
                    <a:cubicBezTo>
                      <a:pt x="513" y="452"/>
                      <a:pt x="513" y="463"/>
                      <a:pt x="522" y="458"/>
                    </a:cubicBezTo>
                    <a:cubicBezTo>
                      <a:pt x="515" y="465"/>
                      <a:pt x="531" y="459"/>
                      <a:pt x="531" y="464"/>
                    </a:cubicBezTo>
                    <a:close/>
                    <a:moveTo>
                      <a:pt x="587" y="378"/>
                    </a:moveTo>
                    <a:cubicBezTo>
                      <a:pt x="586" y="379"/>
                      <a:pt x="587" y="382"/>
                      <a:pt x="585" y="383"/>
                    </a:cubicBezTo>
                    <a:cubicBezTo>
                      <a:pt x="584" y="385"/>
                      <a:pt x="580" y="385"/>
                      <a:pt x="580" y="387"/>
                    </a:cubicBezTo>
                    <a:cubicBezTo>
                      <a:pt x="581" y="389"/>
                      <a:pt x="585" y="392"/>
                      <a:pt x="585" y="395"/>
                    </a:cubicBezTo>
                    <a:cubicBezTo>
                      <a:pt x="585" y="395"/>
                      <a:pt x="582" y="395"/>
                      <a:pt x="583" y="396"/>
                    </a:cubicBezTo>
                    <a:cubicBezTo>
                      <a:pt x="585" y="398"/>
                      <a:pt x="589" y="397"/>
                      <a:pt x="591" y="400"/>
                    </a:cubicBezTo>
                    <a:cubicBezTo>
                      <a:pt x="591" y="398"/>
                      <a:pt x="593" y="397"/>
                      <a:pt x="595" y="396"/>
                    </a:cubicBezTo>
                    <a:cubicBezTo>
                      <a:pt x="596" y="391"/>
                      <a:pt x="592" y="391"/>
                      <a:pt x="591" y="387"/>
                    </a:cubicBezTo>
                    <a:cubicBezTo>
                      <a:pt x="594" y="386"/>
                      <a:pt x="597" y="384"/>
                      <a:pt x="596" y="380"/>
                    </a:cubicBezTo>
                    <a:cubicBezTo>
                      <a:pt x="593" y="380"/>
                      <a:pt x="592" y="378"/>
                      <a:pt x="595" y="376"/>
                    </a:cubicBezTo>
                    <a:cubicBezTo>
                      <a:pt x="592" y="377"/>
                      <a:pt x="589" y="376"/>
                      <a:pt x="587" y="378"/>
                    </a:cubicBezTo>
                    <a:close/>
                    <a:moveTo>
                      <a:pt x="343" y="428"/>
                    </a:moveTo>
                    <a:cubicBezTo>
                      <a:pt x="342" y="436"/>
                      <a:pt x="356" y="431"/>
                      <a:pt x="356" y="428"/>
                    </a:cubicBezTo>
                    <a:cubicBezTo>
                      <a:pt x="351" y="426"/>
                      <a:pt x="348" y="426"/>
                      <a:pt x="343" y="428"/>
                    </a:cubicBezTo>
                    <a:close/>
                    <a:moveTo>
                      <a:pt x="386" y="775"/>
                    </a:moveTo>
                    <a:cubicBezTo>
                      <a:pt x="388" y="768"/>
                      <a:pt x="399" y="768"/>
                      <a:pt x="397" y="756"/>
                    </a:cubicBezTo>
                    <a:cubicBezTo>
                      <a:pt x="392" y="761"/>
                      <a:pt x="382" y="752"/>
                      <a:pt x="377" y="758"/>
                    </a:cubicBezTo>
                    <a:cubicBezTo>
                      <a:pt x="385" y="759"/>
                      <a:pt x="375" y="760"/>
                      <a:pt x="375" y="762"/>
                    </a:cubicBezTo>
                    <a:cubicBezTo>
                      <a:pt x="375" y="760"/>
                      <a:pt x="377" y="766"/>
                      <a:pt x="377" y="767"/>
                    </a:cubicBezTo>
                    <a:cubicBezTo>
                      <a:pt x="377" y="770"/>
                      <a:pt x="377" y="773"/>
                      <a:pt x="375" y="773"/>
                    </a:cubicBezTo>
                    <a:cubicBezTo>
                      <a:pt x="375" y="772"/>
                      <a:pt x="373" y="771"/>
                      <a:pt x="373" y="773"/>
                    </a:cubicBezTo>
                    <a:cubicBezTo>
                      <a:pt x="375" y="776"/>
                      <a:pt x="381" y="775"/>
                      <a:pt x="386" y="77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4" name="任意多边形: 形状 113">
                <a:extLst>
                  <a:ext uri="{FF2B5EF4-FFF2-40B4-BE49-F238E27FC236}">
                    <a16:creationId xmlns:a16="http://schemas.microsoft.com/office/drawing/2014/main" id="{55FCB03A-3A86-4EBC-9874-4E4AA86CA67B}"/>
                  </a:ext>
                </a:extLst>
              </p:cNvPr>
              <p:cNvSpPr/>
              <p:nvPr/>
            </p:nvSpPr>
            <p:spPr bwMode="auto">
              <a:xfrm>
                <a:off x="4137528" y="707649"/>
                <a:ext cx="47627" cy="25214"/>
              </a:xfrm>
              <a:custGeom>
                <a:avLst/>
                <a:gdLst>
                  <a:gd name="T0" fmla="*/ 16 w 23"/>
                  <a:gd name="T1" fmla="*/ 0 h 12"/>
                  <a:gd name="T2" fmla="*/ 20 w 23"/>
                  <a:gd name="T3" fmla="*/ 11 h 12"/>
                  <a:gd name="T4" fmla="*/ 0 w 23"/>
                  <a:gd name="T5" fmla="*/ 6 h 12"/>
                  <a:gd name="T6" fmla="*/ 16 w 23"/>
                  <a:gd name="T7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3" h="12">
                    <a:moveTo>
                      <a:pt x="16" y="0"/>
                    </a:moveTo>
                    <a:cubicBezTo>
                      <a:pt x="16" y="5"/>
                      <a:pt x="23" y="4"/>
                      <a:pt x="20" y="11"/>
                    </a:cubicBezTo>
                    <a:cubicBezTo>
                      <a:pt x="10" y="12"/>
                      <a:pt x="4" y="10"/>
                      <a:pt x="0" y="6"/>
                    </a:cubicBezTo>
                    <a:cubicBezTo>
                      <a:pt x="3" y="1"/>
                      <a:pt x="10" y="1"/>
                      <a:pt x="16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5" name="任意多边形: 形状 114">
                <a:extLst>
                  <a:ext uri="{FF2B5EF4-FFF2-40B4-BE49-F238E27FC236}">
                    <a16:creationId xmlns:a16="http://schemas.microsoft.com/office/drawing/2014/main" id="{FE3BB5B5-03D9-4A86-99EF-0B02FFB76B8C}"/>
                  </a:ext>
                </a:extLst>
              </p:cNvPr>
              <p:cNvSpPr/>
              <p:nvPr/>
            </p:nvSpPr>
            <p:spPr bwMode="auto">
              <a:xfrm>
                <a:off x="4234180" y="755276"/>
                <a:ext cx="466461" cy="326383"/>
              </a:xfrm>
              <a:custGeom>
                <a:avLst/>
                <a:gdLst>
                  <a:gd name="T0" fmla="*/ 22 w 224"/>
                  <a:gd name="T1" fmla="*/ 9 h 157"/>
                  <a:gd name="T2" fmla="*/ 29 w 224"/>
                  <a:gd name="T3" fmla="*/ 7 h 157"/>
                  <a:gd name="T4" fmla="*/ 29 w 224"/>
                  <a:gd name="T5" fmla="*/ 11 h 157"/>
                  <a:gd name="T6" fmla="*/ 29 w 224"/>
                  <a:gd name="T7" fmla="*/ 18 h 157"/>
                  <a:gd name="T8" fmla="*/ 35 w 224"/>
                  <a:gd name="T9" fmla="*/ 33 h 157"/>
                  <a:gd name="T10" fmla="*/ 48 w 224"/>
                  <a:gd name="T11" fmla="*/ 9 h 157"/>
                  <a:gd name="T12" fmla="*/ 65 w 224"/>
                  <a:gd name="T13" fmla="*/ 7 h 157"/>
                  <a:gd name="T14" fmla="*/ 76 w 224"/>
                  <a:gd name="T15" fmla="*/ 25 h 157"/>
                  <a:gd name="T16" fmla="*/ 89 w 224"/>
                  <a:gd name="T17" fmla="*/ 22 h 157"/>
                  <a:gd name="T18" fmla="*/ 107 w 224"/>
                  <a:gd name="T19" fmla="*/ 20 h 157"/>
                  <a:gd name="T20" fmla="*/ 115 w 224"/>
                  <a:gd name="T21" fmla="*/ 27 h 157"/>
                  <a:gd name="T22" fmla="*/ 122 w 224"/>
                  <a:gd name="T23" fmla="*/ 31 h 157"/>
                  <a:gd name="T24" fmla="*/ 126 w 224"/>
                  <a:gd name="T25" fmla="*/ 33 h 157"/>
                  <a:gd name="T26" fmla="*/ 143 w 224"/>
                  <a:gd name="T27" fmla="*/ 37 h 157"/>
                  <a:gd name="T28" fmla="*/ 158 w 224"/>
                  <a:gd name="T29" fmla="*/ 44 h 157"/>
                  <a:gd name="T30" fmla="*/ 163 w 224"/>
                  <a:gd name="T31" fmla="*/ 50 h 157"/>
                  <a:gd name="T32" fmla="*/ 174 w 224"/>
                  <a:gd name="T33" fmla="*/ 59 h 157"/>
                  <a:gd name="T34" fmla="*/ 167 w 224"/>
                  <a:gd name="T35" fmla="*/ 74 h 157"/>
                  <a:gd name="T36" fmla="*/ 184 w 224"/>
                  <a:gd name="T37" fmla="*/ 76 h 157"/>
                  <a:gd name="T38" fmla="*/ 188 w 224"/>
                  <a:gd name="T39" fmla="*/ 85 h 157"/>
                  <a:gd name="T40" fmla="*/ 202 w 224"/>
                  <a:gd name="T41" fmla="*/ 87 h 157"/>
                  <a:gd name="T42" fmla="*/ 212 w 224"/>
                  <a:gd name="T43" fmla="*/ 96 h 157"/>
                  <a:gd name="T44" fmla="*/ 216 w 224"/>
                  <a:gd name="T45" fmla="*/ 104 h 157"/>
                  <a:gd name="T46" fmla="*/ 206 w 224"/>
                  <a:gd name="T47" fmla="*/ 117 h 157"/>
                  <a:gd name="T48" fmla="*/ 193 w 224"/>
                  <a:gd name="T49" fmla="*/ 115 h 157"/>
                  <a:gd name="T50" fmla="*/ 182 w 224"/>
                  <a:gd name="T51" fmla="*/ 104 h 157"/>
                  <a:gd name="T52" fmla="*/ 173 w 224"/>
                  <a:gd name="T53" fmla="*/ 113 h 157"/>
                  <a:gd name="T54" fmla="*/ 186 w 224"/>
                  <a:gd name="T55" fmla="*/ 121 h 157"/>
                  <a:gd name="T56" fmla="*/ 193 w 224"/>
                  <a:gd name="T57" fmla="*/ 134 h 157"/>
                  <a:gd name="T58" fmla="*/ 188 w 224"/>
                  <a:gd name="T59" fmla="*/ 147 h 157"/>
                  <a:gd name="T60" fmla="*/ 163 w 224"/>
                  <a:gd name="T61" fmla="*/ 137 h 157"/>
                  <a:gd name="T62" fmla="*/ 171 w 224"/>
                  <a:gd name="T63" fmla="*/ 147 h 157"/>
                  <a:gd name="T64" fmla="*/ 180 w 224"/>
                  <a:gd name="T65" fmla="*/ 152 h 157"/>
                  <a:gd name="T66" fmla="*/ 171 w 224"/>
                  <a:gd name="T67" fmla="*/ 152 h 157"/>
                  <a:gd name="T68" fmla="*/ 150 w 224"/>
                  <a:gd name="T69" fmla="*/ 145 h 157"/>
                  <a:gd name="T70" fmla="*/ 139 w 224"/>
                  <a:gd name="T71" fmla="*/ 139 h 157"/>
                  <a:gd name="T72" fmla="*/ 133 w 224"/>
                  <a:gd name="T73" fmla="*/ 130 h 157"/>
                  <a:gd name="T74" fmla="*/ 122 w 224"/>
                  <a:gd name="T75" fmla="*/ 109 h 157"/>
                  <a:gd name="T76" fmla="*/ 124 w 224"/>
                  <a:gd name="T77" fmla="*/ 104 h 157"/>
                  <a:gd name="T78" fmla="*/ 128 w 224"/>
                  <a:gd name="T79" fmla="*/ 96 h 157"/>
                  <a:gd name="T80" fmla="*/ 133 w 224"/>
                  <a:gd name="T81" fmla="*/ 87 h 157"/>
                  <a:gd name="T82" fmla="*/ 128 w 224"/>
                  <a:gd name="T83" fmla="*/ 76 h 157"/>
                  <a:gd name="T84" fmla="*/ 120 w 224"/>
                  <a:gd name="T85" fmla="*/ 70 h 157"/>
                  <a:gd name="T86" fmla="*/ 115 w 224"/>
                  <a:gd name="T87" fmla="*/ 70 h 157"/>
                  <a:gd name="T88" fmla="*/ 107 w 224"/>
                  <a:gd name="T89" fmla="*/ 68 h 157"/>
                  <a:gd name="T90" fmla="*/ 92 w 224"/>
                  <a:gd name="T91" fmla="*/ 52 h 157"/>
                  <a:gd name="T92" fmla="*/ 78 w 224"/>
                  <a:gd name="T93" fmla="*/ 55 h 157"/>
                  <a:gd name="T94" fmla="*/ 65 w 224"/>
                  <a:gd name="T95" fmla="*/ 55 h 157"/>
                  <a:gd name="T96" fmla="*/ 50 w 224"/>
                  <a:gd name="T97" fmla="*/ 55 h 157"/>
                  <a:gd name="T98" fmla="*/ 22 w 224"/>
                  <a:gd name="T99" fmla="*/ 50 h 157"/>
                  <a:gd name="T100" fmla="*/ 9 w 224"/>
                  <a:gd name="T101" fmla="*/ 42 h 157"/>
                  <a:gd name="T102" fmla="*/ 5 w 224"/>
                  <a:gd name="T103" fmla="*/ 33 h 157"/>
                  <a:gd name="T104" fmla="*/ 7 w 224"/>
                  <a:gd name="T105" fmla="*/ 25 h 157"/>
                  <a:gd name="T106" fmla="*/ 145 w 224"/>
                  <a:gd name="T107" fmla="*/ 107 h 157"/>
                  <a:gd name="T108" fmla="*/ 154 w 224"/>
                  <a:gd name="T109" fmla="*/ 100 h 157"/>
                  <a:gd name="T110" fmla="*/ 145 w 224"/>
                  <a:gd name="T111" fmla="*/ 107 h 1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24" h="157">
                    <a:moveTo>
                      <a:pt x="9" y="11"/>
                    </a:moveTo>
                    <a:cubicBezTo>
                      <a:pt x="12" y="16"/>
                      <a:pt x="19" y="4"/>
                      <a:pt x="22" y="9"/>
                    </a:cubicBezTo>
                    <a:cubicBezTo>
                      <a:pt x="24" y="9"/>
                      <a:pt x="23" y="5"/>
                      <a:pt x="24" y="5"/>
                    </a:cubicBezTo>
                    <a:cubicBezTo>
                      <a:pt x="26" y="4"/>
                      <a:pt x="27" y="7"/>
                      <a:pt x="29" y="7"/>
                    </a:cubicBezTo>
                    <a:cubicBezTo>
                      <a:pt x="32" y="7"/>
                      <a:pt x="32" y="0"/>
                      <a:pt x="37" y="5"/>
                    </a:cubicBezTo>
                    <a:cubicBezTo>
                      <a:pt x="36" y="13"/>
                      <a:pt x="32" y="7"/>
                      <a:pt x="29" y="11"/>
                    </a:cubicBezTo>
                    <a:cubicBezTo>
                      <a:pt x="28" y="12"/>
                      <a:pt x="33" y="12"/>
                      <a:pt x="33" y="12"/>
                    </a:cubicBezTo>
                    <a:cubicBezTo>
                      <a:pt x="32" y="15"/>
                      <a:pt x="30" y="15"/>
                      <a:pt x="29" y="18"/>
                    </a:cubicBezTo>
                    <a:cubicBezTo>
                      <a:pt x="29" y="21"/>
                      <a:pt x="31" y="22"/>
                      <a:pt x="31" y="24"/>
                    </a:cubicBezTo>
                    <a:cubicBezTo>
                      <a:pt x="32" y="27"/>
                      <a:pt x="30" y="33"/>
                      <a:pt x="35" y="33"/>
                    </a:cubicBezTo>
                    <a:cubicBezTo>
                      <a:pt x="39" y="32"/>
                      <a:pt x="35" y="22"/>
                      <a:pt x="37" y="18"/>
                    </a:cubicBezTo>
                    <a:cubicBezTo>
                      <a:pt x="46" y="20"/>
                      <a:pt x="45" y="13"/>
                      <a:pt x="48" y="9"/>
                    </a:cubicBezTo>
                    <a:cubicBezTo>
                      <a:pt x="50" y="13"/>
                      <a:pt x="55" y="5"/>
                      <a:pt x="57" y="11"/>
                    </a:cubicBezTo>
                    <a:cubicBezTo>
                      <a:pt x="61" y="11"/>
                      <a:pt x="59" y="5"/>
                      <a:pt x="65" y="7"/>
                    </a:cubicBezTo>
                    <a:cubicBezTo>
                      <a:pt x="64" y="14"/>
                      <a:pt x="69" y="15"/>
                      <a:pt x="74" y="16"/>
                    </a:cubicBezTo>
                    <a:cubicBezTo>
                      <a:pt x="72" y="22"/>
                      <a:pt x="73" y="21"/>
                      <a:pt x="76" y="25"/>
                    </a:cubicBezTo>
                    <a:cubicBezTo>
                      <a:pt x="78" y="23"/>
                      <a:pt x="80" y="23"/>
                      <a:pt x="83" y="25"/>
                    </a:cubicBezTo>
                    <a:cubicBezTo>
                      <a:pt x="87" y="27"/>
                      <a:pt x="87" y="23"/>
                      <a:pt x="89" y="22"/>
                    </a:cubicBezTo>
                    <a:cubicBezTo>
                      <a:pt x="91" y="21"/>
                      <a:pt x="94" y="23"/>
                      <a:pt x="94" y="20"/>
                    </a:cubicBezTo>
                    <a:cubicBezTo>
                      <a:pt x="100" y="22"/>
                      <a:pt x="102" y="22"/>
                      <a:pt x="107" y="20"/>
                    </a:cubicBezTo>
                    <a:cubicBezTo>
                      <a:pt x="107" y="24"/>
                      <a:pt x="112" y="22"/>
                      <a:pt x="111" y="22"/>
                    </a:cubicBezTo>
                    <a:cubicBezTo>
                      <a:pt x="113" y="23"/>
                      <a:pt x="113" y="26"/>
                      <a:pt x="115" y="27"/>
                    </a:cubicBezTo>
                    <a:cubicBezTo>
                      <a:pt x="116" y="28"/>
                      <a:pt x="119" y="29"/>
                      <a:pt x="120" y="29"/>
                    </a:cubicBezTo>
                    <a:cubicBezTo>
                      <a:pt x="121" y="30"/>
                      <a:pt x="120" y="31"/>
                      <a:pt x="122" y="31"/>
                    </a:cubicBezTo>
                    <a:cubicBezTo>
                      <a:pt x="126" y="31"/>
                      <a:pt x="121" y="34"/>
                      <a:pt x="124" y="37"/>
                    </a:cubicBezTo>
                    <a:cubicBezTo>
                      <a:pt x="125" y="38"/>
                      <a:pt x="126" y="34"/>
                      <a:pt x="126" y="33"/>
                    </a:cubicBezTo>
                    <a:cubicBezTo>
                      <a:pt x="129" y="35"/>
                      <a:pt x="129" y="38"/>
                      <a:pt x="133" y="39"/>
                    </a:cubicBezTo>
                    <a:cubicBezTo>
                      <a:pt x="137" y="39"/>
                      <a:pt x="139" y="37"/>
                      <a:pt x="143" y="37"/>
                    </a:cubicBezTo>
                    <a:cubicBezTo>
                      <a:pt x="142" y="44"/>
                      <a:pt x="154" y="40"/>
                      <a:pt x="154" y="46"/>
                    </a:cubicBezTo>
                    <a:cubicBezTo>
                      <a:pt x="156" y="46"/>
                      <a:pt x="157" y="46"/>
                      <a:pt x="158" y="44"/>
                    </a:cubicBezTo>
                    <a:cubicBezTo>
                      <a:pt x="160" y="45"/>
                      <a:pt x="161" y="48"/>
                      <a:pt x="161" y="52"/>
                    </a:cubicBezTo>
                    <a:cubicBezTo>
                      <a:pt x="163" y="52"/>
                      <a:pt x="163" y="51"/>
                      <a:pt x="163" y="50"/>
                    </a:cubicBezTo>
                    <a:cubicBezTo>
                      <a:pt x="166" y="52"/>
                      <a:pt x="168" y="56"/>
                      <a:pt x="174" y="55"/>
                    </a:cubicBezTo>
                    <a:cubicBezTo>
                      <a:pt x="173" y="57"/>
                      <a:pt x="172" y="59"/>
                      <a:pt x="174" y="59"/>
                    </a:cubicBezTo>
                    <a:cubicBezTo>
                      <a:pt x="176" y="62"/>
                      <a:pt x="169" y="65"/>
                      <a:pt x="174" y="66"/>
                    </a:cubicBezTo>
                    <a:cubicBezTo>
                      <a:pt x="172" y="69"/>
                      <a:pt x="167" y="69"/>
                      <a:pt x="167" y="74"/>
                    </a:cubicBezTo>
                    <a:cubicBezTo>
                      <a:pt x="171" y="81"/>
                      <a:pt x="180" y="72"/>
                      <a:pt x="182" y="80"/>
                    </a:cubicBezTo>
                    <a:cubicBezTo>
                      <a:pt x="184" y="79"/>
                      <a:pt x="183" y="77"/>
                      <a:pt x="184" y="76"/>
                    </a:cubicBezTo>
                    <a:cubicBezTo>
                      <a:pt x="186" y="76"/>
                      <a:pt x="185" y="80"/>
                      <a:pt x="186" y="81"/>
                    </a:cubicBezTo>
                    <a:cubicBezTo>
                      <a:pt x="186" y="81"/>
                      <a:pt x="188" y="85"/>
                      <a:pt x="188" y="85"/>
                    </a:cubicBezTo>
                    <a:cubicBezTo>
                      <a:pt x="190" y="85"/>
                      <a:pt x="192" y="81"/>
                      <a:pt x="191" y="89"/>
                    </a:cubicBezTo>
                    <a:cubicBezTo>
                      <a:pt x="196" y="89"/>
                      <a:pt x="197" y="86"/>
                      <a:pt x="202" y="87"/>
                    </a:cubicBezTo>
                    <a:cubicBezTo>
                      <a:pt x="203" y="88"/>
                      <a:pt x="204" y="90"/>
                      <a:pt x="204" y="93"/>
                    </a:cubicBezTo>
                    <a:cubicBezTo>
                      <a:pt x="208" y="93"/>
                      <a:pt x="214" y="91"/>
                      <a:pt x="212" y="96"/>
                    </a:cubicBezTo>
                    <a:cubicBezTo>
                      <a:pt x="219" y="93"/>
                      <a:pt x="215" y="97"/>
                      <a:pt x="221" y="98"/>
                    </a:cubicBezTo>
                    <a:cubicBezTo>
                      <a:pt x="224" y="102"/>
                      <a:pt x="215" y="104"/>
                      <a:pt x="216" y="104"/>
                    </a:cubicBezTo>
                    <a:cubicBezTo>
                      <a:pt x="214" y="105"/>
                      <a:pt x="217" y="106"/>
                      <a:pt x="217" y="106"/>
                    </a:cubicBezTo>
                    <a:cubicBezTo>
                      <a:pt x="213" y="111"/>
                      <a:pt x="209" y="110"/>
                      <a:pt x="206" y="117"/>
                    </a:cubicBezTo>
                    <a:cubicBezTo>
                      <a:pt x="204" y="117"/>
                      <a:pt x="203" y="117"/>
                      <a:pt x="202" y="119"/>
                    </a:cubicBezTo>
                    <a:cubicBezTo>
                      <a:pt x="201" y="118"/>
                      <a:pt x="193" y="118"/>
                      <a:pt x="193" y="115"/>
                    </a:cubicBezTo>
                    <a:cubicBezTo>
                      <a:pt x="193" y="111"/>
                      <a:pt x="184" y="115"/>
                      <a:pt x="186" y="107"/>
                    </a:cubicBezTo>
                    <a:cubicBezTo>
                      <a:pt x="182" y="108"/>
                      <a:pt x="182" y="106"/>
                      <a:pt x="182" y="104"/>
                    </a:cubicBezTo>
                    <a:cubicBezTo>
                      <a:pt x="179" y="104"/>
                      <a:pt x="177" y="104"/>
                      <a:pt x="174" y="104"/>
                    </a:cubicBezTo>
                    <a:cubicBezTo>
                      <a:pt x="170" y="103"/>
                      <a:pt x="174" y="110"/>
                      <a:pt x="173" y="113"/>
                    </a:cubicBezTo>
                    <a:cubicBezTo>
                      <a:pt x="173" y="117"/>
                      <a:pt x="178" y="117"/>
                      <a:pt x="178" y="121"/>
                    </a:cubicBezTo>
                    <a:cubicBezTo>
                      <a:pt x="182" y="118"/>
                      <a:pt x="185" y="125"/>
                      <a:pt x="186" y="121"/>
                    </a:cubicBezTo>
                    <a:cubicBezTo>
                      <a:pt x="188" y="123"/>
                      <a:pt x="189" y="127"/>
                      <a:pt x="189" y="132"/>
                    </a:cubicBezTo>
                    <a:cubicBezTo>
                      <a:pt x="189" y="134"/>
                      <a:pt x="193" y="133"/>
                      <a:pt x="193" y="134"/>
                    </a:cubicBezTo>
                    <a:cubicBezTo>
                      <a:pt x="196" y="138"/>
                      <a:pt x="191" y="147"/>
                      <a:pt x="191" y="150"/>
                    </a:cubicBezTo>
                    <a:cubicBezTo>
                      <a:pt x="187" y="152"/>
                      <a:pt x="189" y="148"/>
                      <a:pt x="188" y="147"/>
                    </a:cubicBezTo>
                    <a:cubicBezTo>
                      <a:pt x="185" y="145"/>
                      <a:pt x="179" y="146"/>
                      <a:pt x="178" y="141"/>
                    </a:cubicBezTo>
                    <a:cubicBezTo>
                      <a:pt x="171" y="142"/>
                      <a:pt x="172" y="135"/>
                      <a:pt x="163" y="137"/>
                    </a:cubicBezTo>
                    <a:cubicBezTo>
                      <a:pt x="164" y="141"/>
                      <a:pt x="170" y="138"/>
                      <a:pt x="171" y="141"/>
                    </a:cubicBezTo>
                    <a:cubicBezTo>
                      <a:pt x="164" y="147"/>
                      <a:pt x="177" y="144"/>
                      <a:pt x="171" y="147"/>
                    </a:cubicBezTo>
                    <a:cubicBezTo>
                      <a:pt x="171" y="149"/>
                      <a:pt x="176" y="149"/>
                      <a:pt x="178" y="150"/>
                    </a:cubicBezTo>
                    <a:cubicBezTo>
                      <a:pt x="179" y="151"/>
                      <a:pt x="178" y="152"/>
                      <a:pt x="180" y="152"/>
                    </a:cubicBezTo>
                    <a:cubicBezTo>
                      <a:pt x="183" y="152"/>
                      <a:pt x="184" y="153"/>
                      <a:pt x="184" y="156"/>
                    </a:cubicBezTo>
                    <a:cubicBezTo>
                      <a:pt x="178" y="157"/>
                      <a:pt x="175" y="155"/>
                      <a:pt x="171" y="152"/>
                    </a:cubicBezTo>
                    <a:cubicBezTo>
                      <a:pt x="168" y="151"/>
                      <a:pt x="163" y="151"/>
                      <a:pt x="160" y="148"/>
                    </a:cubicBezTo>
                    <a:cubicBezTo>
                      <a:pt x="157" y="147"/>
                      <a:pt x="153" y="145"/>
                      <a:pt x="150" y="145"/>
                    </a:cubicBezTo>
                    <a:cubicBezTo>
                      <a:pt x="148" y="145"/>
                      <a:pt x="148" y="142"/>
                      <a:pt x="147" y="141"/>
                    </a:cubicBezTo>
                    <a:cubicBezTo>
                      <a:pt x="144" y="140"/>
                      <a:pt x="141" y="141"/>
                      <a:pt x="139" y="139"/>
                    </a:cubicBezTo>
                    <a:cubicBezTo>
                      <a:pt x="137" y="138"/>
                      <a:pt x="139" y="135"/>
                      <a:pt x="137" y="134"/>
                    </a:cubicBezTo>
                    <a:cubicBezTo>
                      <a:pt x="136" y="132"/>
                      <a:pt x="132" y="134"/>
                      <a:pt x="133" y="130"/>
                    </a:cubicBezTo>
                    <a:cubicBezTo>
                      <a:pt x="125" y="130"/>
                      <a:pt x="125" y="122"/>
                      <a:pt x="120" y="119"/>
                    </a:cubicBezTo>
                    <a:cubicBezTo>
                      <a:pt x="122" y="118"/>
                      <a:pt x="120" y="112"/>
                      <a:pt x="122" y="109"/>
                    </a:cubicBezTo>
                    <a:cubicBezTo>
                      <a:pt x="123" y="109"/>
                      <a:pt x="126" y="110"/>
                      <a:pt x="126" y="109"/>
                    </a:cubicBezTo>
                    <a:cubicBezTo>
                      <a:pt x="126" y="108"/>
                      <a:pt x="123" y="106"/>
                      <a:pt x="124" y="104"/>
                    </a:cubicBezTo>
                    <a:cubicBezTo>
                      <a:pt x="124" y="103"/>
                      <a:pt x="128" y="104"/>
                      <a:pt x="128" y="104"/>
                    </a:cubicBezTo>
                    <a:cubicBezTo>
                      <a:pt x="129" y="103"/>
                      <a:pt x="127" y="98"/>
                      <a:pt x="128" y="96"/>
                    </a:cubicBezTo>
                    <a:cubicBezTo>
                      <a:pt x="128" y="96"/>
                      <a:pt x="131" y="97"/>
                      <a:pt x="132" y="96"/>
                    </a:cubicBezTo>
                    <a:cubicBezTo>
                      <a:pt x="134" y="94"/>
                      <a:pt x="131" y="89"/>
                      <a:pt x="133" y="87"/>
                    </a:cubicBezTo>
                    <a:cubicBezTo>
                      <a:pt x="133" y="85"/>
                      <a:pt x="130" y="85"/>
                      <a:pt x="128" y="85"/>
                    </a:cubicBezTo>
                    <a:cubicBezTo>
                      <a:pt x="128" y="82"/>
                      <a:pt x="128" y="79"/>
                      <a:pt x="128" y="76"/>
                    </a:cubicBezTo>
                    <a:cubicBezTo>
                      <a:pt x="126" y="76"/>
                      <a:pt x="125" y="76"/>
                      <a:pt x="124" y="78"/>
                    </a:cubicBezTo>
                    <a:cubicBezTo>
                      <a:pt x="121" y="76"/>
                      <a:pt x="123" y="72"/>
                      <a:pt x="120" y="70"/>
                    </a:cubicBezTo>
                    <a:cubicBezTo>
                      <a:pt x="120" y="70"/>
                      <a:pt x="118" y="72"/>
                      <a:pt x="117" y="72"/>
                    </a:cubicBezTo>
                    <a:cubicBezTo>
                      <a:pt x="117" y="72"/>
                      <a:pt x="115" y="70"/>
                      <a:pt x="115" y="70"/>
                    </a:cubicBezTo>
                    <a:cubicBezTo>
                      <a:pt x="114" y="70"/>
                      <a:pt x="112" y="67"/>
                      <a:pt x="111" y="66"/>
                    </a:cubicBezTo>
                    <a:cubicBezTo>
                      <a:pt x="110" y="66"/>
                      <a:pt x="109" y="69"/>
                      <a:pt x="107" y="68"/>
                    </a:cubicBezTo>
                    <a:cubicBezTo>
                      <a:pt x="107" y="68"/>
                      <a:pt x="104" y="64"/>
                      <a:pt x="100" y="65"/>
                    </a:cubicBezTo>
                    <a:cubicBezTo>
                      <a:pt x="108" y="56"/>
                      <a:pt x="90" y="61"/>
                      <a:pt x="92" y="52"/>
                    </a:cubicBezTo>
                    <a:cubicBezTo>
                      <a:pt x="88" y="52"/>
                      <a:pt x="83" y="52"/>
                      <a:pt x="83" y="57"/>
                    </a:cubicBezTo>
                    <a:cubicBezTo>
                      <a:pt x="80" y="59"/>
                      <a:pt x="78" y="55"/>
                      <a:pt x="78" y="55"/>
                    </a:cubicBezTo>
                    <a:cubicBezTo>
                      <a:pt x="76" y="55"/>
                      <a:pt x="75" y="57"/>
                      <a:pt x="72" y="57"/>
                    </a:cubicBezTo>
                    <a:cubicBezTo>
                      <a:pt x="69" y="57"/>
                      <a:pt x="68" y="55"/>
                      <a:pt x="65" y="55"/>
                    </a:cubicBezTo>
                    <a:cubicBezTo>
                      <a:pt x="61" y="55"/>
                      <a:pt x="61" y="57"/>
                      <a:pt x="57" y="57"/>
                    </a:cubicBezTo>
                    <a:cubicBezTo>
                      <a:pt x="53" y="57"/>
                      <a:pt x="52" y="56"/>
                      <a:pt x="50" y="55"/>
                    </a:cubicBezTo>
                    <a:cubicBezTo>
                      <a:pt x="41" y="55"/>
                      <a:pt x="34" y="56"/>
                      <a:pt x="25" y="53"/>
                    </a:cubicBezTo>
                    <a:cubicBezTo>
                      <a:pt x="24" y="53"/>
                      <a:pt x="22" y="50"/>
                      <a:pt x="22" y="50"/>
                    </a:cubicBezTo>
                    <a:cubicBezTo>
                      <a:pt x="18" y="49"/>
                      <a:pt x="15" y="51"/>
                      <a:pt x="16" y="46"/>
                    </a:cubicBezTo>
                    <a:cubicBezTo>
                      <a:pt x="13" y="46"/>
                      <a:pt x="7" y="48"/>
                      <a:pt x="9" y="42"/>
                    </a:cubicBezTo>
                    <a:cubicBezTo>
                      <a:pt x="15" y="44"/>
                      <a:pt x="16" y="40"/>
                      <a:pt x="20" y="39"/>
                    </a:cubicBezTo>
                    <a:cubicBezTo>
                      <a:pt x="17" y="35"/>
                      <a:pt x="7" y="38"/>
                      <a:pt x="5" y="33"/>
                    </a:cubicBezTo>
                    <a:cubicBezTo>
                      <a:pt x="3" y="33"/>
                      <a:pt x="3" y="34"/>
                      <a:pt x="3" y="35"/>
                    </a:cubicBezTo>
                    <a:cubicBezTo>
                      <a:pt x="0" y="34"/>
                      <a:pt x="5" y="27"/>
                      <a:pt x="7" y="25"/>
                    </a:cubicBezTo>
                    <a:cubicBezTo>
                      <a:pt x="5" y="19"/>
                      <a:pt x="10" y="17"/>
                      <a:pt x="9" y="11"/>
                    </a:cubicBezTo>
                    <a:close/>
                    <a:moveTo>
                      <a:pt x="145" y="107"/>
                    </a:moveTo>
                    <a:cubicBezTo>
                      <a:pt x="145" y="103"/>
                      <a:pt x="154" y="107"/>
                      <a:pt x="158" y="106"/>
                    </a:cubicBezTo>
                    <a:cubicBezTo>
                      <a:pt x="158" y="102"/>
                      <a:pt x="155" y="102"/>
                      <a:pt x="154" y="100"/>
                    </a:cubicBezTo>
                    <a:cubicBezTo>
                      <a:pt x="152" y="97"/>
                      <a:pt x="147" y="99"/>
                      <a:pt x="143" y="96"/>
                    </a:cubicBezTo>
                    <a:cubicBezTo>
                      <a:pt x="144" y="100"/>
                      <a:pt x="141" y="107"/>
                      <a:pt x="145" y="10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6" name="任意多边形: 形状 115">
                <a:extLst>
                  <a:ext uri="{FF2B5EF4-FFF2-40B4-BE49-F238E27FC236}">
                    <a16:creationId xmlns:a16="http://schemas.microsoft.com/office/drawing/2014/main" id="{F406D41A-6FC2-4FC2-8CC4-62AC7B50B4EE}"/>
                  </a:ext>
                </a:extLst>
              </p:cNvPr>
              <p:cNvSpPr/>
              <p:nvPr/>
            </p:nvSpPr>
            <p:spPr bwMode="auto">
              <a:xfrm>
                <a:off x="3778927" y="772085"/>
                <a:ext cx="287161" cy="145681"/>
              </a:xfrm>
              <a:custGeom>
                <a:avLst/>
                <a:gdLst>
                  <a:gd name="T0" fmla="*/ 15 w 138"/>
                  <a:gd name="T1" fmla="*/ 53 h 70"/>
                  <a:gd name="T2" fmla="*/ 17 w 138"/>
                  <a:gd name="T3" fmla="*/ 47 h 70"/>
                  <a:gd name="T4" fmla="*/ 24 w 138"/>
                  <a:gd name="T5" fmla="*/ 45 h 70"/>
                  <a:gd name="T6" fmla="*/ 28 w 138"/>
                  <a:gd name="T7" fmla="*/ 44 h 70"/>
                  <a:gd name="T8" fmla="*/ 49 w 138"/>
                  <a:gd name="T9" fmla="*/ 42 h 70"/>
                  <a:gd name="T10" fmla="*/ 28 w 138"/>
                  <a:gd name="T11" fmla="*/ 40 h 70"/>
                  <a:gd name="T12" fmla="*/ 26 w 138"/>
                  <a:gd name="T13" fmla="*/ 38 h 70"/>
                  <a:gd name="T14" fmla="*/ 21 w 138"/>
                  <a:gd name="T15" fmla="*/ 40 h 70"/>
                  <a:gd name="T16" fmla="*/ 10 w 138"/>
                  <a:gd name="T17" fmla="*/ 38 h 70"/>
                  <a:gd name="T18" fmla="*/ 19 w 138"/>
                  <a:gd name="T19" fmla="*/ 31 h 70"/>
                  <a:gd name="T20" fmla="*/ 24 w 138"/>
                  <a:gd name="T21" fmla="*/ 31 h 70"/>
                  <a:gd name="T22" fmla="*/ 4 w 138"/>
                  <a:gd name="T23" fmla="*/ 27 h 70"/>
                  <a:gd name="T24" fmla="*/ 0 w 138"/>
                  <a:gd name="T25" fmla="*/ 21 h 70"/>
                  <a:gd name="T26" fmla="*/ 10 w 138"/>
                  <a:gd name="T27" fmla="*/ 14 h 70"/>
                  <a:gd name="T28" fmla="*/ 10 w 138"/>
                  <a:gd name="T29" fmla="*/ 12 h 70"/>
                  <a:gd name="T30" fmla="*/ 28 w 138"/>
                  <a:gd name="T31" fmla="*/ 4 h 70"/>
                  <a:gd name="T32" fmla="*/ 34 w 138"/>
                  <a:gd name="T33" fmla="*/ 1 h 70"/>
                  <a:gd name="T34" fmla="*/ 37 w 138"/>
                  <a:gd name="T35" fmla="*/ 3 h 70"/>
                  <a:gd name="T36" fmla="*/ 41 w 138"/>
                  <a:gd name="T37" fmla="*/ 10 h 70"/>
                  <a:gd name="T38" fmla="*/ 37 w 138"/>
                  <a:gd name="T39" fmla="*/ 12 h 70"/>
                  <a:gd name="T40" fmla="*/ 41 w 138"/>
                  <a:gd name="T41" fmla="*/ 14 h 70"/>
                  <a:gd name="T42" fmla="*/ 43 w 138"/>
                  <a:gd name="T43" fmla="*/ 10 h 70"/>
                  <a:gd name="T44" fmla="*/ 54 w 138"/>
                  <a:gd name="T45" fmla="*/ 8 h 70"/>
                  <a:gd name="T46" fmla="*/ 60 w 138"/>
                  <a:gd name="T47" fmla="*/ 17 h 70"/>
                  <a:gd name="T48" fmla="*/ 67 w 138"/>
                  <a:gd name="T49" fmla="*/ 14 h 70"/>
                  <a:gd name="T50" fmla="*/ 73 w 138"/>
                  <a:gd name="T51" fmla="*/ 8 h 70"/>
                  <a:gd name="T52" fmla="*/ 79 w 138"/>
                  <a:gd name="T53" fmla="*/ 10 h 70"/>
                  <a:gd name="T54" fmla="*/ 80 w 138"/>
                  <a:gd name="T55" fmla="*/ 17 h 70"/>
                  <a:gd name="T56" fmla="*/ 84 w 138"/>
                  <a:gd name="T57" fmla="*/ 25 h 70"/>
                  <a:gd name="T58" fmla="*/ 92 w 138"/>
                  <a:gd name="T59" fmla="*/ 19 h 70"/>
                  <a:gd name="T60" fmla="*/ 86 w 138"/>
                  <a:gd name="T61" fmla="*/ 16 h 70"/>
                  <a:gd name="T62" fmla="*/ 86 w 138"/>
                  <a:gd name="T63" fmla="*/ 4 h 70"/>
                  <a:gd name="T64" fmla="*/ 93 w 138"/>
                  <a:gd name="T65" fmla="*/ 3 h 70"/>
                  <a:gd name="T66" fmla="*/ 101 w 138"/>
                  <a:gd name="T67" fmla="*/ 16 h 70"/>
                  <a:gd name="T68" fmla="*/ 106 w 138"/>
                  <a:gd name="T69" fmla="*/ 19 h 70"/>
                  <a:gd name="T70" fmla="*/ 110 w 138"/>
                  <a:gd name="T71" fmla="*/ 25 h 70"/>
                  <a:gd name="T72" fmla="*/ 108 w 138"/>
                  <a:gd name="T73" fmla="*/ 31 h 70"/>
                  <a:gd name="T74" fmla="*/ 114 w 138"/>
                  <a:gd name="T75" fmla="*/ 38 h 70"/>
                  <a:gd name="T76" fmla="*/ 131 w 138"/>
                  <a:gd name="T77" fmla="*/ 40 h 70"/>
                  <a:gd name="T78" fmla="*/ 136 w 138"/>
                  <a:gd name="T79" fmla="*/ 45 h 70"/>
                  <a:gd name="T80" fmla="*/ 138 w 138"/>
                  <a:gd name="T81" fmla="*/ 49 h 70"/>
                  <a:gd name="T82" fmla="*/ 123 w 138"/>
                  <a:gd name="T83" fmla="*/ 49 h 70"/>
                  <a:gd name="T84" fmla="*/ 127 w 138"/>
                  <a:gd name="T85" fmla="*/ 62 h 70"/>
                  <a:gd name="T86" fmla="*/ 106 w 138"/>
                  <a:gd name="T87" fmla="*/ 62 h 70"/>
                  <a:gd name="T88" fmla="*/ 80 w 138"/>
                  <a:gd name="T89" fmla="*/ 62 h 70"/>
                  <a:gd name="T90" fmla="*/ 71 w 138"/>
                  <a:gd name="T91" fmla="*/ 64 h 70"/>
                  <a:gd name="T92" fmla="*/ 69 w 138"/>
                  <a:gd name="T93" fmla="*/ 68 h 70"/>
                  <a:gd name="T94" fmla="*/ 45 w 138"/>
                  <a:gd name="T95" fmla="*/ 68 h 70"/>
                  <a:gd name="T96" fmla="*/ 37 w 138"/>
                  <a:gd name="T97" fmla="*/ 57 h 70"/>
                  <a:gd name="T98" fmla="*/ 23 w 138"/>
                  <a:gd name="T99" fmla="*/ 53 h 70"/>
                  <a:gd name="T100" fmla="*/ 21 w 138"/>
                  <a:gd name="T101" fmla="*/ 55 h 70"/>
                  <a:gd name="T102" fmla="*/ 21 w 138"/>
                  <a:gd name="T103" fmla="*/ 51 h 70"/>
                  <a:gd name="T104" fmla="*/ 15 w 138"/>
                  <a:gd name="T105" fmla="*/ 53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8" h="70">
                    <a:moveTo>
                      <a:pt x="15" y="53"/>
                    </a:moveTo>
                    <a:cubicBezTo>
                      <a:pt x="11" y="53"/>
                      <a:pt x="16" y="48"/>
                      <a:pt x="17" y="47"/>
                    </a:cubicBezTo>
                    <a:cubicBezTo>
                      <a:pt x="17" y="45"/>
                      <a:pt x="22" y="46"/>
                      <a:pt x="24" y="45"/>
                    </a:cubicBezTo>
                    <a:cubicBezTo>
                      <a:pt x="26" y="45"/>
                      <a:pt x="26" y="44"/>
                      <a:pt x="28" y="44"/>
                    </a:cubicBezTo>
                    <a:cubicBezTo>
                      <a:pt x="35" y="43"/>
                      <a:pt x="44" y="46"/>
                      <a:pt x="49" y="42"/>
                    </a:cubicBezTo>
                    <a:cubicBezTo>
                      <a:pt x="47" y="37"/>
                      <a:pt x="35" y="42"/>
                      <a:pt x="28" y="40"/>
                    </a:cubicBezTo>
                    <a:cubicBezTo>
                      <a:pt x="27" y="40"/>
                      <a:pt x="26" y="38"/>
                      <a:pt x="26" y="38"/>
                    </a:cubicBezTo>
                    <a:cubicBezTo>
                      <a:pt x="25" y="38"/>
                      <a:pt x="23" y="40"/>
                      <a:pt x="21" y="40"/>
                    </a:cubicBezTo>
                    <a:cubicBezTo>
                      <a:pt x="17" y="40"/>
                      <a:pt x="13" y="37"/>
                      <a:pt x="10" y="38"/>
                    </a:cubicBezTo>
                    <a:cubicBezTo>
                      <a:pt x="5" y="32"/>
                      <a:pt x="19" y="34"/>
                      <a:pt x="19" y="31"/>
                    </a:cubicBezTo>
                    <a:cubicBezTo>
                      <a:pt x="19" y="27"/>
                      <a:pt x="23" y="30"/>
                      <a:pt x="24" y="31"/>
                    </a:cubicBezTo>
                    <a:cubicBezTo>
                      <a:pt x="24" y="20"/>
                      <a:pt x="13" y="30"/>
                      <a:pt x="4" y="27"/>
                    </a:cubicBezTo>
                    <a:cubicBezTo>
                      <a:pt x="0" y="24"/>
                      <a:pt x="8" y="21"/>
                      <a:pt x="0" y="21"/>
                    </a:cubicBezTo>
                    <a:cubicBezTo>
                      <a:pt x="2" y="18"/>
                      <a:pt x="2" y="12"/>
                      <a:pt x="10" y="14"/>
                    </a:cubicBezTo>
                    <a:cubicBezTo>
                      <a:pt x="12" y="14"/>
                      <a:pt x="10" y="11"/>
                      <a:pt x="10" y="12"/>
                    </a:cubicBezTo>
                    <a:cubicBezTo>
                      <a:pt x="13" y="7"/>
                      <a:pt x="21" y="6"/>
                      <a:pt x="28" y="4"/>
                    </a:cubicBezTo>
                    <a:cubicBezTo>
                      <a:pt x="30" y="3"/>
                      <a:pt x="30" y="0"/>
                      <a:pt x="34" y="1"/>
                    </a:cubicBezTo>
                    <a:cubicBezTo>
                      <a:pt x="34" y="3"/>
                      <a:pt x="36" y="2"/>
                      <a:pt x="37" y="3"/>
                    </a:cubicBezTo>
                    <a:cubicBezTo>
                      <a:pt x="37" y="7"/>
                      <a:pt x="34" y="10"/>
                      <a:pt x="41" y="10"/>
                    </a:cubicBezTo>
                    <a:cubicBezTo>
                      <a:pt x="41" y="12"/>
                      <a:pt x="39" y="11"/>
                      <a:pt x="37" y="12"/>
                    </a:cubicBezTo>
                    <a:cubicBezTo>
                      <a:pt x="37" y="13"/>
                      <a:pt x="40" y="14"/>
                      <a:pt x="41" y="14"/>
                    </a:cubicBezTo>
                    <a:cubicBezTo>
                      <a:pt x="43" y="13"/>
                      <a:pt x="42" y="10"/>
                      <a:pt x="43" y="10"/>
                    </a:cubicBezTo>
                    <a:cubicBezTo>
                      <a:pt x="47" y="8"/>
                      <a:pt x="50" y="9"/>
                      <a:pt x="54" y="8"/>
                    </a:cubicBezTo>
                    <a:cubicBezTo>
                      <a:pt x="56" y="11"/>
                      <a:pt x="60" y="12"/>
                      <a:pt x="60" y="17"/>
                    </a:cubicBezTo>
                    <a:cubicBezTo>
                      <a:pt x="64" y="17"/>
                      <a:pt x="62" y="12"/>
                      <a:pt x="67" y="14"/>
                    </a:cubicBezTo>
                    <a:cubicBezTo>
                      <a:pt x="69" y="12"/>
                      <a:pt x="71" y="10"/>
                      <a:pt x="73" y="8"/>
                    </a:cubicBezTo>
                    <a:cubicBezTo>
                      <a:pt x="74" y="9"/>
                      <a:pt x="76" y="10"/>
                      <a:pt x="79" y="10"/>
                    </a:cubicBezTo>
                    <a:cubicBezTo>
                      <a:pt x="80" y="13"/>
                      <a:pt x="79" y="15"/>
                      <a:pt x="80" y="17"/>
                    </a:cubicBezTo>
                    <a:cubicBezTo>
                      <a:pt x="81" y="20"/>
                      <a:pt x="86" y="20"/>
                      <a:pt x="84" y="25"/>
                    </a:cubicBezTo>
                    <a:cubicBezTo>
                      <a:pt x="88" y="24"/>
                      <a:pt x="88" y="20"/>
                      <a:pt x="92" y="19"/>
                    </a:cubicBezTo>
                    <a:cubicBezTo>
                      <a:pt x="91" y="17"/>
                      <a:pt x="87" y="17"/>
                      <a:pt x="86" y="16"/>
                    </a:cubicBezTo>
                    <a:cubicBezTo>
                      <a:pt x="84" y="12"/>
                      <a:pt x="87" y="9"/>
                      <a:pt x="86" y="4"/>
                    </a:cubicBezTo>
                    <a:cubicBezTo>
                      <a:pt x="89" y="5"/>
                      <a:pt x="90" y="2"/>
                      <a:pt x="93" y="3"/>
                    </a:cubicBezTo>
                    <a:cubicBezTo>
                      <a:pt x="94" y="6"/>
                      <a:pt x="98" y="11"/>
                      <a:pt x="101" y="16"/>
                    </a:cubicBezTo>
                    <a:cubicBezTo>
                      <a:pt x="101" y="16"/>
                      <a:pt x="105" y="24"/>
                      <a:pt x="106" y="19"/>
                    </a:cubicBezTo>
                    <a:cubicBezTo>
                      <a:pt x="109" y="20"/>
                      <a:pt x="107" y="25"/>
                      <a:pt x="110" y="25"/>
                    </a:cubicBezTo>
                    <a:cubicBezTo>
                      <a:pt x="110" y="28"/>
                      <a:pt x="110" y="30"/>
                      <a:pt x="108" y="31"/>
                    </a:cubicBezTo>
                    <a:cubicBezTo>
                      <a:pt x="109" y="34"/>
                      <a:pt x="116" y="32"/>
                      <a:pt x="114" y="38"/>
                    </a:cubicBezTo>
                    <a:cubicBezTo>
                      <a:pt x="121" y="34"/>
                      <a:pt x="121" y="41"/>
                      <a:pt x="131" y="40"/>
                    </a:cubicBezTo>
                    <a:cubicBezTo>
                      <a:pt x="127" y="47"/>
                      <a:pt x="135" y="44"/>
                      <a:pt x="136" y="45"/>
                    </a:cubicBezTo>
                    <a:cubicBezTo>
                      <a:pt x="137" y="46"/>
                      <a:pt x="133" y="51"/>
                      <a:pt x="138" y="49"/>
                    </a:cubicBezTo>
                    <a:cubicBezTo>
                      <a:pt x="135" y="58"/>
                      <a:pt x="131" y="47"/>
                      <a:pt x="123" y="49"/>
                    </a:cubicBezTo>
                    <a:cubicBezTo>
                      <a:pt x="121" y="56"/>
                      <a:pt x="130" y="54"/>
                      <a:pt x="127" y="62"/>
                    </a:cubicBezTo>
                    <a:cubicBezTo>
                      <a:pt x="120" y="64"/>
                      <a:pt x="112" y="66"/>
                      <a:pt x="106" y="62"/>
                    </a:cubicBezTo>
                    <a:cubicBezTo>
                      <a:pt x="100" y="58"/>
                      <a:pt x="88" y="57"/>
                      <a:pt x="80" y="62"/>
                    </a:cubicBezTo>
                    <a:cubicBezTo>
                      <a:pt x="78" y="63"/>
                      <a:pt x="76" y="62"/>
                      <a:pt x="71" y="64"/>
                    </a:cubicBezTo>
                    <a:cubicBezTo>
                      <a:pt x="69" y="65"/>
                      <a:pt x="69" y="66"/>
                      <a:pt x="69" y="68"/>
                    </a:cubicBezTo>
                    <a:cubicBezTo>
                      <a:pt x="64" y="65"/>
                      <a:pt x="54" y="70"/>
                      <a:pt x="45" y="68"/>
                    </a:cubicBezTo>
                    <a:cubicBezTo>
                      <a:pt x="43" y="64"/>
                      <a:pt x="40" y="61"/>
                      <a:pt x="37" y="57"/>
                    </a:cubicBezTo>
                    <a:cubicBezTo>
                      <a:pt x="32" y="56"/>
                      <a:pt x="23" y="59"/>
                      <a:pt x="23" y="53"/>
                    </a:cubicBezTo>
                    <a:cubicBezTo>
                      <a:pt x="21" y="53"/>
                      <a:pt x="21" y="54"/>
                      <a:pt x="21" y="55"/>
                    </a:cubicBezTo>
                    <a:cubicBezTo>
                      <a:pt x="18" y="54"/>
                      <a:pt x="19" y="51"/>
                      <a:pt x="21" y="51"/>
                    </a:cubicBezTo>
                    <a:cubicBezTo>
                      <a:pt x="21" y="47"/>
                      <a:pt x="15" y="51"/>
                      <a:pt x="15" y="5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7" name="任意多边形: 形状 116">
                <a:extLst>
                  <a:ext uri="{FF2B5EF4-FFF2-40B4-BE49-F238E27FC236}">
                    <a16:creationId xmlns:a16="http://schemas.microsoft.com/office/drawing/2014/main" id="{1E5A3D90-AE52-4888-97F5-671A33BBF6AE}"/>
                  </a:ext>
                </a:extLst>
              </p:cNvPr>
              <p:cNvSpPr/>
              <p:nvPr/>
            </p:nvSpPr>
            <p:spPr bwMode="auto">
              <a:xfrm>
                <a:off x="3011299" y="807105"/>
                <a:ext cx="2054948" cy="2382730"/>
              </a:xfrm>
              <a:custGeom>
                <a:avLst/>
                <a:gdLst>
                  <a:gd name="T0" fmla="*/ 647 w 988"/>
                  <a:gd name="T1" fmla="*/ 75 h 1146"/>
                  <a:gd name="T2" fmla="*/ 582 w 988"/>
                  <a:gd name="T3" fmla="*/ 120 h 1146"/>
                  <a:gd name="T4" fmla="*/ 574 w 988"/>
                  <a:gd name="T5" fmla="*/ 187 h 1146"/>
                  <a:gd name="T6" fmla="*/ 654 w 988"/>
                  <a:gd name="T7" fmla="*/ 241 h 1146"/>
                  <a:gd name="T8" fmla="*/ 680 w 988"/>
                  <a:gd name="T9" fmla="*/ 168 h 1146"/>
                  <a:gd name="T10" fmla="*/ 748 w 988"/>
                  <a:gd name="T11" fmla="*/ 166 h 1146"/>
                  <a:gd name="T12" fmla="*/ 809 w 988"/>
                  <a:gd name="T13" fmla="*/ 183 h 1146"/>
                  <a:gd name="T14" fmla="*/ 833 w 988"/>
                  <a:gd name="T15" fmla="*/ 247 h 1146"/>
                  <a:gd name="T16" fmla="*/ 757 w 988"/>
                  <a:gd name="T17" fmla="*/ 274 h 1146"/>
                  <a:gd name="T18" fmla="*/ 804 w 988"/>
                  <a:gd name="T19" fmla="*/ 302 h 1146"/>
                  <a:gd name="T20" fmla="*/ 785 w 988"/>
                  <a:gd name="T21" fmla="*/ 312 h 1146"/>
                  <a:gd name="T22" fmla="*/ 701 w 988"/>
                  <a:gd name="T23" fmla="*/ 373 h 1146"/>
                  <a:gd name="T24" fmla="*/ 666 w 988"/>
                  <a:gd name="T25" fmla="*/ 478 h 1146"/>
                  <a:gd name="T26" fmla="*/ 593 w 988"/>
                  <a:gd name="T27" fmla="*/ 437 h 1146"/>
                  <a:gd name="T28" fmla="*/ 535 w 988"/>
                  <a:gd name="T29" fmla="*/ 515 h 1146"/>
                  <a:gd name="T30" fmla="*/ 600 w 988"/>
                  <a:gd name="T31" fmla="*/ 547 h 1146"/>
                  <a:gd name="T32" fmla="*/ 692 w 988"/>
                  <a:gd name="T33" fmla="*/ 608 h 1146"/>
                  <a:gd name="T34" fmla="*/ 766 w 988"/>
                  <a:gd name="T35" fmla="*/ 597 h 1146"/>
                  <a:gd name="T36" fmla="*/ 884 w 988"/>
                  <a:gd name="T37" fmla="*/ 647 h 1146"/>
                  <a:gd name="T38" fmla="*/ 988 w 988"/>
                  <a:gd name="T39" fmla="*/ 711 h 1146"/>
                  <a:gd name="T40" fmla="*/ 943 w 988"/>
                  <a:gd name="T41" fmla="*/ 854 h 1146"/>
                  <a:gd name="T42" fmla="*/ 885 w 988"/>
                  <a:gd name="T43" fmla="*/ 918 h 1146"/>
                  <a:gd name="T44" fmla="*/ 830 w 988"/>
                  <a:gd name="T45" fmla="*/ 979 h 1146"/>
                  <a:gd name="T46" fmla="*/ 779 w 988"/>
                  <a:gd name="T47" fmla="*/ 1037 h 1146"/>
                  <a:gd name="T48" fmla="*/ 757 w 988"/>
                  <a:gd name="T49" fmla="*/ 1082 h 1146"/>
                  <a:gd name="T50" fmla="*/ 716 w 988"/>
                  <a:gd name="T51" fmla="*/ 1126 h 1146"/>
                  <a:gd name="T52" fmla="*/ 703 w 988"/>
                  <a:gd name="T53" fmla="*/ 1065 h 1146"/>
                  <a:gd name="T54" fmla="*/ 735 w 988"/>
                  <a:gd name="T55" fmla="*/ 936 h 1146"/>
                  <a:gd name="T56" fmla="*/ 731 w 988"/>
                  <a:gd name="T57" fmla="*/ 813 h 1146"/>
                  <a:gd name="T58" fmla="*/ 666 w 988"/>
                  <a:gd name="T59" fmla="*/ 729 h 1146"/>
                  <a:gd name="T60" fmla="*/ 679 w 988"/>
                  <a:gd name="T61" fmla="*/ 660 h 1146"/>
                  <a:gd name="T62" fmla="*/ 621 w 988"/>
                  <a:gd name="T63" fmla="*/ 588 h 1146"/>
                  <a:gd name="T64" fmla="*/ 559 w 988"/>
                  <a:gd name="T65" fmla="*/ 550 h 1146"/>
                  <a:gd name="T66" fmla="*/ 464 w 988"/>
                  <a:gd name="T67" fmla="*/ 496 h 1146"/>
                  <a:gd name="T68" fmla="*/ 410 w 988"/>
                  <a:gd name="T69" fmla="*/ 440 h 1146"/>
                  <a:gd name="T70" fmla="*/ 410 w 988"/>
                  <a:gd name="T71" fmla="*/ 463 h 1146"/>
                  <a:gd name="T72" fmla="*/ 354 w 988"/>
                  <a:gd name="T73" fmla="*/ 392 h 1146"/>
                  <a:gd name="T74" fmla="*/ 319 w 988"/>
                  <a:gd name="T75" fmla="*/ 267 h 1146"/>
                  <a:gd name="T76" fmla="*/ 298 w 988"/>
                  <a:gd name="T77" fmla="*/ 233 h 1146"/>
                  <a:gd name="T78" fmla="*/ 244 w 988"/>
                  <a:gd name="T79" fmla="*/ 174 h 1146"/>
                  <a:gd name="T80" fmla="*/ 151 w 988"/>
                  <a:gd name="T81" fmla="*/ 144 h 1146"/>
                  <a:gd name="T82" fmla="*/ 105 w 988"/>
                  <a:gd name="T83" fmla="*/ 168 h 1146"/>
                  <a:gd name="T84" fmla="*/ 58 w 988"/>
                  <a:gd name="T85" fmla="*/ 198 h 1146"/>
                  <a:gd name="T86" fmla="*/ 24 w 988"/>
                  <a:gd name="T87" fmla="*/ 153 h 1146"/>
                  <a:gd name="T88" fmla="*/ 9 w 988"/>
                  <a:gd name="T89" fmla="*/ 97 h 1146"/>
                  <a:gd name="T90" fmla="*/ 28 w 988"/>
                  <a:gd name="T91" fmla="*/ 62 h 1146"/>
                  <a:gd name="T92" fmla="*/ 95 w 988"/>
                  <a:gd name="T93" fmla="*/ 21 h 1146"/>
                  <a:gd name="T94" fmla="*/ 255 w 988"/>
                  <a:gd name="T95" fmla="*/ 38 h 1146"/>
                  <a:gd name="T96" fmla="*/ 332 w 988"/>
                  <a:gd name="T97" fmla="*/ 41 h 1146"/>
                  <a:gd name="T98" fmla="*/ 451 w 988"/>
                  <a:gd name="T99" fmla="*/ 73 h 1146"/>
                  <a:gd name="T100" fmla="*/ 537 w 988"/>
                  <a:gd name="T101" fmla="*/ 53 h 1146"/>
                  <a:gd name="T102" fmla="*/ 561 w 988"/>
                  <a:gd name="T103" fmla="*/ 12 h 1146"/>
                  <a:gd name="T104" fmla="*/ 606 w 988"/>
                  <a:gd name="T105" fmla="*/ 51 h 1146"/>
                  <a:gd name="T106" fmla="*/ 324 w 988"/>
                  <a:gd name="T107" fmla="*/ 86 h 1146"/>
                  <a:gd name="T108" fmla="*/ 418 w 988"/>
                  <a:gd name="T109" fmla="*/ 135 h 1146"/>
                  <a:gd name="T110" fmla="*/ 403 w 988"/>
                  <a:gd name="T111" fmla="*/ 133 h 1146"/>
                  <a:gd name="T112" fmla="*/ 533 w 988"/>
                  <a:gd name="T113" fmla="*/ 250 h 1146"/>
                  <a:gd name="T114" fmla="*/ 576 w 988"/>
                  <a:gd name="T115" fmla="*/ 295 h 1146"/>
                  <a:gd name="T116" fmla="*/ 613 w 988"/>
                  <a:gd name="T117" fmla="*/ 271 h 1146"/>
                  <a:gd name="T118" fmla="*/ 606 w 988"/>
                  <a:gd name="T119" fmla="*/ 340 h 1146"/>
                  <a:gd name="T120" fmla="*/ 671 w 988"/>
                  <a:gd name="T121" fmla="*/ 317 h 1146"/>
                  <a:gd name="T122" fmla="*/ 653 w 988"/>
                  <a:gd name="T123" fmla="*/ 338 h 1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8" h="1146">
                    <a:moveTo>
                      <a:pt x="602" y="62"/>
                    </a:moveTo>
                    <a:cubicBezTo>
                      <a:pt x="603" y="66"/>
                      <a:pt x="608" y="59"/>
                      <a:pt x="606" y="68"/>
                    </a:cubicBezTo>
                    <a:cubicBezTo>
                      <a:pt x="608" y="68"/>
                      <a:pt x="610" y="68"/>
                      <a:pt x="612" y="68"/>
                    </a:cubicBezTo>
                    <a:cubicBezTo>
                      <a:pt x="614" y="66"/>
                      <a:pt x="616" y="63"/>
                      <a:pt x="615" y="58"/>
                    </a:cubicBezTo>
                    <a:cubicBezTo>
                      <a:pt x="618" y="57"/>
                      <a:pt x="619" y="56"/>
                      <a:pt x="619" y="53"/>
                    </a:cubicBezTo>
                    <a:cubicBezTo>
                      <a:pt x="625" y="55"/>
                      <a:pt x="620" y="47"/>
                      <a:pt x="626" y="49"/>
                    </a:cubicBezTo>
                    <a:cubicBezTo>
                      <a:pt x="626" y="45"/>
                      <a:pt x="626" y="40"/>
                      <a:pt x="626" y="36"/>
                    </a:cubicBezTo>
                    <a:cubicBezTo>
                      <a:pt x="633" y="35"/>
                      <a:pt x="636" y="34"/>
                      <a:pt x="641" y="36"/>
                    </a:cubicBezTo>
                    <a:cubicBezTo>
                      <a:pt x="643" y="37"/>
                      <a:pt x="642" y="40"/>
                      <a:pt x="643" y="41"/>
                    </a:cubicBezTo>
                    <a:cubicBezTo>
                      <a:pt x="644" y="42"/>
                      <a:pt x="646" y="41"/>
                      <a:pt x="647" y="41"/>
                    </a:cubicBezTo>
                    <a:cubicBezTo>
                      <a:pt x="649" y="42"/>
                      <a:pt x="650" y="45"/>
                      <a:pt x="653" y="45"/>
                    </a:cubicBezTo>
                    <a:cubicBezTo>
                      <a:pt x="653" y="51"/>
                      <a:pt x="650" y="53"/>
                      <a:pt x="647" y="55"/>
                    </a:cubicBezTo>
                    <a:cubicBezTo>
                      <a:pt x="651" y="57"/>
                      <a:pt x="649" y="64"/>
                      <a:pt x="654" y="66"/>
                    </a:cubicBezTo>
                    <a:cubicBezTo>
                      <a:pt x="653" y="70"/>
                      <a:pt x="648" y="71"/>
                      <a:pt x="647" y="75"/>
                    </a:cubicBezTo>
                    <a:cubicBezTo>
                      <a:pt x="644" y="75"/>
                      <a:pt x="642" y="78"/>
                      <a:pt x="641" y="75"/>
                    </a:cubicBezTo>
                    <a:cubicBezTo>
                      <a:pt x="638" y="77"/>
                      <a:pt x="638" y="82"/>
                      <a:pt x="636" y="84"/>
                    </a:cubicBezTo>
                    <a:cubicBezTo>
                      <a:pt x="634" y="83"/>
                      <a:pt x="637" y="79"/>
                      <a:pt x="628" y="81"/>
                    </a:cubicBezTo>
                    <a:cubicBezTo>
                      <a:pt x="628" y="79"/>
                      <a:pt x="631" y="79"/>
                      <a:pt x="632" y="79"/>
                    </a:cubicBezTo>
                    <a:cubicBezTo>
                      <a:pt x="628" y="73"/>
                      <a:pt x="621" y="81"/>
                      <a:pt x="615" y="79"/>
                    </a:cubicBezTo>
                    <a:cubicBezTo>
                      <a:pt x="617" y="85"/>
                      <a:pt x="615" y="83"/>
                      <a:pt x="615" y="90"/>
                    </a:cubicBezTo>
                    <a:cubicBezTo>
                      <a:pt x="613" y="90"/>
                      <a:pt x="614" y="88"/>
                      <a:pt x="613" y="86"/>
                    </a:cubicBezTo>
                    <a:cubicBezTo>
                      <a:pt x="609" y="87"/>
                      <a:pt x="610" y="93"/>
                      <a:pt x="604" y="92"/>
                    </a:cubicBezTo>
                    <a:cubicBezTo>
                      <a:pt x="605" y="94"/>
                      <a:pt x="608" y="93"/>
                      <a:pt x="608" y="96"/>
                    </a:cubicBezTo>
                    <a:cubicBezTo>
                      <a:pt x="608" y="99"/>
                      <a:pt x="606" y="100"/>
                      <a:pt x="606" y="103"/>
                    </a:cubicBezTo>
                    <a:cubicBezTo>
                      <a:pt x="602" y="99"/>
                      <a:pt x="596" y="110"/>
                      <a:pt x="595" y="109"/>
                    </a:cubicBezTo>
                    <a:cubicBezTo>
                      <a:pt x="594" y="108"/>
                      <a:pt x="591" y="106"/>
                      <a:pt x="591" y="112"/>
                    </a:cubicBezTo>
                    <a:cubicBezTo>
                      <a:pt x="589" y="112"/>
                      <a:pt x="586" y="112"/>
                      <a:pt x="584" y="112"/>
                    </a:cubicBezTo>
                    <a:cubicBezTo>
                      <a:pt x="581" y="113"/>
                      <a:pt x="582" y="117"/>
                      <a:pt x="582" y="120"/>
                    </a:cubicBezTo>
                    <a:cubicBezTo>
                      <a:pt x="579" y="118"/>
                      <a:pt x="578" y="118"/>
                      <a:pt x="578" y="122"/>
                    </a:cubicBezTo>
                    <a:cubicBezTo>
                      <a:pt x="574" y="118"/>
                      <a:pt x="573" y="121"/>
                      <a:pt x="569" y="122"/>
                    </a:cubicBezTo>
                    <a:cubicBezTo>
                      <a:pt x="570" y="123"/>
                      <a:pt x="571" y="126"/>
                      <a:pt x="571" y="129"/>
                    </a:cubicBezTo>
                    <a:cubicBezTo>
                      <a:pt x="566" y="125"/>
                      <a:pt x="568" y="130"/>
                      <a:pt x="565" y="135"/>
                    </a:cubicBezTo>
                    <a:cubicBezTo>
                      <a:pt x="563" y="139"/>
                      <a:pt x="558" y="143"/>
                      <a:pt x="557" y="151"/>
                    </a:cubicBezTo>
                    <a:cubicBezTo>
                      <a:pt x="553" y="154"/>
                      <a:pt x="551" y="159"/>
                      <a:pt x="548" y="163"/>
                    </a:cubicBezTo>
                    <a:cubicBezTo>
                      <a:pt x="548" y="166"/>
                      <a:pt x="550" y="163"/>
                      <a:pt x="550" y="163"/>
                    </a:cubicBezTo>
                    <a:cubicBezTo>
                      <a:pt x="552" y="163"/>
                      <a:pt x="551" y="164"/>
                      <a:pt x="552" y="165"/>
                    </a:cubicBezTo>
                    <a:cubicBezTo>
                      <a:pt x="553" y="165"/>
                      <a:pt x="555" y="168"/>
                      <a:pt x="556" y="168"/>
                    </a:cubicBezTo>
                    <a:cubicBezTo>
                      <a:pt x="557" y="169"/>
                      <a:pt x="559" y="164"/>
                      <a:pt x="563" y="168"/>
                    </a:cubicBezTo>
                    <a:cubicBezTo>
                      <a:pt x="564" y="169"/>
                      <a:pt x="565" y="170"/>
                      <a:pt x="567" y="170"/>
                    </a:cubicBezTo>
                    <a:cubicBezTo>
                      <a:pt x="567" y="173"/>
                      <a:pt x="567" y="175"/>
                      <a:pt x="567" y="178"/>
                    </a:cubicBezTo>
                    <a:cubicBezTo>
                      <a:pt x="567" y="180"/>
                      <a:pt x="570" y="179"/>
                      <a:pt x="571" y="181"/>
                    </a:cubicBezTo>
                    <a:cubicBezTo>
                      <a:pt x="572" y="183"/>
                      <a:pt x="575" y="183"/>
                      <a:pt x="574" y="187"/>
                    </a:cubicBezTo>
                    <a:cubicBezTo>
                      <a:pt x="584" y="186"/>
                      <a:pt x="591" y="189"/>
                      <a:pt x="597" y="187"/>
                    </a:cubicBezTo>
                    <a:cubicBezTo>
                      <a:pt x="598" y="194"/>
                      <a:pt x="606" y="192"/>
                      <a:pt x="610" y="196"/>
                    </a:cubicBezTo>
                    <a:cubicBezTo>
                      <a:pt x="611" y="197"/>
                      <a:pt x="611" y="196"/>
                      <a:pt x="612" y="198"/>
                    </a:cubicBezTo>
                    <a:cubicBezTo>
                      <a:pt x="612" y="201"/>
                      <a:pt x="614" y="198"/>
                      <a:pt x="613" y="198"/>
                    </a:cubicBezTo>
                    <a:cubicBezTo>
                      <a:pt x="616" y="198"/>
                      <a:pt x="616" y="201"/>
                      <a:pt x="617" y="202"/>
                    </a:cubicBezTo>
                    <a:cubicBezTo>
                      <a:pt x="620" y="203"/>
                      <a:pt x="624" y="201"/>
                      <a:pt x="623" y="206"/>
                    </a:cubicBezTo>
                    <a:cubicBezTo>
                      <a:pt x="633" y="205"/>
                      <a:pt x="638" y="209"/>
                      <a:pt x="647" y="209"/>
                    </a:cubicBezTo>
                    <a:cubicBezTo>
                      <a:pt x="647" y="215"/>
                      <a:pt x="646" y="221"/>
                      <a:pt x="649" y="224"/>
                    </a:cubicBezTo>
                    <a:cubicBezTo>
                      <a:pt x="649" y="224"/>
                      <a:pt x="651" y="227"/>
                      <a:pt x="651" y="226"/>
                    </a:cubicBezTo>
                    <a:cubicBezTo>
                      <a:pt x="651" y="228"/>
                      <a:pt x="649" y="230"/>
                      <a:pt x="649" y="230"/>
                    </a:cubicBezTo>
                    <a:cubicBezTo>
                      <a:pt x="650" y="232"/>
                      <a:pt x="651" y="230"/>
                      <a:pt x="653" y="232"/>
                    </a:cubicBezTo>
                    <a:cubicBezTo>
                      <a:pt x="653" y="232"/>
                      <a:pt x="649" y="237"/>
                      <a:pt x="654" y="235"/>
                    </a:cubicBezTo>
                    <a:cubicBezTo>
                      <a:pt x="653" y="237"/>
                      <a:pt x="652" y="238"/>
                      <a:pt x="653" y="241"/>
                    </a:cubicBezTo>
                    <a:cubicBezTo>
                      <a:pt x="653" y="243"/>
                      <a:pt x="654" y="242"/>
                      <a:pt x="654" y="241"/>
                    </a:cubicBezTo>
                    <a:cubicBezTo>
                      <a:pt x="657" y="241"/>
                      <a:pt x="655" y="244"/>
                      <a:pt x="656" y="245"/>
                    </a:cubicBezTo>
                    <a:cubicBezTo>
                      <a:pt x="657" y="245"/>
                      <a:pt x="659" y="244"/>
                      <a:pt x="660" y="245"/>
                    </a:cubicBezTo>
                    <a:cubicBezTo>
                      <a:pt x="662" y="247"/>
                      <a:pt x="669" y="247"/>
                      <a:pt x="675" y="245"/>
                    </a:cubicBezTo>
                    <a:cubicBezTo>
                      <a:pt x="677" y="237"/>
                      <a:pt x="677" y="233"/>
                      <a:pt x="675" y="226"/>
                    </a:cubicBezTo>
                    <a:cubicBezTo>
                      <a:pt x="676" y="224"/>
                      <a:pt x="672" y="225"/>
                      <a:pt x="671" y="224"/>
                    </a:cubicBezTo>
                    <a:cubicBezTo>
                      <a:pt x="669" y="221"/>
                      <a:pt x="674" y="215"/>
                      <a:pt x="667" y="217"/>
                    </a:cubicBezTo>
                    <a:cubicBezTo>
                      <a:pt x="669" y="215"/>
                      <a:pt x="672" y="215"/>
                      <a:pt x="671" y="211"/>
                    </a:cubicBezTo>
                    <a:cubicBezTo>
                      <a:pt x="679" y="213"/>
                      <a:pt x="678" y="207"/>
                      <a:pt x="684" y="207"/>
                    </a:cubicBezTo>
                    <a:cubicBezTo>
                      <a:pt x="687" y="208"/>
                      <a:pt x="685" y="203"/>
                      <a:pt x="686" y="202"/>
                    </a:cubicBezTo>
                    <a:cubicBezTo>
                      <a:pt x="686" y="202"/>
                      <a:pt x="691" y="204"/>
                      <a:pt x="692" y="202"/>
                    </a:cubicBezTo>
                    <a:cubicBezTo>
                      <a:pt x="687" y="194"/>
                      <a:pt x="694" y="186"/>
                      <a:pt x="690" y="181"/>
                    </a:cubicBezTo>
                    <a:cubicBezTo>
                      <a:pt x="690" y="179"/>
                      <a:pt x="687" y="181"/>
                      <a:pt x="688" y="181"/>
                    </a:cubicBezTo>
                    <a:cubicBezTo>
                      <a:pt x="685" y="179"/>
                      <a:pt x="688" y="175"/>
                      <a:pt x="682" y="176"/>
                    </a:cubicBezTo>
                    <a:cubicBezTo>
                      <a:pt x="683" y="172"/>
                      <a:pt x="680" y="172"/>
                      <a:pt x="680" y="168"/>
                    </a:cubicBezTo>
                    <a:cubicBezTo>
                      <a:pt x="680" y="164"/>
                      <a:pt x="682" y="162"/>
                      <a:pt x="686" y="163"/>
                    </a:cubicBezTo>
                    <a:cubicBezTo>
                      <a:pt x="683" y="161"/>
                      <a:pt x="688" y="150"/>
                      <a:pt x="680" y="150"/>
                    </a:cubicBezTo>
                    <a:cubicBezTo>
                      <a:pt x="682" y="148"/>
                      <a:pt x="682" y="147"/>
                      <a:pt x="682" y="144"/>
                    </a:cubicBezTo>
                    <a:cubicBezTo>
                      <a:pt x="682" y="144"/>
                      <a:pt x="680" y="143"/>
                      <a:pt x="680" y="142"/>
                    </a:cubicBezTo>
                    <a:cubicBezTo>
                      <a:pt x="681" y="142"/>
                      <a:pt x="683" y="142"/>
                      <a:pt x="682" y="140"/>
                    </a:cubicBezTo>
                    <a:cubicBezTo>
                      <a:pt x="682" y="139"/>
                      <a:pt x="680" y="138"/>
                      <a:pt x="680" y="137"/>
                    </a:cubicBezTo>
                    <a:cubicBezTo>
                      <a:pt x="680" y="134"/>
                      <a:pt x="684" y="130"/>
                      <a:pt x="680" y="129"/>
                    </a:cubicBezTo>
                    <a:cubicBezTo>
                      <a:pt x="681" y="126"/>
                      <a:pt x="696" y="125"/>
                      <a:pt x="694" y="131"/>
                    </a:cubicBezTo>
                    <a:cubicBezTo>
                      <a:pt x="701" y="131"/>
                      <a:pt x="711" y="133"/>
                      <a:pt x="714" y="127"/>
                    </a:cubicBezTo>
                    <a:cubicBezTo>
                      <a:pt x="718" y="132"/>
                      <a:pt x="728" y="132"/>
                      <a:pt x="727" y="142"/>
                    </a:cubicBezTo>
                    <a:cubicBezTo>
                      <a:pt x="732" y="142"/>
                      <a:pt x="737" y="142"/>
                      <a:pt x="742" y="142"/>
                    </a:cubicBezTo>
                    <a:cubicBezTo>
                      <a:pt x="741" y="145"/>
                      <a:pt x="743" y="146"/>
                      <a:pt x="746" y="146"/>
                    </a:cubicBezTo>
                    <a:cubicBezTo>
                      <a:pt x="746" y="150"/>
                      <a:pt x="745" y="153"/>
                      <a:pt x="746" y="157"/>
                    </a:cubicBezTo>
                    <a:cubicBezTo>
                      <a:pt x="746" y="161"/>
                      <a:pt x="751" y="165"/>
                      <a:pt x="748" y="166"/>
                    </a:cubicBezTo>
                    <a:cubicBezTo>
                      <a:pt x="748" y="169"/>
                      <a:pt x="751" y="168"/>
                      <a:pt x="753" y="168"/>
                    </a:cubicBezTo>
                    <a:cubicBezTo>
                      <a:pt x="752" y="174"/>
                      <a:pt x="760" y="171"/>
                      <a:pt x="755" y="176"/>
                    </a:cubicBezTo>
                    <a:cubicBezTo>
                      <a:pt x="763" y="177"/>
                      <a:pt x="765" y="173"/>
                      <a:pt x="772" y="174"/>
                    </a:cubicBezTo>
                    <a:cubicBezTo>
                      <a:pt x="772" y="172"/>
                      <a:pt x="771" y="171"/>
                      <a:pt x="770" y="170"/>
                    </a:cubicBezTo>
                    <a:cubicBezTo>
                      <a:pt x="771" y="166"/>
                      <a:pt x="773" y="166"/>
                      <a:pt x="776" y="168"/>
                    </a:cubicBezTo>
                    <a:cubicBezTo>
                      <a:pt x="773" y="162"/>
                      <a:pt x="780" y="163"/>
                      <a:pt x="781" y="161"/>
                    </a:cubicBezTo>
                    <a:cubicBezTo>
                      <a:pt x="782" y="159"/>
                      <a:pt x="779" y="159"/>
                      <a:pt x="779" y="159"/>
                    </a:cubicBezTo>
                    <a:cubicBezTo>
                      <a:pt x="779" y="157"/>
                      <a:pt x="783" y="156"/>
                      <a:pt x="787" y="155"/>
                    </a:cubicBezTo>
                    <a:cubicBezTo>
                      <a:pt x="783" y="159"/>
                      <a:pt x="786" y="159"/>
                      <a:pt x="790" y="165"/>
                    </a:cubicBezTo>
                    <a:cubicBezTo>
                      <a:pt x="793" y="167"/>
                      <a:pt x="795" y="172"/>
                      <a:pt x="802" y="172"/>
                    </a:cubicBezTo>
                    <a:cubicBezTo>
                      <a:pt x="801" y="174"/>
                      <a:pt x="798" y="173"/>
                      <a:pt x="798" y="176"/>
                    </a:cubicBezTo>
                    <a:cubicBezTo>
                      <a:pt x="799" y="178"/>
                      <a:pt x="802" y="178"/>
                      <a:pt x="802" y="181"/>
                    </a:cubicBezTo>
                    <a:cubicBezTo>
                      <a:pt x="804" y="182"/>
                      <a:pt x="803" y="178"/>
                      <a:pt x="804" y="178"/>
                    </a:cubicBezTo>
                    <a:cubicBezTo>
                      <a:pt x="808" y="176"/>
                      <a:pt x="802" y="185"/>
                      <a:pt x="809" y="183"/>
                    </a:cubicBezTo>
                    <a:cubicBezTo>
                      <a:pt x="806" y="188"/>
                      <a:pt x="810" y="190"/>
                      <a:pt x="805" y="194"/>
                    </a:cubicBezTo>
                    <a:cubicBezTo>
                      <a:pt x="806" y="198"/>
                      <a:pt x="811" y="196"/>
                      <a:pt x="813" y="198"/>
                    </a:cubicBezTo>
                    <a:cubicBezTo>
                      <a:pt x="813" y="199"/>
                      <a:pt x="810" y="201"/>
                      <a:pt x="811" y="202"/>
                    </a:cubicBezTo>
                    <a:cubicBezTo>
                      <a:pt x="812" y="203"/>
                      <a:pt x="815" y="203"/>
                      <a:pt x="817" y="204"/>
                    </a:cubicBezTo>
                    <a:cubicBezTo>
                      <a:pt x="818" y="204"/>
                      <a:pt x="819" y="207"/>
                      <a:pt x="820" y="207"/>
                    </a:cubicBezTo>
                    <a:cubicBezTo>
                      <a:pt x="823" y="209"/>
                      <a:pt x="827" y="210"/>
                      <a:pt x="830" y="213"/>
                    </a:cubicBezTo>
                    <a:cubicBezTo>
                      <a:pt x="832" y="214"/>
                      <a:pt x="834" y="206"/>
                      <a:pt x="835" y="211"/>
                    </a:cubicBezTo>
                    <a:cubicBezTo>
                      <a:pt x="835" y="216"/>
                      <a:pt x="831" y="216"/>
                      <a:pt x="826" y="217"/>
                    </a:cubicBezTo>
                    <a:cubicBezTo>
                      <a:pt x="829" y="220"/>
                      <a:pt x="835" y="222"/>
                      <a:pt x="841" y="222"/>
                    </a:cubicBezTo>
                    <a:cubicBezTo>
                      <a:pt x="840" y="225"/>
                      <a:pt x="842" y="226"/>
                      <a:pt x="845" y="226"/>
                    </a:cubicBezTo>
                    <a:cubicBezTo>
                      <a:pt x="844" y="230"/>
                      <a:pt x="845" y="232"/>
                      <a:pt x="848" y="232"/>
                    </a:cubicBezTo>
                    <a:cubicBezTo>
                      <a:pt x="847" y="234"/>
                      <a:pt x="846" y="237"/>
                      <a:pt x="846" y="241"/>
                    </a:cubicBezTo>
                    <a:cubicBezTo>
                      <a:pt x="843" y="242"/>
                      <a:pt x="839" y="242"/>
                      <a:pt x="835" y="245"/>
                    </a:cubicBezTo>
                    <a:cubicBezTo>
                      <a:pt x="834" y="245"/>
                      <a:pt x="835" y="246"/>
                      <a:pt x="833" y="247"/>
                    </a:cubicBezTo>
                    <a:cubicBezTo>
                      <a:pt x="831" y="247"/>
                      <a:pt x="830" y="247"/>
                      <a:pt x="830" y="248"/>
                    </a:cubicBezTo>
                    <a:cubicBezTo>
                      <a:pt x="829" y="252"/>
                      <a:pt x="825" y="249"/>
                      <a:pt x="826" y="248"/>
                    </a:cubicBezTo>
                    <a:cubicBezTo>
                      <a:pt x="825" y="249"/>
                      <a:pt x="823" y="251"/>
                      <a:pt x="822" y="252"/>
                    </a:cubicBezTo>
                    <a:cubicBezTo>
                      <a:pt x="822" y="253"/>
                      <a:pt x="821" y="257"/>
                      <a:pt x="820" y="258"/>
                    </a:cubicBezTo>
                    <a:cubicBezTo>
                      <a:pt x="819" y="259"/>
                      <a:pt x="812" y="257"/>
                      <a:pt x="817" y="260"/>
                    </a:cubicBezTo>
                    <a:cubicBezTo>
                      <a:pt x="814" y="263"/>
                      <a:pt x="808" y="261"/>
                      <a:pt x="805" y="261"/>
                    </a:cubicBezTo>
                    <a:cubicBezTo>
                      <a:pt x="801" y="262"/>
                      <a:pt x="798" y="262"/>
                      <a:pt x="794" y="261"/>
                    </a:cubicBezTo>
                    <a:cubicBezTo>
                      <a:pt x="791" y="261"/>
                      <a:pt x="791" y="260"/>
                      <a:pt x="789" y="260"/>
                    </a:cubicBezTo>
                    <a:cubicBezTo>
                      <a:pt x="780" y="258"/>
                      <a:pt x="772" y="260"/>
                      <a:pt x="764" y="261"/>
                    </a:cubicBezTo>
                    <a:cubicBezTo>
                      <a:pt x="758" y="264"/>
                      <a:pt x="756" y="271"/>
                      <a:pt x="748" y="273"/>
                    </a:cubicBezTo>
                    <a:cubicBezTo>
                      <a:pt x="752" y="277"/>
                      <a:pt x="744" y="277"/>
                      <a:pt x="742" y="280"/>
                    </a:cubicBezTo>
                    <a:cubicBezTo>
                      <a:pt x="743" y="282"/>
                      <a:pt x="744" y="283"/>
                      <a:pt x="744" y="286"/>
                    </a:cubicBezTo>
                    <a:cubicBezTo>
                      <a:pt x="747" y="284"/>
                      <a:pt x="747" y="280"/>
                      <a:pt x="749" y="278"/>
                    </a:cubicBezTo>
                    <a:cubicBezTo>
                      <a:pt x="751" y="277"/>
                      <a:pt x="757" y="278"/>
                      <a:pt x="757" y="274"/>
                    </a:cubicBezTo>
                    <a:cubicBezTo>
                      <a:pt x="757" y="268"/>
                      <a:pt x="760" y="279"/>
                      <a:pt x="761" y="271"/>
                    </a:cubicBezTo>
                    <a:cubicBezTo>
                      <a:pt x="763" y="269"/>
                      <a:pt x="764" y="273"/>
                      <a:pt x="764" y="273"/>
                    </a:cubicBezTo>
                    <a:cubicBezTo>
                      <a:pt x="766" y="272"/>
                      <a:pt x="765" y="269"/>
                      <a:pt x="766" y="269"/>
                    </a:cubicBezTo>
                    <a:cubicBezTo>
                      <a:pt x="770" y="268"/>
                      <a:pt x="773" y="269"/>
                      <a:pt x="779" y="269"/>
                    </a:cubicBezTo>
                    <a:cubicBezTo>
                      <a:pt x="780" y="271"/>
                      <a:pt x="781" y="270"/>
                      <a:pt x="781" y="269"/>
                    </a:cubicBezTo>
                    <a:cubicBezTo>
                      <a:pt x="784" y="268"/>
                      <a:pt x="784" y="279"/>
                      <a:pt x="779" y="276"/>
                    </a:cubicBezTo>
                    <a:cubicBezTo>
                      <a:pt x="784" y="281"/>
                      <a:pt x="776" y="282"/>
                      <a:pt x="777" y="289"/>
                    </a:cubicBezTo>
                    <a:cubicBezTo>
                      <a:pt x="778" y="291"/>
                      <a:pt x="779" y="292"/>
                      <a:pt x="779" y="295"/>
                    </a:cubicBezTo>
                    <a:cubicBezTo>
                      <a:pt x="781" y="294"/>
                      <a:pt x="783" y="293"/>
                      <a:pt x="783" y="295"/>
                    </a:cubicBezTo>
                    <a:cubicBezTo>
                      <a:pt x="783" y="297"/>
                      <a:pt x="785" y="296"/>
                      <a:pt x="787" y="297"/>
                    </a:cubicBezTo>
                    <a:cubicBezTo>
                      <a:pt x="788" y="297"/>
                      <a:pt x="790" y="300"/>
                      <a:pt x="790" y="301"/>
                    </a:cubicBezTo>
                    <a:cubicBezTo>
                      <a:pt x="791" y="301"/>
                      <a:pt x="793" y="300"/>
                      <a:pt x="794" y="301"/>
                    </a:cubicBezTo>
                    <a:cubicBezTo>
                      <a:pt x="795" y="301"/>
                      <a:pt x="796" y="302"/>
                      <a:pt x="796" y="302"/>
                    </a:cubicBezTo>
                    <a:cubicBezTo>
                      <a:pt x="799" y="303"/>
                      <a:pt x="801" y="298"/>
                      <a:pt x="804" y="302"/>
                    </a:cubicBezTo>
                    <a:cubicBezTo>
                      <a:pt x="806" y="303"/>
                      <a:pt x="804" y="299"/>
                      <a:pt x="805" y="299"/>
                    </a:cubicBezTo>
                    <a:cubicBezTo>
                      <a:pt x="806" y="298"/>
                      <a:pt x="809" y="299"/>
                      <a:pt x="809" y="299"/>
                    </a:cubicBezTo>
                    <a:cubicBezTo>
                      <a:pt x="810" y="297"/>
                      <a:pt x="808" y="295"/>
                      <a:pt x="809" y="293"/>
                    </a:cubicBezTo>
                    <a:cubicBezTo>
                      <a:pt x="812" y="292"/>
                      <a:pt x="813" y="295"/>
                      <a:pt x="813" y="297"/>
                    </a:cubicBezTo>
                    <a:cubicBezTo>
                      <a:pt x="814" y="300"/>
                      <a:pt x="819" y="298"/>
                      <a:pt x="817" y="304"/>
                    </a:cubicBezTo>
                    <a:cubicBezTo>
                      <a:pt x="814" y="305"/>
                      <a:pt x="813" y="302"/>
                      <a:pt x="811" y="302"/>
                    </a:cubicBezTo>
                    <a:cubicBezTo>
                      <a:pt x="808" y="303"/>
                      <a:pt x="808" y="307"/>
                      <a:pt x="805" y="308"/>
                    </a:cubicBezTo>
                    <a:cubicBezTo>
                      <a:pt x="804" y="309"/>
                      <a:pt x="801" y="308"/>
                      <a:pt x="800" y="308"/>
                    </a:cubicBezTo>
                    <a:cubicBezTo>
                      <a:pt x="796" y="309"/>
                      <a:pt x="797" y="313"/>
                      <a:pt x="790" y="312"/>
                    </a:cubicBezTo>
                    <a:cubicBezTo>
                      <a:pt x="787" y="311"/>
                      <a:pt x="788" y="316"/>
                      <a:pt x="787" y="317"/>
                    </a:cubicBezTo>
                    <a:cubicBezTo>
                      <a:pt x="786" y="318"/>
                      <a:pt x="784" y="316"/>
                      <a:pt x="785" y="315"/>
                    </a:cubicBezTo>
                    <a:cubicBezTo>
                      <a:pt x="781" y="318"/>
                      <a:pt x="782" y="322"/>
                      <a:pt x="776" y="321"/>
                    </a:cubicBezTo>
                    <a:cubicBezTo>
                      <a:pt x="779" y="317"/>
                      <a:pt x="775" y="319"/>
                      <a:pt x="776" y="314"/>
                    </a:cubicBezTo>
                    <a:cubicBezTo>
                      <a:pt x="779" y="312"/>
                      <a:pt x="781" y="308"/>
                      <a:pt x="785" y="312"/>
                    </a:cubicBezTo>
                    <a:cubicBezTo>
                      <a:pt x="786" y="306"/>
                      <a:pt x="782" y="306"/>
                      <a:pt x="779" y="304"/>
                    </a:cubicBezTo>
                    <a:cubicBezTo>
                      <a:pt x="775" y="303"/>
                      <a:pt x="772" y="310"/>
                      <a:pt x="768" y="310"/>
                    </a:cubicBezTo>
                    <a:cubicBezTo>
                      <a:pt x="768" y="310"/>
                      <a:pt x="763" y="311"/>
                      <a:pt x="762" y="312"/>
                    </a:cubicBezTo>
                    <a:cubicBezTo>
                      <a:pt x="761" y="313"/>
                      <a:pt x="761" y="313"/>
                      <a:pt x="761" y="315"/>
                    </a:cubicBezTo>
                    <a:cubicBezTo>
                      <a:pt x="750" y="314"/>
                      <a:pt x="751" y="321"/>
                      <a:pt x="742" y="317"/>
                    </a:cubicBezTo>
                    <a:cubicBezTo>
                      <a:pt x="745" y="320"/>
                      <a:pt x="747" y="321"/>
                      <a:pt x="738" y="321"/>
                    </a:cubicBezTo>
                    <a:cubicBezTo>
                      <a:pt x="734" y="324"/>
                      <a:pt x="733" y="334"/>
                      <a:pt x="738" y="336"/>
                    </a:cubicBezTo>
                    <a:cubicBezTo>
                      <a:pt x="738" y="340"/>
                      <a:pt x="733" y="338"/>
                      <a:pt x="735" y="343"/>
                    </a:cubicBezTo>
                    <a:cubicBezTo>
                      <a:pt x="733" y="344"/>
                      <a:pt x="731" y="343"/>
                      <a:pt x="729" y="343"/>
                    </a:cubicBezTo>
                    <a:cubicBezTo>
                      <a:pt x="727" y="344"/>
                      <a:pt x="727" y="346"/>
                      <a:pt x="725" y="347"/>
                    </a:cubicBezTo>
                    <a:cubicBezTo>
                      <a:pt x="722" y="349"/>
                      <a:pt x="717" y="348"/>
                      <a:pt x="714" y="351"/>
                    </a:cubicBezTo>
                    <a:cubicBezTo>
                      <a:pt x="713" y="352"/>
                      <a:pt x="711" y="353"/>
                      <a:pt x="710" y="355"/>
                    </a:cubicBezTo>
                    <a:cubicBezTo>
                      <a:pt x="708" y="357"/>
                      <a:pt x="708" y="361"/>
                      <a:pt x="705" y="364"/>
                    </a:cubicBezTo>
                    <a:cubicBezTo>
                      <a:pt x="703" y="366"/>
                      <a:pt x="699" y="366"/>
                      <a:pt x="701" y="373"/>
                    </a:cubicBezTo>
                    <a:cubicBezTo>
                      <a:pt x="697" y="373"/>
                      <a:pt x="697" y="368"/>
                      <a:pt x="694" y="368"/>
                    </a:cubicBezTo>
                    <a:cubicBezTo>
                      <a:pt x="692" y="368"/>
                      <a:pt x="692" y="371"/>
                      <a:pt x="690" y="371"/>
                    </a:cubicBezTo>
                    <a:cubicBezTo>
                      <a:pt x="697" y="379"/>
                      <a:pt x="696" y="385"/>
                      <a:pt x="697" y="396"/>
                    </a:cubicBezTo>
                    <a:cubicBezTo>
                      <a:pt x="693" y="394"/>
                      <a:pt x="695" y="398"/>
                      <a:pt x="694" y="399"/>
                    </a:cubicBezTo>
                    <a:cubicBezTo>
                      <a:pt x="693" y="400"/>
                      <a:pt x="690" y="399"/>
                      <a:pt x="690" y="399"/>
                    </a:cubicBezTo>
                    <a:cubicBezTo>
                      <a:pt x="688" y="401"/>
                      <a:pt x="688" y="402"/>
                      <a:pt x="686" y="403"/>
                    </a:cubicBezTo>
                    <a:cubicBezTo>
                      <a:pt x="684" y="405"/>
                      <a:pt x="682" y="408"/>
                      <a:pt x="680" y="409"/>
                    </a:cubicBezTo>
                    <a:cubicBezTo>
                      <a:pt x="678" y="410"/>
                      <a:pt x="675" y="408"/>
                      <a:pt x="673" y="411"/>
                    </a:cubicBezTo>
                    <a:cubicBezTo>
                      <a:pt x="669" y="412"/>
                      <a:pt x="667" y="416"/>
                      <a:pt x="666" y="420"/>
                    </a:cubicBezTo>
                    <a:cubicBezTo>
                      <a:pt x="661" y="420"/>
                      <a:pt x="662" y="426"/>
                      <a:pt x="656" y="425"/>
                    </a:cubicBezTo>
                    <a:cubicBezTo>
                      <a:pt x="658" y="432"/>
                      <a:pt x="652" y="446"/>
                      <a:pt x="660" y="446"/>
                    </a:cubicBezTo>
                    <a:cubicBezTo>
                      <a:pt x="656" y="453"/>
                      <a:pt x="663" y="453"/>
                      <a:pt x="662" y="463"/>
                    </a:cubicBezTo>
                    <a:cubicBezTo>
                      <a:pt x="662" y="465"/>
                      <a:pt x="664" y="464"/>
                      <a:pt x="666" y="465"/>
                    </a:cubicBezTo>
                    <a:cubicBezTo>
                      <a:pt x="663" y="470"/>
                      <a:pt x="666" y="470"/>
                      <a:pt x="666" y="478"/>
                    </a:cubicBezTo>
                    <a:cubicBezTo>
                      <a:pt x="662" y="478"/>
                      <a:pt x="659" y="479"/>
                      <a:pt x="658" y="481"/>
                    </a:cubicBezTo>
                    <a:cubicBezTo>
                      <a:pt x="655" y="481"/>
                      <a:pt x="657" y="478"/>
                      <a:pt x="656" y="476"/>
                    </a:cubicBezTo>
                    <a:cubicBezTo>
                      <a:pt x="655" y="474"/>
                      <a:pt x="652" y="475"/>
                      <a:pt x="651" y="474"/>
                    </a:cubicBezTo>
                    <a:cubicBezTo>
                      <a:pt x="650" y="473"/>
                      <a:pt x="651" y="469"/>
                      <a:pt x="647" y="470"/>
                    </a:cubicBezTo>
                    <a:cubicBezTo>
                      <a:pt x="648" y="466"/>
                      <a:pt x="650" y="462"/>
                      <a:pt x="643" y="461"/>
                    </a:cubicBezTo>
                    <a:cubicBezTo>
                      <a:pt x="646" y="452"/>
                      <a:pt x="642" y="453"/>
                      <a:pt x="641" y="444"/>
                    </a:cubicBezTo>
                    <a:cubicBezTo>
                      <a:pt x="640" y="444"/>
                      <a:pt x="639" y="446"/>
                      <a:pt x="638" y="446"/>
                    </a:cubicBezTo>
                    <a:cubicBezTo>
                      <a:pt x="638" y="445"/>
                      <a:pt x="638" y="443"/>
                      <a:pt x="638" y="442"/>
                    </a:cubicBezTo>
                    <a:cubicBezTo>
                      <a:pt x="635" y="443"/>
                      <a:pt x="625" y="445"/>
                      <a:pt x="623" y="442"/>
                    </a:cubicBezTo>
                    <a:cubicBezTo>
                      <a:pt x="621" y="441"/>
                      <a:pt x="621" y="439"/>
                      <a:pt x="619" y="439"/>
                    </a:cubicBezTo>
                    <a:cubicBezTo>
                      <a:pt x="618" y="438"/>
                      <a:pt x="615" y="441"/>
                      <a:pt x="612" y="440"/>
                    </a:cubicBezTo>
                    <a:cubicBezTo>
                      <a:pt x="612" y="440"/>
                      <a:pt x="619" y="434"/>
                      <a:pt x="612" y="437"/>
                    </a:cubicBezTo>
                    <a:cubicBezTo>
                      <a:pt x="611" y="437"/>
                      <a:pt x="612" y="438"/>
                      <a:pt x="610" y="439"/>
                    </a:cubicBezTo>
                    <a:cubicBezTo>
                      <a:pt x="605" y="439"/>
                      <a:pt x="597" y="439"/>
                      <a:pt x="593" y="437"/>
                    </a:cubicBezTo>
                    <a:cubicBezTo>
                      <a:pt x="589" y="436"/>
                      <a:pt x="592" y="443"/>
                      <a:pt x="591" y="446"/>
                    </a:cubicBezTo>
                    <a:cubicBezTo>
                      <a:pt x="581" y="444"/>
                      <a:pt x="569" y="444"/>
                      <a:pt x="557" y="442"/>
                    </a:cubicBezTo>
                    <a:cubicBezTo>
                      <a:pt x="556" y="443"/>
                      <a:pt x="556" y="444"/>
                      <a:pt x="554" y="444"/>
                    </a:cubicBezTo>
                    <a:cubicBezTo>
                      <a:pt x="552" y="445"/>
                      <a:pt x="552" y="448"/>
                      <a:pt x="550" y="448"/>
                    </a:cubicBezTo>
                    <a:cubicBezTo>
                      <a:pt x="548" y="448"/>
                      <a:pt x="549" y="450"/>
                      <a:pt x="548" y="452"/>
                    </a:cubicBezTo>
                    <a:cubicBezTo>
                      <a:pt x="546" y="452"/>
                      <a:pt x="543" y="451"/>
                      <a:pt x="541" y="452"/>
                    </a:cubicBezTo>
                    <a:cubicBezTo>
                      <a:pt x="539" y="452"/>
                      <a:pt x="539" y="456"/>
                      <a:pt x="535" y="455"/>
                    </a:cubicBezTo>
                    <a:cubicBezTo>
                      <a:pt x="536" y="459"/>
                      <a:pt x="533" y="468"/>
                      <a:pt x="537" y="468"/>
                    </a:cubicBezTo>
                    <a:cubicBezTo>
                      <a:pt x="535" y="471"/>
                      <a:pt x="534" y="474"/>
                      <a:pt x="531" y="476"/>
                    </a:cubicBezTo>
                    <a:cubicBezTo>
                      <a:pt x="532" y="481"/>
                      <a:pt x="531" y="486"/>
                      <a:pt x="531" y="491"/>
                    </a:cubicBezTo>
                    <a:cubicBezTo>
                      <a:pt x="532" y="493"/>
                      <a:pt x="533" y="494"/>
                      <a:pt x="533" y="496"/>
                    </a:cubicBezTo>
                    <a:cubicBezTo>
                      <a:pt x="533" y="501"/>
                      <a:pt x="535" y="506"/>
                      <a:pt x="531" y="509"/>
                    </a:cubicBezTo>
                    <a:cubicBezTo>
                      <a:pt x="531" y="512"/>
                      <a:pt x="536" y="510"/>
                      <a:pt x="537" y="511"/>
                    </a:cubicBezTo>
                    <a:cubicBezTo>
                      <a:pt x="537" y="512"/>
                      <a:pt x="535" y="514"/>
                      <a:pt x="535" y="515"/>
                    </a:cubicBezTo>
                    <a:cubicBezTo>
                      <a:pt x="535" y="514"/>
                      <a:pt x="537" y="517"/>
                      <a:pt x="537" y="517"/>
                    </a:cubicBezTo>
                    <a:cubicBezTo>
                      <a:pt x="538" y="519"/>
                      <a:pt x="540" y="517"/>
                      <a:pt x="541" y="519"/>
                    </a:cubicBezTo>
                    <a:cubicBezTo>
                      <a:pt x="541" y="519"/>
                      <a:pt x="540" y="522"/>
                      <a:pt x="541" y="522"/>
                    </a:cubicBezTo>
                    <a:cubicBezTo>
                      <a:pt x="541" y="523"/>
                      <a:pt x="542" y="522"/>
                      <a:pt x="543" y="522"/>
                    </a:cubicBezTo>
                    <a:cubicBezTo>
                      <a:pt x="543" y="523"/>
                      <a:pt x="542" y="526"/>
                      <a:pt x="543" y="526"/>
                    </a:cubicBezTo>
                    <a:cubicBezTo>
                      <a:pt x="544" y="527"/>
                      <a:pt x="548" y="530"/>
                      <a:pt x="548" y="534"/>
                    </a:cubicBezTo>
                    <a:cubicBezTo>
                      <a:pt x="563" y="535"/>
                      <a:pt x="571" y="531"/>
                      <a:pt x="578" y="534"/>
                    </a:cubicBezTo>
                    <a:cubicBezTo>
                      <a:pt x="580" y="533"/>
                      <a:pt x="580" y="531"/>
                      <a:pt x="582" y="530"/>
                    </a:cubicBezTo>
                    <a:cubicBezTo>
                      <a:pt x="583" y="528"/>
                      <a:pt x="586" y="525"/>
                      <a:pt x="587" y="521"/>
                    </a:cubicBezTo>
                    <a:cubicBezTo>
                      <a:pt x="588" y="519"/>
                      <a:pt x="590" y="517"/>
                      <a:pt x="587" y="517"/>
                    </a:cubicBezTo>
                    <a:cubicBezTo>
                      <a:pt x="592" y="511"/>
                      <a:pt x="605" y="507"/>
                      <a:pt x="615" y="511"/>
                    </a:cubicBezTo>
                    <a:cubicBezTo>
                      <a:pt x="611" y="516"/>
                      <a:pt x="610" y="523"/>
                      <a:pt x="606" y="528"/>
                    </a:cubicBezTo>
                    <a:cubicBezTo>
                      <a:pt x="604" y="533"/>
                      <a:pt x="609" y="533"/>
                      <a:pt x="608" y="537"/>
                    </a:cubicBezTo>
                    <a:cubicBezTo>
                      <a:pt x="604" y="538"/>
                      <a:pt x="602" y="542"/>
                      <a:pt x="600" y="547"/>
                    </a:cubicBezTo>
                    <a:cubicBezTo>
                      <a:pt x="600" y="548"/>
                      <a:pt x="600" y="549"/>
                      <a:pt x="598" y="548"/>
                    </a:cubicBezTo>
                    <a:cubicBezTo>
                      <a:pt x="598" y="553"/>
                      <a:pt x="607" y="547"/>
                      <a:pt x="604" y="554"/>
                    </a:cubicBezTo>
                    <a:cubicBezTo>
                      <a:pt x="608" y="554"/>
                      <a:pt x="610" y="551"/>
                      <a:pt x="615" y="552"/>
                    </a:cubicBezTo>
                    <a:cubicBezTo>
                      <a:pt x="614" y="556"/>
                      <a:pt x="619" y="555"/>
                      <a:pt x="619" y="558"/>
                    </a:cubicBezTo>
                    <a:cubicBezTo>
                      <a:pt x="629" y="554"/>
                      <a:pt x="630" y="561"/>
                      <a:pt x="641" y="560"/>
                    </a:cubicBezTo>
                    <a:cubicBezTo>
                      <a:pt x="637" y="564"/>
                      <a:pt x="644" y="570"/>
                      <a:pt x="638" y="573"/>
                    </a:cubicBezTo>
                    <a:cubicBezTo>
                      <a:pt x="641" y="577"/>
                      <a:pt x="639" y="588"/>
                      <a:pt x="638" y="593"/>
                    </a:cubicBezTo>
                    <a:cubicBezTo>
                      <a:pt x="638" y="596"/>
                      <a:pt x="641" y="597"/>
                      <a:pt x="645" y="597"/>
                    </a:cubicBezTo>
                    <a:cubicBezTo>
                      <a:pt x="644" y="601"/>
                      <a:pt x="649" y="600"/>
                      <a:pt x="649" y="603"/>
                    </a:cubicBezTo>
                    <a:cubicBezTo>
                      <a:pt x="649" y="605"/>
                      <a:pt x="655" y="603"/>
                      <a:pt x="654" y="606"/>
                    </a:cubicBezTo>
                    <a:cubicBezTo>
                      <a:pt x="661" y="601"/>
                      <a:pt x="672" y="607"/>
                      <a:pt x="677" y="604"/>
                    </a:cubicBezTo>
                    <a:cubicBezTo>
                      <a:pt x="677" y="606"/>
                      <a:pt x="677" y="607"/>
                      <a:pt x="677" y="608"/>
                    </a:cubicBezTo>
                    <a:cubicBezTo>
                      <a:pt x="680" y="608"/>
                      <a:pt x="686" y="604"/>
                      <a:pt x="686" y="610"/>
                    </a:cubicBezTo>
                    <a:cubicBezTo>
                      <a:pt x="688" y="609"/>
                      <a:pt x="689" y="608"/>
                      <a:pt x="692" y="608"/>
                    </a:cubicBezTo>
                    <a:cubicBezTo>
                      <a:pt x="693" y="607"/>
                      <a:pt x="694" y="606"/>
                      <a:pt x="695" y="604"/>
                    </a:cubicBezTo>
                    <a:cubicBezTo>
                      <a:pt x="696" y="603"/>
                      <a:pt x="697" y="605"/>
                      <a:pt x="697" y="603"/>
                    </a:cubicBezTo>
                    <a:cubicBezTo>
                      <a:pt x="697" y="600"/>
                      <a:pt x="700" y="604"/>
                      <a:pt x="701" y="601"/>
                    </a:cubicBezTo>
                    <a:cubicBezTo>
                      <a:pt x="701" y="600"/>
                      <a:pt x="701" y="597"/>
                      <a:pt x="701" y="597"/>
                    </a:cubicBezTo>
                    <a:cubicBezTo>
                      <a:pt x="702" y="596"/>
                      <a:pt x="703" y="599"/>
                      <a:pt x="703" y="599"/>
                    </a:cubicBezTo>
                    <a:cubicBezTo>
                      <a:pt x="704" y="598"/>
                      <a:pt x="705" y="596"/>
                      <a:pt x="707" y="595"/>
                    </a:cubicBezTo>
                    <a:cubicBezTo>
                      <a:pt x="708" y="594"/>
                      <a:pt x="711" y="592"/>
                      <a:pt x="714" y="589"/>
                    </a:cubicBezTo>
                    <a:cubicBezTo>
                      <a:pt x="715" y="589"/>
                      <a:pt x="716" y="588"/>
                      <a:pt x="716" y="586"/>
                    </a:cubicBezTo>
                    <a:cubicBezTo>
                      <a:pt x="718" y="588"/>
                      <a:pt x="737" y="589"/>
                      <a:pt x="727" y="591"/>
                    </a:cubicBezTo>
                    <a:cubicBezTo>
                      <a:pt x="728" y="594"/>
                      <a:pt x="732" y="593"/>
                      <a:pt x="735" y="593"/>
                    </a:cubicBezTo>
                    <a:cubicBezTo>
                      <a:pt x="736" y="593"/>
                      <a:pt x="736" y="591"/>
                      <a:pt x="736" y="589"/>
                    </a:cubicBezTo>
                    <a:cubicBezTo>
                      <a:pt x="741" y="589"/>
                      <a:pt x="746" y="589"/>
                      <a:pt x="751" y="589"/>
                    </a:cubicBezTo>
                    <a:cubicBezTo>
                      <a:pt x="749" y="595"/>
                      <a:pt x="759" y="593"/>
                      <a:pt x="764" y="595"/>
                    </a:cubicBezTo>
                    <a:cubicBezTo>
                      <a:pt x="765" y="595"/>
                      <a:pt x="764" y="597"/>
                      <a:pt x="766" y="597"/>
                    </a:cubicBezTo>
                    <a:cubicBezTo>
                      <a:pt x="768" y="597"/>
                      <a:pt x="768" y="599"/>
                      <a:pt x="770" y="599"/>
                    </a:cubicBezTo>
                    <a:cubicBezTo>
                      <a:pt x="774" y="599"/>
                      <a:pt x="775" y="597"/>
                      <a:pt x="777" y="597"/>
                    </a:cubicBezTo>
                    <a:cubicBezTo>
                      <a:pt x="787" y="596"/>
                      <a:pt x="796" y="598"/>
                      <a:pt x="805" y="599"/>
                    </a:cubicBezTo>
                    <a:cubicBezTo>
                      <a:pt x="805" y="602"/>
                      <a:pt x="807" y="606"/>
                      <a:pt x="807" y="603"/>
                    </a:cubicBezTo>
                    <a:cubicBezTo>
                      <a:pt x="809" y="603"/>
                      <a:pt x="808" y="604"/>
                      <a:pt x="807" y="604"/>
                    </a:cubicBezTo>
                    <a:cubicBezTo>
                      <a:pt x="807" y="609"/>
                      <a:pt x="812" y="605"/>
                      <a:pt x="815" y="608"/>
                    </a:cubicBezTo>
                    <a:cubicBezTo>
                      <a:pt x="815" y="609"/>
                      <a:pt x="814" y="612"/>
                      <a:pt x="815" y="612"/>
                    </a:cubicBezTo>
                    <a:cubicBezTo>
                      <a:pt x="817" y="613"/>
                      <a:pt x="820" y="611"/>
                      <a:pt x="822" y="612"/>
                    </a:cubicBezTo>
                    <a:cubicBezTo>
                      <a:pt x="821" y="616"/>
                      <a:pt x="823" y="617"/>
                      <a:pt x="826" y="619"/>
                    </a:cubicBezTo>
                    <a:cubicBezTo>
                      <a:pt x="829" y="622"/>
                      <a:pt x="832" y="624"/>
                      <a:pt x="833" y="629"/>
                    </a:cubicBezTo>
                    <a:cubicBezTo>
                      <a:pt x="845" y="628"/>
                      <a:pt x="850" y="634"/>
                      <a:pt x="859" y="630"/>
                    </a:cubicBezTo>
                    <a:cubicBezTo>
                      <a:pt x="857" y="638"/>
                      <a:pt x="870" y="630"/>
                      <a:pt x="867" y="638"/>
                    </a:cubicBezTo>
                    <a:cubicBezTo>
                      <a:pt x="873" y="635"/>
                      <a:pt x="873" y="643"/>
                      <a:pt x="878" y="644"/>
                    </a:cubicBezTo>
                    <a:cubicBezTo>
                      <a:pt x="880" y="644"/>
                      <a:pt x="880" y="649"/>
                      <a:pt x="884" y="647"/>
                    </a:cubicBezTo>
                    <a:cubicBezTo>
                      <a:pt x="878" y="652"/>
                      <a:pt x="886" y="651"/>
                      <a:pt x="885" y="657"/>
                    </a:cubicBezTo>
                    <a:cubicBezTo>
                      <a:pt x="885" y="660"/>
                      <a:pt x="889" y="659"/>
                      <a:pt x="891" y="660"/>
                    </a:cubicBezTo>
                    <a:cubicBezTo>
                      <a:pt x="892" y="661"/>
                      <a:pt x="891" y="666"/>
                      <a:pt x="895" y="664"/>
                    </a:cubicBezTo>
                    <a:cubicBezTo>
                      <a:pt x="888" y="671"/>
                      <a:pt x="904" y="673"/>
                      <a:pt x="899" y="679"/>
                    </a:cubicBezTo>
                    <a:cubicBezTo>
                      <a:pt x="902" y="678"/>
                      <a:pt x="904" y="679"/>
                      <a:pt x="904" y="683"/>
                    </a:cubicBezTo>
                    <a:cubicBezTo>
                      <a:pt x="914" y="681"/>
                      <a:pt x="926" y="684"/>
                      <a:pt x="930" y="692"/>
                    </a:cubicBezTo>
                    <a:cubicBezTo>
                      <a:pt x="939" y="692"/>
                      <a:pt x="944" y="695"/>
                      <a:pt x="954" y="694"/>
                    </a:cubicBezTo>
                    <a:cubicBezTo>
                      <a:pt x="955" y="695"/>
                      <a:pt x="951" y="696"/>
                      <a:pt x="951" y="696"/>
                    </a:cubicBezTo>
                    <a:cubicBezTo>
                      <a:pt x="953" y="699"/>
                      <a:pt x="965" y="697"/>
                      <a:pt x="971" y="698"/>
                    </a:cubicBezTo>
                    <a:cubicBezTo>
                      <a:pt x="971" y="699"/>
                      <a:pt x="974" y="699"/>
                      <a:pt x="975" y="699"/>
                    </a:cubicBezTo>
                    <a:cubicBezTo>
                      <a:pt x="975" y="703"/>
                      <a:pt x="979" y="702"/>
                      <a:pt x="981" y="703"/>
                    </a:cubicBezTo>
                    <a:cubicBezTo>
                      <a:pt x="981" y="704"/>
                      <a:pt x="980" y="706"/>
                      <a:pt x="981" y="707"/>
                    </a:cubicBezTo>
                    <a:cubicBezTo>
                      <a:pt x="981" y="708"/>
                      <a:pt x="984" y="706"/>
                      <a:pt x="984" y="707"/>
                    </a:cubicBezTo>
                    <a:cubicBezTo>
                      <a:pt x="986" y="708"/>
                      <a:pt x="984" y="712"/>
                      <a:pt x="988" y="711"/>
                    </a:cubicBezTo>
                    <a:cubicBezTo>
                      <a:pt x="988" y="730"/>
                      <a:pt x="988" y="749"/>
                      <a:pt x="988" y="768"/>
                    </a:cubicBezTo>
                    <a:cubicBezTo>
                      <a:pt x="980" y="766"/>
                      <a:pt x="988" y="779"/>
                      <a:pt x="981" y="776"/>
                    </a:cubicBezTo>
                    <a:cubicBezTo>
                      <a:pt x="980" y="782"/>
                      <a:pt x="979" y="788"/>
                      <a:pt x="979" y="795"/>
                    </a:cubicBezTo>
                    <a:cubicBezTo>
                      <a:pt x="979" y="798"/>
                      <a:pt x="982" y="805"/>
                      <a:pt x="981" y="813"/>
                    </a:cubicBezTo>
                    <a:cubicBezTo>
                      <a:pt x="981" y="813"/>
                      <a:pt x="979" y="814"/>
                      <a:pt x="979" y="815"/>
                    </a:cubicBezTo>
                    <a:cubicBezTo>
                      <a:pt x="978" y="816"/>
                      <a:pt x="979" y="818"/>
                      <a:pt x="979" y="819"/>
                    </a:cubicBezTo>
                    <a:cubicBezTo>
                      <a:pt x="978" y="820"/>
                      <a:pt x="973" y="821"/>
                      <a:pt x="975" y="828"/>
                    </a:cubicBezTo>
                    <a:cubicBezTo>
                      <a:pt x="971" y="829"/>
                      <a:pt x="969" y="832"/>
                      <a:pt x="966" y="834"/>
                    </a:cubicBezTo>
                    <a:cubicBezTo>
                      <a:pt x="965" y="835"/>
                      <a:pt x="967" y="838"/>
                      <a:pt x="966" y="839"/>
                    </a:cubicBezTo>
                    <a:cubicBezTo>
                      <a:pt x="965" y="840"/>
                      <a:pt x="962" y="839"/>
                      <a:pt x="962" y="839"/>
                    </a:cubicBezTo>
                    <a:cubicBezTo>
                      <a:pt x="961" y="840"/>
                      <a:pt x="963" y="843"/>
                      <a:pt x="962" y="843"/>
                    </a:cubicBezTo>
                    <a:cubicBezTo>
                      <a:pt x="960" y="844"/>
                      <a:pt x="955" y="843"/>
                      <a:pt x="954" y="847"/>
                    </a:cubicBezTo>
                    <a:cubicBezTo>
                      <a:pt x="954" y="849"/>
                      <a:pt x="951" y="848"/>
                      <a:pt x="947" y="850"/>
                    </a:cubicBezTo>
                    <a:cubicBezTo>
                      <a:pt x="946" y="851"/>
                      <a:pt x="944" y="854"/>
                      <a:pt x="943" y="854"/>
                    </a:cubicBezTo>
                    <a:cubicBezTo>
                      <a:pt x="942" y="854"/>
                      <a:pt x="941" y="852"/>
                      <a:pt x="940" y="852"/>
                    </a:cubicBezTo>
                    <a:cubicBezTo>
                      <a:pt x="940" y="852"/>
                      <a:pt x="939" y="854"/>
                      <a:pt x="938" y="854"/>
                    </a:cubicBezTo>
                    <a:cubicBezTo>
                      <a:pt x="935" y="854"/>
                      <a:pt x="934" y="855"/>
                      <a:pt x="934" y="858"/>
                    </a:cubicBezTo>
                    <a:cubicBezTo>
                      <a:pt x="927" y="855"/>
                      <a:pt x="923" y="863"/>
                      <a:pt x="919" y="865"/>
                    </a:cubicBezTo>
                    <a:cubicBezTo>
                      <a:pt x="918" y="866"/>
                      <a:pt x="916" y="865"/>
                      <a:pt x="915" y="865"/>
                    </a:cubicBezTo>
                    <a:cubicBezTo>
                      <a:pt x="914" y="866"/>
                      <a:pt x="912" y="868"/>
                      <a:pt x="912" y="869"/>
                    </a:cubicBezTo>
                    <a:cubicBezTo>
                      <a:pt x="911" y="870"/>
                      <a:pt x="908" y="872"/>
                      <a:pt x="908" y="873"/>
                    </a:cubicBezTo>
                    <a:cubicBezTo>
                      <a:pt x="907" y="874"/>
                      <a:pt x="911" y="878"/>
                      <a:pt x="906" y="877"/>
                    </a:cubicBezTo>
                    <a:cubicBezTo>
                      <a:pt x="907" y="885"/>
                      <a:pt x="903" y="889"/>
                      <a:pt x="904" y="897"/>
                    </a:cubicBezTo>
                    <a:cubicBezTo>
                      <a:pt x="899" y="895"/>
                      <a:pt x="902" y="901"/>
                      <a:pt x="900" y="903"/>
                    </a:cubicBezTo>
                    <a:cubicBezTo>
                      <a:pt x="900" y="903"/>
                      <a:pt x="897" y="902"/>
                      <a:pt x="897" y="903"/>
                    </a:cubicBezTo>
                    <a:cubicBezTo>
                      <a:pt x="896" y="904"/>
                      <a:pt x="900" y="906"/>
                      <a:pt x="897" y="906"/>
                    </a:cubicBezTo>
                    <a:cubicBezTo>
                      <a:pt x="894" y="906"/>
                      <a:pt x="894" y="914"/>
                      <a:pt x="889" y="914"/>
                    </a:cubicBezTo>
                    <a:cubicBezTo>
                      <a:pt x="889" y="914"/>
                      <a:pt x="886" y="917"/>
                      <a:pt x="885" y="918"/>
                    </a:cubicBezTo>
                    <a:cubicBezTo>
                      <a:pt x="883" y="920"/>
                      <a:pt x="881" y="926"/>
                      <a:pt x="876" y="929"/>
                    </a:cubicBezTo>
                    <a:cubicBezTo>
                      <a:pt x="876" y="931"/>
                      <a:pt x="876" y="934"/>
                      <a:pt x="876" y="936"/>
                    </a:cubicBezTo>
                    <a:cubicBezTo>
                      <a:pt x="873" y="938"/>
                      <a:pt x="870" y="939"/>
                      <a:pt x="871" y="944"/>
                    </a:cubicBezTo>
                    <a:cubicBezTo>
                      <a:pt x="867" y="944"/>
                      <a:pt x="864" y="944"/>
                      <a:pt x="861" y="944"/>
                    </a:cubicBezTo>
                    <a:cubicBezTo>
                      <a:pt x="861" y="945"/>
                      <a:pt x="864" y="945"/>
                      <a:pt x="865" y="946"/>
                    </a:cubicBezTo>
                    <a:cubicBezTo>
                      <a:pt x="865" y="948"/>
                      <a:pt x="862" y="947"/>
                      <a:pt x="859" y="947"/>
                    </a:cubicBezTo>
                    <a:cubicBezTo>
                      <a:pt x="857" y="949"/>
                      <a:pt x="856" y="951"/>
                      <a:pt x="856" y="955"/>
                    </a:cubicBezTo>
                    <a:cubicBezTo>
                      <a:pt x="853" y="953"/>
                      <a:pt x="852" y="953"/>
                      <a:pt x="852" y="957"/>
                    </a:cubicBezTo>
                    <a:cubicBezTo>
                      <a:pt x="850" y="957"/>
                      <a:pt x="851" y="954"/>
                      <a:pt x="850" y="953"/>
                    </a:cubicBezTo>
                    <a:cubicBezTo>
                      <a:pt x="847" y="953"/>
                      <a:pt x="845" y="953"/>
                      <a:pt x="845" y="951"/>
                    </a:cubicBezTo>
                    <a:cubicBezTo>
                      <a:pt x="843" y="952"/>
                      <a:pt x="843" y="955"/>
                      <a:pt x="839" y="955"/>
                    </a:cubicBezTo>
                    <a:cubicBezTo>
                      <a:pt x="838" y="959"/>
                      <a:pt x="842" y="960"/>
                      <a:pt x="843" y="964"/>
                    </a:cubicBezTo>
                    <a:cubicBezTo>
                      <a:pt x="843" y="969"/>
                      <a:pt x="836" y="972"/>
                      <a:pt x="841" y="975"/>
                    </a:cubicBezTo>
                    <a:cubicBezTo>
                      <a:pt x="840" y="980"/>
                      <a:pt x="831" y="975"/>
                      <a:pt x="830" y="979"/>
                    </a:cubicBezTo>
                    <a:cubicBezTo>
                      <a:pt x="827" y="979"/>
                      <a:pt x="829" y="982"/>
                      <a:pt x="828" y="983"/>
                    </a:cubicBezTo>
                    <a:cubicBezTo>
                      <a:pt x="826" y="984"/>
                      <a:pt x="819" y="983"/>
                      <a:pt x="820" y="988"/>
                    </a:cubicBezTo>
                    <a:cubicBezTo>
                      <a:pt x="816" y="985"/>
                      <a:pt x="803" y="985"/>
                      <a:pt x="802" y="990"/>
                    </a:cubicBezTo>
                    <a:cubicBezTo>
                      <a:pt x="802" y="992"/>
                      <a:pt x="804" y="991"/>
                      <a:pt x="804" y="990"/>
                    </a:cubicBezTo>
                    <a:cubicBezTo>
                      <a:pt x="808" y="990"/>
                      <a:pt x="803" y="995"/>
                      <a:pt x="800" y="994"/>
                    </a:cubicBezTo>
                    <a:cubicBezTo>
                      <a:pt x="801" y="998"/>
                      <a:pt x="794" y="1004"/>
                      <a:pt x="798" y="1005"/>
                    </a:cubicBezTo>
                    <a:cubicBezTo>
                      <a:pt x="798" y="1006"/>
                      <a:pt x="795" y="1007"/>
                      <a:pt x="794" y="1007"/>
                    </a:cubicBezTo>
                    <a:cubicBezTo>
                      <a:pt x="794" y="1007"/>
                      <a:pt x="792" y="1005"/>
                      <a:pt x="792" y="1005"/>
                    </a:cubicBezTo>
                    <a:cubicBezTo>
                      <a:pt x="791" y="1005"/>
                      <a:pt x="786" y="1010"/>
                      <a:pt x="787" y="1003"/>
                    </a:cubicBezTo>
                    <a:cubicBezTo>
                      <a:pt x="785" y="1004"/>
                      <a:pt x="784" y="1008"/>
                      <a:pt x="783" y="1005"/>
                    </a:cubicBezTo>
                    <a:cubicBezTo>
                      <a:pt x="780" y="1006"/>
                      <a:pt x="784" y="1016"/>
                      <a:pt x="785" y="1020"/>
                    </a:cubicBezTo>
                    <a:cubicBezTo>
                      <a:pt x="786" y="1025"/>
                      <a:pt x="782" y="1023"/>
                      <a:pt x="781" y="1028"/>
                    </a:cubicBezTo>
                    <a:cubicBezTo>
                      <a:pt x="781" y="1030"/>
                      <a:pt x="781" y="1034"/>
                      <a:pt x="776" y="1033"/>
                    </a:cubicBezTo>
                    <a:cubicBezTo>
                      <a:pt x="775" y="1035"/>
                      <a:pt x="779" y="1036"/>
                      <a:pt x="779" y="1037"/>
                    </a:cubicBezTo>
                    <a:cubicBezTo>
                      <a:pt x="780" y="1040"/>
                      <a:pt x="776" y="1036"/>
                      <a:pt x="776" y="1037"/>
                    </a:cubicBezTo>
                    <a:cubicBezTo>
                      <a:pt x="774" y="1038"/>
                      <a:pt x="774" y="1043"/>
                      <a:pt x="776" y="1042"/>
                    </a:cubicBezTo>
                    <a:cubicBezTo>
                      <a:pt x="775" y="1045"/>
                      <a:pt x="774" y="1043"/>
                      <a:pt x="772" y="1042"/>
                    </a:cubicBezTo>
                    <a:cubicBezTo>
                      <a:pt x="772" y="1042"/>
                      <a:pt x="771" y="1045"/>
                      <a:pt x="770" y="1044"/>
                    </a:cubicBezTo>
                    <a:cubicBezTo>
                      <a:pt x="767" y="1040"/>
                      <a:pt x="771" y="1045"/>
                      <a:pt x="768" y="1048"/>
                    </a:cubicBezTo>
                    <a:cubicBezTo>
                      <a:pt x="765" y="1051"/>
                      <a:pt x="764" y="1047"/>
                      <a:pt x="761" y="1050"/>
                    </a:cubicBezTo>
                    <a:cubicBezTo>
                      <a:pt x="758" y="1055"/>
                      <a:pt x="769" y="1054"/>
                      <a:pt x="762" y="1057"/>
                    </a:cubicBezTo>
                    <a:cubicBezTo>
                      <a:pt x="763" y="1059"/>
                      <a:pt x="766" y="1059"/>
                      <a:pt x="768" y="1059"/>
                    </a:cubicBezTo>
                    <a:cubicBezTo>
                      <a:pt x="767" y="1063"/>
                      <a:pt x="768" y="1065"/>
                      <a:pt x="772" y="1065"/>
                    </a:cubicBezTo>
                    <a:cubicBezTo>
                      <a:pt x="775" y="1069"/>
                      <a:pt x="768" y="1071"/>
                      <a:pt x="768" y="1072"/>
                    </a:cubicBezTo>
                    <a:cubicBezTo>
                      <a:pt x="768" y="1073"/>
                      <a:pt x="769" y="1075"/>
                      <a:pt x="770" y="1074"/>
                    </a:cubicBezTo>
                    <a:cubicBezTo>
                      <a:pt x="768" y="1077"/>
                      <a:pt x="769" y="1074"/>
                      <a:pt x="768" y="1074"/>
                    </a:cubicBezTo>
                    <a:cubicBezTo>
                      <a:pt x="765" y="1074"/>
                      <a:pt x="766" y="1078"/>
                      <a:pt x="761" y="1078"/>
                    </a:cubicBezTo>
                    <a:cubicBezTo>
                      <a:pt x="763" y="1081"/>
                      <a:pt x="762" y="1082"/>
                      <a:pt x="757" y="1082"/>
                    </a:cubicBezTo>
                    <a:cubicBezTo>
                      <a:pt x="758" y="1087"/>
                      <a:pt x="754" y="1086"/>
                      <a:pt x="755" y="1091"/>
                    </a:cubicBezTo>
                    <a:cubicBezTo>
                      <a:pt x="748" y="1092"/>
                      <a:pt x="756" y="1099"/>
                      <a:pt x="749" y="1095"/>
                    </a:cubicBezTo>
                    <a:cubicBezTo>
                      <a:pt x="750" y="1099"/>
                      <a:pt x="748" y="1103"/>
                      <a:pt x="749" y="1108"/>
                    </a:cubicBezTo>
                    <a:cubicBezTo>
                      <a:pt x="750" y="1109"/>
                      <a:pt x="751" y="1110"/>
                      <a:pt x="751" y="1110"/>
                    </a:cubicBezTo>
                    <a:cubicBezTo>
                      <a:pt x="751" y="1112"/>
                      <a:pt x="748" y="1113"/>
                      <a:pt x="751" y="1117"/>
                    </a:cubicBezTo>
                    <a:cubicBezTo>
                      <a:pt x="754" y="1119"/>
                      <a:pt x="751" y="1121"/>
                      <a:pt x="753" y="1126"/>
                    </a:cubicBezTo>
                    <a:cubicBezTo>
                      <a:pt x="755" y="1130"/>
                      <a:pt x="759" y="1132"/>
                      <a:pt x="761" y="1136"/>
                    </a:cubicBezTo>
                    <a:cubicBezTo>
                      <a:pt x="765" y="1139"/>
                      <a:pt x="768" y="1133"/>
                      <a:pt x="772" y="1137"/>
                    </a:cubicBezTo>
                    <a:cubicBezTo>
                      <a:pt x="773" y="1144"/>
                      <a:pt x="766" y="1140"/>
                      <a:pt x="762" y="1141"/>
                    </a:cubicBezTo>
                    <a:cubicBezTo>
                      <a:pt x="755" y="1143"/>
                      <a:pt x="746" y="1146"/>
                      <a:pt x="740" y="1145"/>
                    </a:cubicBezTo>
                    <a:cubicBezTo>
                      <a:pt x="740" y="1145"/>
                      <a:pt x="740" y="1142"/>
                      <a:pt x="740" y="1141"/>
                    </a:cubicBezTo>
                    <a:cubicBezTo>
                      <a:pt x="732" y="1143"/>
                      <a:pt x="730" y="1138"/>
                      <a:pt x="723" y="1137"/>
                    </a:cubicBezTo>
                    <a:cubicBezTo>
                      <a:pt x="723" y="1136"/>
                      <a:pt x="723" y="1134"/>
                      <a:pt x="723" y="1132"/>
                    </a:cubicBezTo>
                    <a:cubicBezTo>
                      <a:pt x="722" y="1127"/>
                      <a:pt x="716" y="1131"/>
                      <a:pt x="716" y="1126"/>
                    </a:cubicBezTo>
                    <a:cubicBezTo>
                      <a:pt x="716" y="1125"/>
                      <a:pt x="714" y="1124"/>
                      <a:pt x="714" y="1123"/>
                    </a:cubicBezTo>
                    <a:cubicBezTo>
                      <a:pt x="714" y="1121"/>
                      <a:pt x="712" y="1121"/>
                      <a:pt x="712" y="1121"/>
                    </a:cubicBezTo>
                    <a:cubicBezTo>
                      <a:pt x="712" y="1119"/>
                      <a:pt x="716" y="1115"/>
                      <a:pt x="712" y="1115"/>
                    </a:cubicBezTo>
                    <a:cubicBezTo>
                      <a:pt x="709" y="1115"/>
                      <a:pt x="712" y="1113"/>
                      <a:pt x="712" y="1111"/>
                    </a:cubicBezTo>
                    <a:cubicBezTo>
                      <a:pt x="712" y="1109"/>
                      <a:pt x="709" y="1109"/>
                      <a:pt x="708" y="1108"/>
                    </a:cubicBezTo>
                    <a:cubicBezTo>
                      <a:pt x="708" y="1106"/>
                      <a:pt x="711" y="1106"/>
                      <a:pt x="710" y="1104"/>
                    </a:cubicBezTo>
                    <a:cubicBezTo>
                      <a:pt x="710" y="1104"/>
                      <a:pt x="709" y="1103"/>
                      <a:pt x="708" y="1102"/>
                    </a:cubicBezTo>
                    <a:cubicBezTo>
                      <a:pt x="708" y="1100"/>
                      <a:pt x="707" y="1097"/>
                      <a:pt x="705" y="1096"/>
                    </a:cubicBezTo>
                    <a:cubicBezTo>
                      <a:pt x="704" y="1094"/>
                      <a:pt x="707" y="1093"/>
                      <a:pt x="707" y="1091"/>
                    </a:cubicBezTo>
                    <a:cubicBezTo>
                      <a:pt x="706" y="1090"/>
                      <a:pt x="703" y="1088"/>
                      <a:pt x="703" y="1089"/>
                    </a:cubicBezTo>
                    <a:cubicBezTo>
                      <a:pt x="703" y="1088"/>
                      <a:pt x="710" y="1085"/>
                      <a:pt x="705" y="1083"/>
                    </a:cubicBezTo>
                    <a:cubicBezTo>
                      <a:pt x="705" y="1082"/>
                      <a:pt x="707" y="1082"/>
                      <a:pt x="708" y="1082"/>
                    </a:cubicBezTo>
                    <a:cubicBezTo>
                      <a:pt x="708" y="1077"/>
                      <a:pt x="708" y="1073"/>
                      <a:pt x="708" y="1068"/>
                    </a:cubicBezTo>
                    <a:cubicBezTo>
                      <a:pt x="707" y="1067"/>
                      <a:pt x="705" y="1066"/>
                      <a:pt x="703" y="1065"/>
                    </a:cubicBezTo>
                    <a:cubicBezTo>
                      <a:pt x="705" y="1059"/>
                      <a:pt x="709" y="1054"/>
                      <a:pt x="707" y="1048"/>
                    </a:cubicBezTo>
                    <a:cubicBezTo>
                      <a:pt x="712" y="1050"/>
                      <a:pt x="711" y="1045"/>
                      <a:pt x="716" y="1046"/>
                    </a:cubicBezTo>
                    <a:cubicBezTo>
                      <a:pt x="716" y="1041"/>
                      <a:pt x="716" y="1035"/>
                      <a:pt x="716" y="1029"/>
                    </a:cubicBezTo>
                    <a:cubicBezTo>
                      <a:pt x="725" y="1030"/>
                      <a:pt x="721" y="1017"/>
                      <a:pt x="725" y="1013"/>
                    </a:cubicBezTo>
                    <a:cubicBezTo>
                      <a:pt x="724" y="1014"/>
                      <a:pt x="722" y="1015"/>
                      <a:pt x="721" y="1013"/>
                    </a:cubicBezTo>
                    <a:cubicBezTo>
                      <a:pt x="718" y="1014"/>
                      <a:pt x="716" y="1018"/>
                      <a:pt x="716" y="1024"/>
                    </a:cubicBezTo>
                    <a:cubicBezTo>
                      <a:pt x="713" y="1022"/>
                      <a:pt x="710" y="1021"/>
                      <a:pt x="710" y="1016"/>
                    </a:cubicBezTo>
                    <a:cubicBezTo>
                      <a:pt x="707" y="1014"/>
                      <a:pt x="716" y="1010"/>
                      <a:pt x="714" y="1009"/>
                    </a:cubicBezTo>
                    <a:cubicBezTo>
                      <a:pt x="710" y="1006"/>
                      <a:pt x="715" y="1010"/>
                      <a:pt x="718" y="1007"/>
                    </a:cubicBezTo>
                    <a:cubicBezTo>
                      <a:pt x="719" y="997"/>
                      <a:pt x="715" y="989"/>
                      <a:pt x="716" y="981"/>
                    </a:cubicBezTo>
                    <a:cubicBezTo>
                      <a:pt x="716" y="981"/>
                      <a:pt x="719" y="981"/>
                      <a:pt x="720" y="981"/>
                    </a:cubicBezTo>
                    <a:cubicBezTo>
                      <a:pt x="718" y="972"/>
                      <a:pt x="720" y="971"/>
                      <a:pt x="720" y="960"/>
                    </a:cubicBezTo>
                    <a:cubicBezTo>
                      <a:pt x="724" y="955"/>
                      <a:pt x="730" y="949"/>
                      <a:pt x="727" y="942"/>
                    </a:cubicBezTo>
                    <a:cubicBezTo>
                      <a:pt x="734" y="950"/>
                      <a:pt x="728" y="928"/>
                      <a:pt x="735" y="936"/>
                    </a:cubicBezTo>
                    <a:cubicBezTo>
                      <a:pt x="734" y="932"/>
                      <a:pt x="734" y="928"/>
                      <a:pt x="733" y="923"/>
                    </a:cubicBezTo>
                    <a:cubicBezTo>
                      <a:pt x="732" y="921"/>
                      <a:pt x="729" y="918"/>
                      <a:pt x="729" y="916"/>
                    </a:cubicBezTo>
                    <a:cubicBezTo>
                      <a:pt x="729" y="913"/>
                      <a:pt x="730" y="912"/>
                      <a:pt x="731" y="910"/>
                    </a:cubicBezTo>
                    <a:cubicBezTo>
                      <a:pt x="731" y="906"/>
                      <a:pt x="729" y="900"/>
                      <a:pt x="735" y="904"/>
                    </a:cubicBezTo>
                    <a:cubicBezTo>
                      <a:pt x="734" y="899"/>
                      <a:pt x="735" y="894"/>
                      <a:pt x="736" y="890"/>
                    </a:cubicBezTo>
                    <a:cubicBezTo>
                      <a:pt x="738" y="886"/>
                      <a:pt x="737" y="888"/>
                      <a:pt x="736" y="884"/>
                    </a:cubicBezTo>
                    <a:cubicBezTo>
                      <a:pt x="736" y="882"/>
                      <a:pt x="741" y="877"/>
                      <a:pt x="738" y="875"/>
                    </a:cubicBezTo>
                    <a:cubicBezTo>
                      <a:pt x="737" y="873"/>
                      <a:pt x="738" y="873"/>
                      <a:pt x="738" y="869"/>
                    </a:cubicBezTo>
                    <a:cubicBezTo>
                      <a:pt x="739" y="867"/>
                      <a:pt x="738" y="864"/>
                      <a:pt x="738" y="862"/>
                    </a:cubicBezTo>
                    <a:cubicBezTo>
                      <a:pt x="739" y="859"/>
                      <a:pt x="740" y="858"/>
                      <a:pt x="740" y="856"/>
                    </a:cubicBezTo>
                    <a:cubicBezTo>
                      <a:pt x="741" y="849"/>
                      <a:pt x="739" y="842"/>
                      <a:pt x="740" y="836"/>
                    </a:cubicBezTo>
                    <a:cubicBezTo>
                      <a:pt x="740" y="833"/>
                      <a:pt x="742" y="832"/>
                      <a:pt x="742" y="830"/>
                    </a:cubicBezTo>
                    <a:cubicBezTo>
                      <a:pt x="741" y="824"/>
                      <a:pt x="736" y="819"/>
                      <a:pt x="736" y="813"/>
                    </a:cubicBezTo>
                    <a:cubicBezTo>
                      <a:pt x="736" y="810"/>
                      <a:pt x="734" y="814"/>
                      <a:pt x="731" y="813"/>
                    </a:cubicBezTo>
                    <a:cubicBezTo>
                      <a:pt x="728" y="809"/>
                      <a:pt x="723" y="804"/>
                      <a:pt x="718" y="804"/>
                    </a:cubicBezTo>
                    <a:cubicBezTo>
                      <a:pt x="717" y="804"/>
                      <a:pt x="715" y="799"/>
                      <a:pt x="714" y="800"/>
                    </a:cubicBezTo>
                    <a:cubicBezTo>
                      <a:pt x="711" y="803"/>
                      <a:pt x="714" y="799"/>
                      <a:pt x="712" y="798"/>
                    </a:cubicBezTo>
                    <a:cubicBezTo>
                      <a:pt x="709" y="796"/>
                      <a:pt x="704" y="800"/>
                      <a:pt x="708" y="795"/>
                    </a:cubicBezTo>
                    <a:cubicBezTo>
                      <a:pt x="708" y="791"/>
                      <a:pt x="703" y="794"/>
                      <a:pt x="701" y="793"/>
                    </a:cubicBezTo>
                    <a:cubicBezTo>
                      <a:pt x="700" y="792"/>
                      <a:pt x="702" y="789"/>
                      <a:pt x="701" y="789"/>
                    </a:cubicBezTo>
                    <a:cubicBezTo>
                      <a:pt x="700" y="788"/>
                      <a:pt x="698" y="788"/>
                      <a:pt x="697" y="787"/>
                    </a:cubicBezTo>
                    <a:cubicBezTo>
                      <a:pt x="695" y="785"/>
                      <a:pt x="692" y="780"/>
                      <a:pt x="692" y="774"/>
                    </a:cubicBezTo>
                    <a:cubicBezTo>
                      <a:pt x="692" y="772"/>
                      <a:pt x="689" y="773"/>
                      <a:pt x="688" y="772"/>
                    </a:cubicBezTo>
                    <a:cubicBezTo>
                      <a:pt x="686" y="771"/>
                      <a:pt x="688" y="763"/>
                      <a:pt x="684" y="763"/>
                    </a:cubicBezTo>
                    <a:cubicBezTo>
                      <a:pt x="681" y="763"/>
                      <a:pt x="679" y="752"/>
                      <a:pt x="677" y="748"/>
                    </a:cubicBezTo>
                    <a:cubicBezTo>
                      <a:pt x="675" y="745"/>
                      <a:pt x="672" y="741"/>
                      <a:pt x="669" y="737"/>
                    </a:cubicBezTo>
                    <a:cubicBezTo>
                      <a:pt x="668" y="735"/>
                      <a:pt x="666" y="734"/>
                      <a:pt x="666" y="733"/>
                    </a:cubicBezTo>
                    <a:cubicBezTo>
                      <a:pt x="665" y="732"/>
                      <a:pt x="666" y="730"/>
                      <a:pt x="666" y="729"/>
                    </a:cubicBezTo>
                    <a:cubicBezTo>
                      <a:pt x="665" y="727"/>
                      <a:pt x="663" y="729"/>
                      <a:pt x="662" y="727"/>
                    </a:cubicBezTo>
                    <a:cubicBezTo>
                      <a:pt x="662" y="727"/>
                      <a:pt x="659" y="713"/>
                      <a:pt x="658" y="724"/>
                    </a:cubicBezTo>
                    <a:cubicBezTo>
                      <a:pt x="654" y="722"/>
                      <a:pt x="657" y="712"/>
                      <a:pt x="656" y="707"/>
                    </a:cubicBezTo>
                    <a:cubicBezTo>
                      <a:pt x="661" y="707"/>
                      <a:pt x="661" y="702"/>
                      <a:pt x="664" y="699"/>
                    </a:cubicBezTo>
                    <a:cubicBezTo>
                      <a:pt x="665" y="694"/>
                      <a:pt x="660" y="696"/>
                      <a:pt x="658" y="694"/>
                    </a:cubicBezTo>
                    <a:cubicBezTo>
                      <a:pt x="658" y="688"/>
                      <a:pt x="661" y="686"/>
                      <a:pt x="660" y="679"/>
                    </a:cubicBezTo>
                    <a:cubicBezTo>
                      <a:pt x="661" y="678"/>
                      <a:pt x="663" y="677"/>
                      <a:pt x="666" y="677"/>
                    </a:cubicBezTo>
                    <a:cubicBezTo>
                      <a:pt x="666" y="676"/>
                      <a:pt x="665" y="673"/>
                      <a:pt x="666" y="672"/>
                    </a:cubicBezTo>
                    <a:cubicBezTo>
                      <a:pt x="666" y="671"/>
                      <a:pt x="669" y="672"/>
                      <a:pt x="669" y="672"/>
                    </a:cubicBezTo>
                    <a:cubicBezTo>
                      <a:pt x="670" y="671"/>
                      <a:pt x="669" y="670"/>
                      <a:pt x="669" y="670"/>
                    </a:cubicBezTo>
                    <a:cubicBezTo>
                      <a:pt x="670" y="669"/>
                      <a:pt x="674" y="666"/>
                      <a:pt x="673" y="666"/>
                    </a:cubicBezTo>
                    <a:cubicBezTo>
                      <a:pt x="673" y="666"/>
                      <a:pt x="671" y="666"/>
                      <a:pt x="671" y="666"/>
                    </a:cubicBezTo>
                    <a:cubicBezTo>
                      <a:pt x="671" y="666"/>
                      <a:pt x="672" y="663"/>
                      <a:pt x="673" y="664"/>
                    </a:cubicBezTo>
                    <a:cubicBezTo>
                      <a:pt x="677" y="669"/>
                      <a:pt x="674" y="661"/>
                      <a:pt x="679" y="660"/>
                    </a:cubicBezTo>
                    <a:cubicBezTo>
                      <a:pt x="682" y="660"/>
                      <a:pt x="680" y="656"/>
                      <a:pt x="682" y="653"/>
                    </a:cubicBezTo>
                    <a:cubicBezTo>
                      <a:pt x="682" y="653"/>
                      <a:pt x="691" y="646"/>
                      <a:pt x="686" y="642"/>
                    </a:cubicBezTo>
                    <a:cubicBezTo>
                      <a:pt x="684" y="639"/>
                      <a:pt x="686" y="641"/>
                      <a:pt x="686" y="638"/>
                    </a:cubicBezTo>
                    <a:cubicBezTo>
                      <a:pt x="686" y="634"/>
                      <a:pt x="682" y="620"/>
                      <a:pt x="684" y="616"/>
                    </a:cubicBezTo>
                    <a:cubicBezTo>
                      <a:pt x="675" y="617"/>
                      <a:pt x="675" y="609"/>
                      <a:pt x="666" y="612"/>
                    </a:cubicBezTo>
                    <a:cubicBezTo>
                      <a:pt x="663" y="613"/>
                      <a:pt x="666" y="615"/>
                      <a:pt x="664" y="619"/>
                    </a:cubicBezTo>
                    <a:cubicBezTo>
                      <a:pt x="654" y="620"/>
                      <a:pt x="650" y="614"/>
                      <a:pt x="641" y="614"/>
                    </a:cubicBezTo>
                    <a:cubicBezTo>
                      <a:pt x="641" y="610"/>
                      <a:pt x="636" y="611"/>
                      <a:pt x="638" y="606"/>
                    </a:cubicBezTo>
                    <a:cubicBezTo>
                      <a:pt x="635" y="605"/>
                      <a:pt x="632" y="606"/>
                      <a:pt x="630" y="604"/>
                    </a:cubicBezTo>
                    <a:cubicBezTo>
                      <a:pt x="630" y="604"/>
                      <a:pt x="631" y="601"/>
                      <a:pt x="630" y="601"/>
                    </a:cubicBezTo>
                    <a:cubicBezTo>
                      <a:pt x="630" y="600"/>
                      <a:pt x="627" y="601"/>
                      <a:pt x="626" y="601"/>
                    </a:cubicBezTo>
                    <a:cubicBezTo>
                      <a:pt x="625" y="599"/>
                      <a:pt x="626" y="595"/>
                      <a:pt x="623" y="595"/>
                    </a:cubicBezTo>
                    <a:cubicBezTo>
                      <a:pt x="623" y="590"/>
                      <a:pt x="626" y="591"/>
                      <a:pt x="623" y="588"/>
                    </a:cubicBezTo>
                    <a:cubicBezTo>
                      <a:pt x="622" y="586"/>
                      <a:pt x="621" y="587"/>
                      <a:pt x="621" y="588"/>
                    </a:cubicBezTo>
                    <a:cubicBezTo>
                      <a:pt x="618" y="586"/>
                      <a:pt x="617" y="582"/>
                      <a:pt x="612" y="582"/>
                    </a:cubicBezTo>
                    <a:cubicBezTo>
                      <a:pt x="614" y="576"/>
                      <a:pt x="605" y="581"/>
                      <a:pt x="608" y="575"/>
                    </a:cubicBezTo>
                    <a:cubicBezTo>
                      <a:pt x="606" y="574"/>
                      <a:pt x="596" y="574"/>
                      <a:pt x="598" y="575"/>
                    </a:cubicBezTo>
                    <a:cubicBezTo>
                      <a:pt x="596" y="574"/>
                      <a:pt x="598" y="572"/>
                      <a:pt x="597" y="571"/>
                    </a:cubicBezTo>
                    <a:cubicBezTo>
                      <a:pt x="596" y="570"/>
                      <a:pt x="594" y="571"/>
                      <a:pt x="593" y="571"/>
                    </a:cubicBezTo>
                    <a:cubicBezTo>
                      <a:pt x="591" y="570"/>
                      <a:pt x="587" y="568"/>
                      <a:pt x="582" y="569"/>
                    </a:cubicBezTo>
                    <a:cubicBezTo>
                      <a:pt x="584" y="562"/>
                      <a:pt x="578" y="566"/>
                      <a:pt x="574" y="563"/>
                    </a:cubicBezTo>
                    <a:cubicBezTo>
                      <a:pt x="574" y="563"/>
                      <a:pt x="575" y="560"/>
                      <a:pt x="574" y="560"/>
                    </a:cubicBezTo>
                    <a:cubicBezTo>
                      <a:pt x="574" y="559"/>
                      <a:pt x="571" y="560"/>
                      <a:pt x="571" y="560"/>
                    </a:cubicBezTo>
                    <a:cubicBezTo>
                      <a:pt x="570" y="559"/>
                      <a:pt x="571" y="557"/>
                      <a:pt x="571" y="556"/>
                    </a:cubicBezTo>
                    <a:cubicBezTo>
                      <a:pt x="570" y="555"/>
                      <a:pt x="567" y="556"/>
                      <a:pt x="567" y="556"/>
                    </a:cubicBezTo>
                    <a:cubicBezTo>
                      <a:pt x="566" y="555"/>
                      <a:pt x="567" y="553"/>
                      <a:pt x="567" y="552"/>
                    </a:cubicBezTo>
                    <a:cubicBezTo>
                      <a:pt x="565" y="551"/>
                      <a:pt x="565" y="554"/>
                      <a:pt x="565" y="554"/>
                    </a:cubicBezTo>
                    <a:cubicBezTo>
                      <a:pt x="564" y="554"/>
                      <a:pt x="560" y="552"/>
                      <a:pt x="559" y="550"/>
                    </a:cubicBezTo>
                    <a:cubicBezTo>
                      <a:pt x="557" y="553"/>
                      <a:pt x="556" y="550"/>
                      <a:pt x="554" y="550"/>
                    </a:cubicBezTo>
                    <a:cubicBezTo>
                      <a:pt x="551" y="551"/>
                      <a:pt x="548" y="554"/>
                      <a:pt x="544" y="554"/>
                    </a:cubicBezTo>
                    <a:cubicBezTo>
                      <a:pt x="540" y="554"/>
                      <a:pt x="540" y="552"/>
                      <a:pt x="537" y="552"/>
                    </a:cubicBezTo>
                    <a:cubicBezTo>
                      <a:pt x="532" y="552"/>
                      <a:pt x="534" y="555"/>
                      <a:pt x="530" y="552"/>
                    </a:cubicBezTo>
                    <a:cubicBezTo>
                      <a:pt x="527" y="551"/>
                      <a:pt x="525" y="552"/>
                      <a:pt x="520" y="550"/>
                    </a:cubicBezTo>
                    <a:cubicBezTo>
                      <a:pt x="519" y="550"/>
                      <a:pt x="519" y="547"/>
                      <a:pt x="518" y="547"/>
                    </a:cubicBezTo>
                    <a:cubicBezTo>
                      <a:pt x="517" y="546"/>
                      <a:pt x="516" y="547"/>
                      <a:pt x="515" y="547"/>
                    </a:cubicBezTo>
                    <a:cubicBezTo>
                      <a:pt x="512" y="546"/>
                      <a:pt x="504" y="545"/>
                      <a:pt x="509" y="541"/>
                    </a:cubicBezTo>
                    <a:cubicBezTo>
                      <a:pt x="504" y="541"/>
                      <a:pt x="503" y="537"/>
                      <a:pt x="498" y="537"/>
                    </a:cubicBezTo>
                    <a:cubicBezTo>
                      <a:pt x="497" y="536"/>
                      <a:pt x="496" y="534"/>
                      <a:pt x="496" y="532"/>
                    </a:cubicBezTo>
                    <a:cubicBezTo>
                      <a:pt x="488" y="531"/>
                      <a:pt x="486" y="525"/>
                      <a:pt x="477" y="524"/>
                    </a:cubicBezTo>
                    <a:cubicBezTo>
                      <a:pt x="476" y="518"/>
                      <a:pt x="472" y="515"/>
                      <a:pt x="474" y="506"/>
                    </a:cubicBezTo>
                    <a:cubicBezTo>
                      <a:pt x="473" y="498"/>
                      <a:pt x="463" y="502"/>
                      <a:pt x="468" y="494"/>
                    </a:cubicBezTo>
                    <a:cubicBezTo>
                      <a:pt x="466" y="494"/>
                      <a:pt x="465" y="495"/>
                      <a:pt x="464" y="496"/>
                    </a:cubicBezTo>
                    <a:cubicBezTo>
                      <a:pt x="462" y="496"/>
                      <a:pt x="463" y="494"/>
                      <a:pt x="462" y="493"/>
                    </a:cubicBezTo>
                    <a:cubicBezTo>
                      <a:pt x="461" y="491"/>
                      <a:pt x="457" y="491"/>
                      <a:pt x="457" y="487"/>
                    </a:cubicBezTo>
                    <a:cubicBezTo>
                      <a:pt x="457" y="485"/>
                      <a:pt x="453" y="485"/>
                      <a:pt x="451" y="485"/>
                    </a:cubicBezTo>
                    <a:cubicBezTo>
                      <a:pt x="451" y="484"/>
                      <a:pt x="454" y="483"/>
                      <a:pt x="453" y="481"/>
                    </a:cubicBezTo>
                    <a:cubicBezTo>
                      <a:pt x="453" y="481"/>
                      <a:pt x="451" y="478"/>
                      <a:pt x="451" y="478"/>
                    </a:cubicBezTo>
                    <a:cubicBezTo>
                      <a:pt x="450" y="477"/>
                      <a:pt x="448" y="478"/>
                      <a:pt x="448" y="478"/>
                    </a:cubicBezTo>
                    <a:cubicBezTo>
                      <a:pt x="446" y="476"/>
                      <a:pt x="447" y="473"/>
                      <a:pt x="446" y="472"/>
                    </a:cubicBezTo>
                    <a:cubicBezTo>
                      <a:pt x="441" y="468"/>
                      <a:pt x="436" y="467"/>
                      <a:pt x="434" y="459"/>
                    </a:cubicBezTo>
                    <a:cubicBezTo>
                      <a:pt x="431" y="456"/>
                      <a:pt x="431" y="460"/>
                      <a:pt x="427" y="457"/>
                    </a:cubicBezTo>
                    <a:cubicBezTo>
                      <a:pt x="428" y="453"/>
                      <a:pt x="424" y="453"/>
                      <a:pt x="423" y="452"/>
                    </a:cubicBezTo>
                    <a:cubicBezTo>
                      <a:pt x="422" y="449"/>
                      <a:pt x="424" y="442"/>
                      <a:pt x="418" y="442"/>
                    </a:cubicBezTo>
                    <a:cubicBezTo>
                      <a:pt x="419" y="433"/>
                      <a:pt x="414" y="429"/>
                      <a:pt x="408" y="427"/>
                    </a:cubicBezTo>
                    <a:cubicBezTo>
                      <a:pt x="407" y="429"/>
                      <a:pt x="406" y="431"/>
                      <a:pt x="405" y="433"/>
                    </a:cubicBezTo>
                    <a:cubicBezTo>
                      <a:pt x="403" y="437"/>
                      <a:pt x="409" y="438"/>
                      <a:pt x="410" y="440"/>
                    </a:cubicBezTo>
                    <a:cubicBezTo>
                      <a:pt x="411" y="441"/>
                      <a:pt x="410" y="444"/>
                      <a:pt x="410" y="444"/>
                    </a:cubicBezTo>
                    <a:cubicBezTo>
                      <a:pt x="410" y="444"/>
                      <a:pt x="412" y="444"/>
                      <a:pt x="412" y="444"/>
                    </a:cubicBezTo>
                    <a:cubicBezTo>
                      <a:pt x="413" y="447"/>
                      <a:pt x="410" y="451"/>
                      <a:pt x="414" y="452"/>
                    </a:cubicBezTo>
                    <a:cubicBezTo>
                      <a:pt x="417" y="452"/>
                      <a:pt x="415" y="457"/>
                      <a:pt x="418" y="461"/>
                    </a:cubicBezTo>
                    <a:cubicBezTo>
                      <a:pt x="418" y="462"/>
                      <a:pt x="419" y="461"/>
                      <a:pt x="420" y="463"/>
                    </a:cubicBezTo>
                    <a:cubicBezTo>
                      <a:pt x="420" y="466"/>
                      <a:pt x="425" y="465"/>
                      <a:pt x="423" y="472"/>
                    </a:cubicBezTo>
                    <a:cubicBezTo>
                      <a:pt x="424" y="474"/>
                      <a:pt x="427" y="474"/>
                      <a:pt x="429" y="474"/>
                    </a:cubicBezTo>
                    <a:cubicBezTo>
                      <a:pt x="427" y="476"/>
                      <a:pt x="431" y="477"/>
                      <a:pt x="431" y="478"/>
                    </a:cubicBezTo>
                    <a:cubicBezTo>
                      <a:pt x="431" y="479"/>
                      <a:pt x="429" y="482"/>
                      <a:pt x="429" y="481"/>
                    </a:cubicBezTo>
                    <a:cubicBezTo>
                      <a:pt x="430" y="484"/>
                      <a:pt x="435" y="483"/>
                      <a:pt x="433" y="489"/>
                    </a:cubicBezTo>
                    <a:cubicBezTo>
                      <a:pt x="430" y="487"/>
                      <a:pt x="429" y="484"/>
                      <a:pt x="423" y="485"/>
                    </a:cubicBezTo>
                    <a:cubicBezTo>
                      <a:pt x="426" y="478"/>
                      <a:pt x="419" y="479"/>
                      <a:pt x="420" y="474"/>
                    </a:cubicBezTo>
                    <a:cubicBezTo>
                      <a:pt x="419" y="471"/>
                      <a:pt x="416" y="470"/>
                      <a:pt x="414" y="468"/>
                    </a:cubicBezTo>
                    <a:cubicBezTo>
                      <a:pt x="412" y="467"/>
                      <a:pt x="411" y="465"/>
                      <a:pt x="410" y="463"/>
                    </a:cubicBezTo>
                    <a:cubicBezTo>
                      <a:pt x="407" y="462"/>
                      <a:pt x="404" y="462"/>
                      <a:pt x="403" y="459"/>
                    </a:cubicBezTo>
                    <a:cubicBezTo>
                      <a:pt x="403" y="454"/>
                      <a:pt x="404" y="457"/>
                      <a:pt x="406" y="457"/>
                    </a:cubicBezTo>
                    <a:cubicBezTo>
                      <a:pt x="408" y="449"/>
                      <a:pt x="400" y="451"/>
                      <a:pt x="401" y="444"/>
                    </a:cubicBezTo>
                    <a:cubicBezTo>
                      <a:pt x="397" y="443"/>
                      <a:pt x="396" y="440"/>
                      <a:pt x="392" y="440"/>
                    </a:cubicBezTo>
                    <a:cubicBezTo>
                      <a:pt x="392" y="436"/>
                      <a:pt x="395" y="436"/>
                      <a:pt x="392" y="431"/>
                    </a:cubicBezTo>
                    <a:cubicBezTo>
                      <a:pt x="391" y="430"/>
                      <a:pt x="390" y="429"/>
                      <a:pt x="390" y="429"/>
                    </a:cubicBezTo>
                    <a:cubicBezTo>
                      <a:pt x="388" y="425"/>
                      <a:pt x="389" y="419"/>
                      <a:pt x="380" y="420"/>
                    </a:cubicBezTo>
                    <a:cubicBezTo>
                      <a:pt x="382" y="418"/>
                      <a:pt x="382" y="417"/>
                      <a:pt x="380" y="414"/>
                    </a:cubicBezTo>
                    <a:cubicBezTo>
                      <a:pt x="380" y="414"/>
                      <a:pt x="379" y="411"/>
                      <a:pt x="379" y="411"/>
                    </a:cubicBezTo>
                    <a:cubicBezTo>
                      <a:pt x="378" y="410"/>
                      <a:pt x="374" y="411"/>
                      <a:pt x="373" y="411"/>
                    </a:cubicBezTo>
                    <a:cubicBezTo>
                      <a:pt x="372" y="409"/>
                      <a:pt x="377" y="409"/>
                      <a:pt x="377" y="409"/>
                    </a:cubicBezTo>
                    <a:cubicBezTo>
                      <a:pt x="376" y="405"/>
                      <a:pt x="365" y="403"/>
                      <a:pt x="360" y="401"/>
                    </a:cubicBezTo>
                    <a:cubicBezTo>
                      <a:pt x="359" y="400"/>
                      <a:pt x="359" y="399"/>
                      <a:pt x="358" y="398"/>
                    </a:cubicBezTo>
                    <a:cubicBezTo>
                      <a:pt x="357" y="395"/>
                      <a:pt x="356" y="394"/>
                      <a:pt x="354" y="392"/>
                    </a:cubicBezTo>
                    <a:cubicBezTo>
                      <a:pt x="353" y="390"/>
                      <a:pt x="353" y="385"/>
                      <a:pt x="351" y="381"/>
                    </a:cubicBezTo>
                    <a:cubicBezTo>
                      <a:pt x="350" y="380"/>
                      <a:pt x="347" y="380"/>
                      <a:pt x="347" y="379"/>
                    </a:cubicBezTo>
                    <a:cubicBezTo>
                      <a:pt x="346" y="376"/>
                      <a:pt x="348" y="372"/>
                      <a:pt x="343" y="373"/>
                    </a:cubicBezTo>
                    <a:cubicBezTo>
                      <a:pt x="344" y="366"/>
                      <a:pt x="340" y="362"/>
                      <a:pt x="336" y="357"/>
                    </a:cubicBezTo>
                    <a:cubicBezTo>
                      <a:pt x="334" y="354"/>
                      <a:pt x="334" y="349"/>
                      <a:pt x="330" y="351"/>
                    </a:cubicBezTo>
                    <a:cubicBezTo>
                      <a:pt x="333" y="329"/>
                      <a:pt x="329" y="316"/>
                      <a:pt x="330" y="289"/>
                    </a:cubicBezTo>
                    <a:cubicBezTo>
                      <a:pt x="330" y="288"/>
                      <a:pt x="328" y="288"/>
                      <a:pt x="328" y="286"/>
                    </a:cubicBezTo>
                    <a:cubicBezTo>
                      <a:pt x="327" y="285"/>
                      <a:pt x="326" y="283"/>
                      <a:pt x="324" y="282"/>
                    </a:cubicBezTo>
                    <a:cubicBezTo>
                      <a:pt x="324" y="281"/>
                      <a:pt x="323" y="280"/>
                      <a:pt x="321" y="280"/>
                    </a:cubicBezTo>
                    <a:cubicBezTo>
                      <a:pt x="320" y="271"/>
                      <a:pt x="312" y="266"/>
                      <a:pt x="306" y="260"/>
                    </a:cubicBezTo>
                    <a:cubicBezTo>
                      <a:pt x="305" y="259"/>
                      <a:pt x="304" y="258"/>
                      <a:pt x="304" y="256"/>
                    </a:cubicBezTo>
                    <a:cubicBezTo>
                      <a:pt x="305" y="257"/>
                      <a:pt x="309" y="259"/>
                      <a:pt x="310" y="256"/>
                    </a:cubicBezTo>
                    <a:cubicBezTo>
                      <a:pt x="313" y="256"/>
                      <a:pt x="312" y="261"/>
                      <a:pt x="317" y="260"/>
                    </a:cubicBezTo>
                    <a:cubicBezTo>
                      <a:pt x="318" y="261"/>
                      <a:pt x="319" y="264"/>
                      <a:pt x="319" y="267"/>
                    </a:cubicBezTo>
                    <a:cubicBezTo>
                      <a:pt x="328" y="266"/>
                      <a:pt x="330" y="272"/>
                      <a:pt x="336" y="274"/>
                    </a:cubicBezTo>
                    <a:cubicBezTo>
                      <a:pt x="335" y="281"/>
                      <a:pt x="339" y="283"/>
                      <a:pt x="341" y="286"/>
                    </a:cubicBezTo>
                    <a:cubicBezTo>
                      <a:pt x="343" y="285"/>
                      <a:pt x="344" y="282"/>
                      <a:pt x="343" y="280"/>
                    </a:cubicBezTo>
                    <a:cubicBezTo>
                      <a:pt x="343" y="278"/>
                      <a:pt x="340" y="278"/>
                      <a:pt x="339" y="276"/>
                    </a:cubicBezTo>
                    <a:cubicBezTo>
                      <a:pt x="338" y="273"/>
                      <a:pt x="338" y="271"/>
                      <a:pt x="338" y="269"/>
                    </a:cubicBezTo>
                    <a:cubicBezTo>
                      <a:pt x="337" y="268"/>
                      <a:pt x="336" y="267"/>
                      <a:pt x="336" y="267"/>
                    </a:cubicBezTo>
                    <a:cubicBezTo>
                      <a:pt x="335" y="266"/>
                      <a:pt x="337" y="264"/>
                      <a:pt x="338" y="265"/>
                    </a:cubicBezTo>
                    <a:cubicBezTo>
                      <a:pt x="335" y="261"/>
                      <a:pt x="331" y="262"/>
                      <a:pt x="332" y="258"/>
                    </a:cubicBezTo>
                    <a:cubicBezTo>
                      <a:pt x="323" y="259"/>
                      <a:pt x="322" y="252"/>
                      <a:pt x="313" y="252"/>
                    </a:cubicBezTo>
                    <a:cubicBezTo>
                      <a:pt x="316" y="246"/>
                      <a:pt x="307" y="251"/>
                      <a:pt x="310" y="245"/>
                    </a:cubicBezTo>
                    <a:cubicBezTo>
                      <a:pt x="308" y="243"/>
                      <a:pt x="305" y="245"/>
                      <a:pt x="302" y="241"/>
                    </a:cubicBezTo>
                    <a:cubicBezTo>
                      <a:pt x="302" y="239"/>
                      <a:pt x="304" y="239"/>
                      <a:pt x="306" y="239"/>
                    </a:cubicBezTo>
                    <a:cubicBezTo>
                      <a:pt x="308" y="234"/>
                      <a:pt x="299" y="237"/>
                      <a:pt x="300" y="237"/>
                    </a:cubicBezTo>
                    <a:cubicBezTo>
                      <a:pt x="298" y="236"/>
                      <a:pt x="300" y="234"/>
                      <a:pt x="298" y="233"/>
                    </a:cubicBezTo>
                    <a:cubicBezTo>
                      <a:pt x="298" y="233"/>
                      <a:pt x="295" y="234"/>
                      <a:pt x="295" y="233"/>
                    </a:cubicBezTo>
                    <a:cubicBezTo>
                      <a:pt x="294" y="232"/>
                      <a:pt x="297" y="231"/>
                      <a:pt x="297" y="230"/>
                    </a:cubicBezTo>
                    <a:cubicBezTo>
                      <a:pt x="296" y="227"/>
                      <a:pt x="294" y="230"/>
                      <a:pt x="291" y="230"/>
                    </a:cubicBezTo>
                    <a:cubicBezTo>
                      <a:pt x="287" y="227"/>
                      <a:pt x="289" y="223"/>
                      <a:pt x="287" y="220"/>
                    </a:cubicBezTo>
                    <a:cubicBezTo>
                      <a:pt x="286" y="219"/>
                      <a:pt x="284" y="218"/>
                      <a:pt x="282" y="219"/>
                    </a:cubicBezTo>
                    <a:cubicBezTo>
                      <a:pt x="288" y="208"/>
                      <a:pt x="267" y="215"/>
                      <a:pt x="269" y="204"/>
                    </a:cubicBezTo>
                    <a:cubicBezTo>
                      <a:pt x="270" y="204"/>
                      <a:pt x="272" y="204"/>
                      <a:pt x="274" y="204"/>
                    </a:cubicBezTo>
                    <a:cubicBezTo>
                      <a:pt x="275" y="199"/>
                      <a:pt x="266" y="205"/>
                      <a:pt x="269" y="198"/>
                    </a:cubicBezTo>
                    <a:cubicBezTo>
                      <a:pt x="265" y="198"/>
                      <a:pt x="261" y="198"/>
                      <a:pt x="257" y="198"/>
                    </a:cubicBezTo>
                    <a:cubicBezTo>
                      <a:pt x="262" y="195"/>
                      <a:pt x="255" y="194"/>
                      <a:pt x="259" y="192"/>
                    </a:cubicBezTo>
                    <a:cubicBezTo>
                      <a:pt x="260" y="189"/>
                      <a:pt x="254" y="189"/>
                      <a:pt x="255" y="191"/>
                    </a:cubicBezTo>
                    <a:cubicBezTo>
                      <a:pt x="252" y="187"/>
                      <a:pt x="255" y="186"/>
                      <a:pt x="252" y="181"/>
                    </a:cubicBezTo>
                    <a:cubicBezTo>
                      <a:pt x="248" y="181"/>
                      <a:pt x="244" y="181"/>
                      <a:pt x="241" y="181"/>
                    </a:cubicBezTo>
                    <a:cubicBezTo>
                      <a:pt x="242" y="179"/>
                      <a:pt x="243" y="177"/>
                      <a:pt x="244" y="174"/>
                    </a:cubicBezTo>
                    <a:cubicBezTo>
                      <a:pt x="243" y="170"/>
                      <a:pt x="239" y="173"/>
                      <a:pt x="242" y="168"/>
                    </a:cubicBezTo>
                    <a:cubicBezTo>
                      <a:pt x="236" y="169"/>
                      <a:pt x="232" y="171"/>
                      <a:pt x="224" y="170"/>
                    </a:cubicBezTo>
                    <a:cubicBezTo>
                      <a:pt x="224" y="165"/>
                      <a:pt x="219" y="163"/>
                      <a:pt x="214" y="161"/>
                    </a:cubicBezTo>
                    <a:cubicBezTo>
                      <a:pt x="213" y="160"/>
                      <a:pt x="210" y="160"/>
                      <a:pt x="209" y="159"/>
                    </a:cubicBezTo>
                    <a:cubicBezTo>
                      <a:pt x="208" y="159"/>
                      <a:pt x="209" y="156"/>
                      <a:pt x="209" y="155"/>
                    </a:cubicBezTo>
                    <a:cubicBezTo>
                      <a:pt x="208" y="154"/>
                      <a:pt x="204" y="156"/>
                      <a:pt x="205" y="153"/>
                    </a:cubicBezTo>
                    <a:cubicBezTo>
                      <a:pt x="199" y="151"/>
                      <a:pt x="186" y="157"/>
                      <a:pt x="183" y="153"/>
                    </a:cubicBezTo>
                    <a:cubicBezTo>
                      <a:pt x="183" y="153"/>
                      <a:pt x="183" y="151"/>
                      <a:pt x="183" y="151"/>
                    </a:cubicBezTo>
                    <a:cubicBezTo>
                      <a:pt x="181" y="151"/>
                      <a:pt x="179" y="153"/>
                      <a:pt x="179" y="153"/>
                    </a:cubicBezTo>
                    <a:cubicBezTo>
                      <a:pt x="177" y="153"/>
                      <a:pt x="177" y="147"/>
                      <a:pt x="170" y="150"/>
                    </a:cubicBezTo>
                    <a:cubicBezTo>
                      <a:pt x="170" y="145"/>
                      <a:pt x="161" y="147"/>
                      <a:pt x="166" y="142"/>
                    </a:cubicBezTo>
                    <a:cubicBezTo>
                      <a:pt x="165" y="142"/>
                      <a:pt x="164" y="144"/>
                      <a:pt x="162" y="144"/>
                    </a:cubicBezTo>
                    <a:cubicBezTo>
                      <a:pt x="161" y="144"/>
                      <a:pt x="160" y="142"/>
                      <a:pt x="160" y="142"/>
                    </a:cubicBezTo>
                    <a:cubicBezTo>
                      <a:pt x="157" y="143"/>
                      <a:pt x="154" y="147"/>
                      <a:pt x="151" y="144"/>
                    </a:cubicBezTo>
                    <a:cubicBezTo>
                      <a:pt x="147" y="144"/>
                      <a:pt x="150" y="151"/>
                      <a:pt x="149" y="153"/>
                    </a:cubicBezTo>
                    <a:cubicBezTo>
                      <a:pt x="148" y="153"/>
                      <a:pt x="146" y="151"/>
                      <a:pt x="144" y="151"/>
                    </a:cubicBezTo>
                    <a:cubicBezTo>
                      <a:pt x="141" y="152"/>
                      <a:pt x="143" y="155"/>
                      <a:pt x="142" y="155"/>
                    </a:cubicBezTo>
                    <a:cubicBezTo>
                      <a:pt x="140" y="156"/>
                      <a:pt x="133" y="155"/>
                      <a:pt x="131" y="157"/>
                    </a:cubicBezTo>
                    <a:cubicBezTo>
                      <a:pt x="129" y="158"/>
                      <a:pt x="129" y="160"/>
                      <a:pt x="127" y="161"/>
                    </a:cubicBezTo>
                    <a:cubicBezTo>
                      <a:pt x="124" y="161"/>
                      <a:pt x="123" y="159"/>
                      <a:pt x="119" y="159"/>
                    </a:cubicBezTo>
                    <a:cubicBezTo>
                      <a:pt x="122" y="156"/>
                      <a:pt x="127" y="155"/>
                      <a:pt x="125" y="148"/>
                    </a:cubicBezTo>
                    <a:cubicBezTo>
                      <a:pt x="128" y="148"/>
                      <a:pt x="129" y="146"/>
                      <a:pt x="129" y="144"/>
                    </a:cubicBezTo>
                    <a:cubicBezTo>
                      <a:pt x="128" y="142"/>
                      <a:pt x="125" y="142"/>
                      <a:pt x="123" y="142"/>
                    </a:cubicBezTo>
                    <a:cubicBezTo>
                      <a:pt x="121" y="144"/>
                      <a:pt x="121" y="147"/>
                      <a:pt x="118" y="150"/>
                    </a:cubicBezTo>
                    <a:cubicBezTo>
                      <a:pt x="116" y="151"/>
                      <a:pt x="116" y="153"/>
                      <a:pt x="114" y="153"/>
                    </a:cubicBezTo>
                    <a:cubicBezTo>
                      <a:pt x="112" y="153"/>
                      <a:pt x="112" y="158"/>
                      <a:pt x="108" y="157"/>
                    </a:cubicBezTo>
                    <a:cubicBezTo>
                      <a:pt x="109" y="160"/>
                      <a:pt x="107" y="161"/>
                      <a:pt x="105" y="161"/>
                    </a:cubicBezTo>
                    <a:cubicBezTo>
                      <a:pt x="105" y="163"/>
                      <a:pt x="105" y="166"/>
                      <a:pt x="105" y="168"/>
                    </a:cubicBezTo>
                    <a:cubicBezTo>
                      <a:pt x="99" y="170"/>
                      <a:pt x="98" y="176"/>
                      <a:pt x="93" y="179"/>
                    </a:cubicBezTo>
                    <a:cubicBezTo>
                      <a:pt x="93" y="180"/>
                      <a:pt x="90" y="179"/>
                      <a:pt x="90" y="179"/>
                    </a:cubicBezTo>
                    <a:cubicBezTo>
                      <a:pt x="89" y="180"/>
                      <a:pt x="90" y="183"/>
                      <a:pt x="90" y="183"/>
                    </a:cubicBezTo>
                    <a:cubicBezTo>
                      <a:pt x="89" y="183"/>
                      <a:pt x="82" y="183"/>
                      <a:pt x="84" y="185"/>
                    </a:cubicBezTo>
                    <a:cubicBezTo>
                      <a:pt x="88" y="188"/>
                      <a:pt x="79" y="187"/>
                      <a:pt x="77" y="191"/>
                    </a:cubicBezTo>
                    <a:cubicBezTo>
                      <a:pt x="76" y="191"/>
                      <a:pt x="74" y="197"/>
                      <a:pt x="73" y="196"/>
                    </a:cubicBezTo>
                    <a:cubicBezTo>
                      <a:pt x="71" y="194"/>
                      <a:pt x="72" y="195"/>
                      <a:pt x="71" y="198"/>
                    </a:cubicBezTo>
                    <a:cubicBezTo>
                      <a:pt x="68" y="198"/>
                      <a:pt x="66" y="198"/>
                      <a:pt x="64" y="198"/>
                    </a:cubicBezTo>
                    <a:cubicBezTo>
                      <a:pt x="60" y="200"/>
                      <a:pt x="67" y="201"/>
                      <a:pt x="58" y="202"/>
                    </a:cubicBezTo>
                    <a:cubicBezTo>
                      <a:pt x="54" y="202"/>
                      <a:pt x="51" y="202"/>
                      <a:pt x="47" y="204"/>
                    </a:cubicBezTo>
                    <a:cubicBezTo>
                      <a:pt x="44" y="205"/>
                      <a:pt x="44" y="210"/>
                      <a:pt x="39" y="207"/>
                    </a:cubicBezTo>
                    <a:cubicBezTo>
                      <a:pt x="39" y="202"/>
                      <a:pt x="45" y="204"/>
                      <a:pt x="49" y="202"/>
                    </a:cubicBezTo>
                    <a:cubicBezTo>
                      <a:pt x="50" y="201"/>
                      <a:pt x="50" y="202"/>
                      <a:pt x="50" y="200"/>
                    </a:cubicBezTo>
                    <a:cubicBezTo>
                      <a:pt x="51" y="197"/>
                      <a:pt x="55" y="198"/>
                      <a:pt x="58" y="198"/>
                    </a:cubicBezTo>
                    <a:cubicBezTo>
                      <a:pt x="61" y="198"/>
                      <a:pt x="59" y="194"/>
                      <a:pt x="60" y="192"/>
                    </a:cubicBezTo>
                    <a:cubicBezTo>
                      <a:pt x="61" y="191"/>
                      <a:pt x="62" y="196"/>
                      <a:pt x="65" y="191"/>
                    </a:cubicBezTo>
                    <a:cubicBezTo>
                      <a:pt x="66" y="190"/>
                      <a:pt x="67" y="191"/>
                      <a:pt x="67" y="189"/>
                    </a:cubicBezTo>
                    <a:cubicBezTo>
                      <a:pt x="67" y="186"/>
                      <a:pt x="72" y="187"/>
                      <a:pt x="75" y="185"/>
                    </a:cubicBezTo>
                    <a:cubicBezTo>
                      <a:pt x="75" y="182"/>
                      <a:pt x="75" y="179"/>
                      <a:pt x="75" y="176"/>
                    </a:cubicBezTo>
                    <a:cubicBezTo>
                      <a:pt x="81" y="182"/>
                      <a:pt x="75" y="170"/>
                      <a:pt x="82" y="172"/>
                    </a:cubicBezTo>
                    <a:cubicBezTo>
                      <a:pt x="83" y="167"/>
                      <a:pt x="74" y="173"/>
                      <a:pt x="77" y="166"/>
                    </a:cubicBezTo>
                    <a:cubicBezTo>
                      <a:pt x="75" y="171"/>
                      <a:pt x="63" y="165"/>
                      <a:pt x="62" y="170"/>
                    </a:cubicBezTo>
                    <a:cubicBezTo>
                      <a:pt x="59" y="171"/>
                      <a:pt x="61" y="167"/>
                      <a:pt x="60" y="166"/>
                    </a:cubicBezTo>
                    <a:cubicBezTo>
                      <a:pt x="57" y="165"/>
                      <a:pt x="52" y="168"/>
                      <a:pt x="49" y="166"/>
                    </a:cubicBezTo>
                    <a:cubicBezTo>
                      <a:pt x="51" y="162"/>
                      <a:pt x="46" y="164"/>
                      <a:pt x="45" y="163"/>
                    </a:cubicBezTo>
                    <a:cubicBezTo>
                      <a:pt x="44" y="161"/>
                      <a:pt x="46" y="160"/>
                      <a:pt x="47" y="161"/>
                    </a:cubicBezTo>
                    <a:cubicBezTo>
                      <a:pt x="43" y="156"/>
                      <a:pt x="40" y="157"/>
                      <a:pt x="37" y="151"/>
                    </a:cubicBezTo>
                    <a:cubicBezTo>
                      <a:pt x="35" y="154"/>
                      <a:pt x="29" y="153"/>
                      <a:pt x="24" y="153"/>
                    </a:cubicBezTo>
                    <a:cubicBezTo>
                      <a:pt x="24" y="151"/>
                      <a:pt x="25" y="150"/>
                      <a:pt x="26" y="150"/>
                    </a:cubicBezTo>
                    <a:cubicBezTo>
                      <a:pt x="25" y="146"/>
                      <a:pt x="19" y="147"/>
                      <a:pt x="21" y="140"/>
                    </a:cubicBezTo>
                    <a:cubicBezTo>
                      <a:pt x="20" y="138"/>
                      <a:pt x="17" y="136"/>
                      <a:pt x="17" y="138"/>
                    </a:cubicBezTo>
                    <a:cubicBezTo>
                      <a:pt x="12" y="138"/>
                      <a:pt x="16" y="133"/>
                      <a:pt x="17" y="131"/>
                    </a:cubicBezTo>
                    <a:cubicBezTo>
                      <a:pt x="17" y="130"/>
                      <a:pt x="16" y="128"/>
                      <a:pt x="17" y="127"/>
                    </a:cubicBezTo>
                    <a:cubicBezTo>
                      <a:pt x="17" y="127"/>
                      <a:pt x="20" y="128"/>
                      <a:pt x="21" y="127"/>
                    </a:cubicBezTo>
                    <a:cubicBezTo>
                      <a:pt x="22" y="126"/>
                      <a:pt x="21" y="123"/>
                      <a:pt x="22" y="122"/>
                    </a:cubicBezTo>
                    <a:cubicBezTo>
                      <a:pt x="27" y="121"/>
                      <a:pt x="34" y="120"/>
                      <a:pt x="37" y="118"/>
                    </a:cubicBezTo>
                    <a:cubicBezTo>
                      <a:pt x="40" y="116"/>
                      <a:pt x="42" y="117"/>
                      <a:pt x="45" y="116"/>
                    </a:cubicBezTo>
                    <a:cubicBezTo>
                      <a:pt x="48" y="115"/>
                      <a:pt x="42" y="111"/>
                      <a:pt x="52" y="112"/>
                    </a:cubicBezTo>
                    <a:cubicBezTo>
                      <a:pt x="51" y="108"/>
                      <a:pt x="51" y="104"/>
                      <a:pt x="49" y="97"/>
                    </a:cubicBezTo>
                    <a:cubicBezTo>
                      <a:pt x="45" y="93"/>
                      <a:pt x="34" y="104"/>
                      <a:pt x="30" y="99"/>
                    </a:cubicBezTo>
                    <a:cubicBezTo>
                      <a:pt x="27" y="96"/>
                      <a:pt x="29" y="101"/>
                      <a:pt x="22" y="101"/>
                    </a:cubicBezTo>
                    <a:cubicBezTo>
                      <a:pt x="21" y="98"/>
                      <a:pt x="14" y="100"/>
                      <a:pt x="9" y="97"/>
                    </a:cubicBezTo>
                    <a:cubicBezTo>
                      <a:pt x="9" y="97"/>
                      <a:pt x="13" y="94"/>
                      <a:pt x="9" y="94"/>
                    </a:cubicBezTo>
                    <a:cubicBezTo>
                      <a:pt x="6" y="93"/>
                      <a:pt x="3" y="92"/>
                      <a:pt x="2" y="86"/>
                    </a:cubicBezTo>
                    <a:cubicBezTo>
                      <a:pt x="13" y="87"/>
                      <a:pt x="0" y="81"/>
                      <a:pt x="13" y="82"/>
                    </a:cubicBezTo>
                    <a:cubicBezTo>
                      <a:pt x="15" y="82"/>
                      <a:pt x="14" y="81"/>
                      <a:pt x="13" y="81"/>
                    </a:cubicBezTo>
                    <a:cubicBezTo>
                      <a:pt x="14" y="77"/>
                      <a:pt x="17" y="81"/>
                      <a:pt x="17" y="81"/>
                    </a:cubicBezTo>
                    <a:cubicBezTo>
                      <a:pt x="20" y="81"/>
                      <a:pt x="21" y="78"/>
                      <a:pt x="24" y="79"/>
                    </a:cubicBezTo>
                    <a:cubicBezTo>
                      <a:pt x="25" y="79"/>
                      <a:pt x="26" y="82"/>
                      <a:pt x="28" y="82"/>
                    </a:cubicBezTo>
                    <a:cubicBezTo>
                      <a:pt x="32" y="83"/>
                      <a:pt x="36" y="81"/>
                      <a:pt x="41" y="82"/>
                    </a:cubicBezTo>
                    <a:cubicBezTo>
                      <a:pt x="44" y="83"/>
                      <a:pt x="44" y="84"/>
                      <a:pt x="47" y="82"/>
                    </a:cubicBezTo>
                    <a:cubicBezTo>
                      <a:pt x="49" y="82"/>
                      <a:pt x="47" y="81"/>
                      <a:pt x="47" y="79"/>
                    </a:cubicBezTo>
                    <a:cubicBezTo>
                      <a:pt x="49" y="79"/>
                      <a:pt x="50" y="78"/>
                      <a:pt x="50" y="77"/>
                    </a:cubicBezTo>
                    <a:cubicBezTo>
                      <a:pt x="51" y="72"/>
                      <a:pt x="42" y="78"/>
                      <a:pt x="45" y="71"/>
                    </a:cubicBezTo>
                    <a:cubicBezTo>
                      <a:pt x="40" y="70"/>
                      <a:pt x="35" y="69"/>
                      <a:pt x="30" y="68"/>
                    </a:cubicBezTo>
                    <a:cubicBezTo>
                      <a:pt x="32" y="64"/>
                      <a:pt x="32" y="65"/>
                      <a:pt x="28" y="62"/>
                    </a:cubicBezTo>
                    <a:cubicBezTo>
                      <a:pt x="27" y="62"/>
                      <a:pt x="27" y="60"/>
                      <a:pt x="26" y="60"/>
                    </a:cubicBezTo>
                    <a:cubicBezTo>
                      <a:pt x="25" y="59"/>
                      <a:pt x="21" y="60"/>
                      <a:pt x="19" y="58"/>
                    </a:cubicBezTo>
                    <a:cubicBezTo>
                      <a:pt x="19" y="58"/>
                      <a:pt x="22" y="52"/>
                      <a:pt x="19" y="53"/>
                    </a:cubicBezTo>
                    <a:cubicBezTo>
                      <a:pt x="18" y="53"/>
                      <a:pt x="19" y="55"/>
                      <a:pt x="17" y="55"/>
                    </a:cubicBezTo>
                    <a:cubicBezTo>
                      <a:pt x="15" y="54"/>
                      <a:pt x="14" y="52"/>
                      <a:pt x="11" y="53"/>
                    </a:cubicBezTo>
                    <a:cubicBezTo>
                      <a:pt x="15" y="47"/>
                      <a:pt x="23" y="46"/>
                      <a:pt x="30" y="43"/>
                    </a:cubicBezTo>
                    <a:cubicBezTo>
                      <a:pt x="28" y="37"/>
                      <a:pt x="35" y="37"/>
                      <a:pt x="37" y="34"/>
                    </a:cubicBezTo>
                    <a:cubicBezTo>
                      <a:pt x="39" y="32"/>
                      <a:pt x="37" y="28"/>
                      <a:pt x="39" y="27"/>
                    </a:cubicBezTo>
                    <a:cubicBezTo>
                      <a:pt x="44" y="31"/>
                      <a:pt x="44" y="28"/>
                      <a:pt x="52" y="28"/>
                    </a:cubicBezTo>
                    <a:cubicBezTo>
                      <a:pt x="56" y="23"/>
                      <a:pt x="62" y="19"/>
                      <a:pt x="73" y="21"/>
                    </a:cubicBezTo>
                    <a:cubicBezTo>
                      <a:pt x="75" y="22"/>
                      <a:pt x="74" y="18"/>
                      <a:pt x="75" y="17"/>
                    </a:cubicBezTo>
                    <a:cubicBezTo>
                      <a:pt x="78" y="15"/>
                      <a:pt x="85" y="19"/>
                      <a:pt x="86" y="14"/>
                    </a:cubicBezTo>
                    <a:cubicBezTo>
                      <a:pt x="88" y="13"/>
                      <a:pt x="89" y="17"/>
                      <a:pt x="90" y="17"/>
                    </a:cubicBezTo>
                    <a:cubicBezTo>
                      <a:pt x="93" y="18"/>
                      <a:pt x="96" y="16"/>
                      <a:pt x="95" y="21"/>
                    </a:cubicBezTo>
                    <a:cubicBezTo>
                      <a:pt x="103" y="21"/>
                      <a:pt x="111" y="21"/>
                      <a:pt x="119" y="21"/>
                    </a:cubicBezTo>
                    <a:cubicBezTo>
                      <a:pt x="111" y="29"/>
                      <a:pt x="132" y="18"/>
                      <a:pt x="125" y="27"/>
                    </a:cubicBezTo>
                    <a:cubicBezTo>
                      <a:pt x="129" y="27"/>
                      <a:pt x="132" y="26"/>
                      <a:pt x="132" y="23"/>
                    </a:cubicBezTo>
                    <a:cubicBezTo>
                      <a:pt x="136" y="27"/>
                      <a:pt x="144" y="25"/>
                      <a:pt x="149" y="27"/>
                    </a:cubicBezTo>
                    <a:cubicBezTo>
                      <a:pt x="150" y="27"/>
                      <a:pt x="149" y="28"/>
                      <a:pt x="151" y="28"/>
                    </a:cubicBezTo>
                    <a:cubicBezTo>
                      <a:pt x="153" y="28"/>
                      <a:pt x="153" y="30"/>
                      <a:pt x="155" y="30"/>
                    </a:cubicBezTo>
                    <a:cubicBezTo>
                      <a:pt x="160" y="31"/>
                      <a:pt x="161" y="27"/>
                      <a:pt x="164" y="30"/>
                    </a:cubicBezTo>
                    <a:cubicBezTo>
                      <a:pt x="165" y="31"/>
                      <a:pt x="186" y="31"/>
                      <a:pt x="188" y="32"/>
                    </a:cubicBezTo>
                    <a:cubicBezTo>
                      <a:pt x="191" y="34"/>
                      <a:pt x="202" y="35"/>
                      <a:pt x="209" y="36"/>
                    </a:cubicBezTo>
                    <a:cubicBezTo>
                      <a:pt x="211" y="38"/>
                      <a:pt x="214" y="40"/>
                      <a:pt x="214" y="43"/>
                    </a:cubicBezTo>
                    <a:cubicBezTo>
                      <a:pt x="221" y="44"/>
                      <a:pt x="224" y="48"/>
                      <a:pt x="229" y="45"/>
                    </a:cubicBezTo>
                    <a:cubicBezTo>
                      <a:pt x="230" y="51"/>
                      <a:pt x="239" y="48"/>
                      <a:pt x="244" y="49"/>
                    </a:cubicBezTo>
                    <a:cubicBezTo>
                      <a:pt x="244" y="47"/>
                      <a:pt x="242" y="47"/>
                      <a:pt x="241" y="47"/>
                    </a:cubicBezTo>
                    <a:cubicBezTo>
                      <a:pt x="244" y="43"/>
                      <a:pt x="249" y="39"/>
                      <a:pt x="255" y="38"/>
                    </a:cubicBezTo>
                    <a:cubicBezTo>
                      <a:pt x="255" y="41"/>
                      <a:pt x="257" y="42"/>
                      <a:pt x="257" y="40"/>
                    </a:cubicBezTo>
                    <a:cubicBezTo>
                      <a:pt x="259" y="40"/>
                      <a:pt x="259" y="43"/>
                      <a:pt x="261" y="43"/>
                    </a:cubicBezTo>
                    <a:cubicBezTo>
                      <a:pt x="265" y="44"/>
                      <a:pt x="265" y="41"/>
                      <a:pt x="265" y="38"/>
                    </a:cubicBezTo>
                    <a:cubicBezTo>
                      <a:pt x="269" y="37"/>
                      <a:pt x="270" y="39"/>
                      <a:pt x="272" y="40"/>
                    </a:cubicBezTo>
                    <a:cubicBezTo>
                      <a:pt x="274" y="38"/>
                      <a:pt x="272" y="35"/>
                      <a:pt x="276" y="32"/>
                    </a:cubicBezTo>
                    <a:cubicBezTo>
                      <a:pt x="279" y="32"/>
                      <a:pt x="281" y="35"/>
                      <a:pt x="282" y="32"/>
                    </a:cubicBezTo>
                    <a:cubicBezTo>
                      <a:pt x="285" y="33"/>
                      <a:pt x="283" y="36"/>
                      <a:pt x="280" y="36"/>
                    </a:cubicBezTo>
                    <a:cubicBezTo>
                      <a:pt x="282" y="41"/>
                      <a:pt x="295" y="31"/>
                      <a:pt x="298" y="38"/>
                    </a:cubicBezTo>
                    <a:cubicBezTo>
                      <a:pt x="304" y="38"/>
                      <a:pt x="294" y="32"/>
                      <a:pt x="300" y="32"/>
                    </a:cubicBezTo>
                    <a:cubicBezTo>
                      <a:pt x="301" y="30"/>
                      <a:pt x="303" y="28"/>
                      <a:pt x="306" y="28"/>
                    </a:cubicBezTo>
                    <a:cubicBezTo>
                      <a:pt x="306" y="30"/>
                      <a:pt x="306" y="32"/>
                      <a:pt x="306" y="34"/>
                    </a:cubicBezTo>
                    <a:cubicBezTo>
                      <a:pt x="310" y="30"/>
                      <a:pt x="311" y="37"/>
                      <a:pt x="315" y="38"/>
                    </a:cubicBezTo>
                    <a:cubicBezTo>
                      <a:pt x="321" y="38"/>
                      <a:pt x="325" y="37"/>
                      <a:pt x="326" y="34"/>
                    </a:cubicBezTo>
                    <a:cubicBezTo>
                      <a:pt x="329" y="36"/>
                      <a:pt x="334" y="36"/>
                      <a:pt x="332" y="41"/>
                    </a:cubicBezTo>
                    <a:cubicBezTo>
                      <a:pt x="336" y="40"/>
                      <a:pt x="341" y="39"/>
                      <a:pt x="341" y="34"/>
                    </a:cubicBezTo>
                    <a:cubicBezTo>
                      <a:pt x="346" y="37"/>
                      <a:pt x="348" y="33"/>
                      <a:pt x="352" y="38"/>
                    </a:cubicBezTo>
                    <a:cubicBezTo>
                      <a:pt x="357" y="38"/>
                      <a:pt x="361" y="38"/>
                      <a:pt x="365" y="38"/>
                    </a:cubicBezTo>
                    <a:cubicBezTo>
                      <a:pt x="366" y="38"/>
                      <a:pt x="363" y="41"/>
                      <a:pt x="364" y="41"/>
                    </a:cubicBezTo>
                    <a:cubicBezTo>
                      <a:pt x="363" y="41"/>
                      <a:pt x="369" y="43"/>
                      <a:pt x="367" y="43"/>
                    </a:cubicBezTo>
                    <a:cubicBezTo>
                      <a:pt x="369" y="44"/>
                      <a:pt x="370" y="41"/>
                      <a:pt x="373" y="41"/>
                    </a:cubicBezTo>
                    <a:cubicBezTo>
                      <a:pt x="373" y="42"/>
                      <a:pt x="373" y="45"/>
                      <a:pt x="373" y="45"/>
                    </a:cubicBezTo>
                    <a:cubicBezTo>
                      <a:pt x="378" y="48"/>
                      <a:pt x="386" y="44"/>
                      <a:pt x="392" y="45"/>
                    </a:cubicBezTo>
                    <a:cubicBezTo>
                      <a:pt x="392" y="47"/>
                      <a:pt x="395" y="47"/>
                      <a:pt x="397" y="47"/>
                    </a:cubicBezTo>
                    <a:cubicBezTo>
                      <a:pt x="394" y="54"/>
                      <a:pt x="404" y="48"/>
                      <a:pt x="403" y="53"/>
                    </a:cubicBezTo>
                    <a:cubicBezTo>
                      <a:pt x="404" y="57"/>
                      <a:pt x="399" y="55"/>
                      <a:pt x="399" y="58"/>
                    </a:cubicBezTo>
                    <a:cubicBezTo>
                      <a:pt x="398" y="61"/>
                      <a:pt x="401" y="62"/>
                      <a:pt x="401" y="64"/>
                    </a:cubicBezTo>
                    <a:cubicBezTo>
                      <a:pt x="421" y="62"/>
                      <a:pt x="438" y="61"/>
                      <a:pt x="453" y="68"/>
                    </a:cubicBezTo>
                    <a:cubicBezTo>
                      <a:pt x="452" y="69"/>
                      <a:pt x="451" y="71"/>
                      <a:pt x="451" y="73"/>
                    </a:cubicBezTo>
                    <a:cubicBezTo>
                      <a:pt x="455" y="73"/>
                      <a:pt x="455" y="71"/>
                      <a:pt x="459" y="71"/>
                    </a:cubicBezTo>
                    <a:cubicBezTo>
                      <a:pt x="457" y="65"/>
                      <a:pt x="458" y="67"/>
                      <a:pt x="457" y="60"/>
                    </a:cubicBezTo>
                    <a:cubicBezTo>
                      <a:pt x="458" y="57"/>
                      <a:pt x="472" y="57"/>
                      <a:pt x="468" y="55"/>
                    </a:cubicBezTo>
                    <a:cubicBezTo>
                      <a:pt x="469" y="51"/>
                      <a:pt x="471" y="54"/>
                      <a:pt x="474" y="55"/>
                    </a:cubicBezTo>
                    <a:cubicBezTo>
                      <a:pt x="474" y="57"/>
                      <a:pt x="477" y="56"/>
                      <a:pt x="477" y="58"/>
                    </a:cubicBezTo>
                    <a:cubicBezTo>
                      <a:pt x="485" y="60"/>
                      <a:pt x="490" y="57"/>
                      <a:pt x="496" y="58"/>
                    </a:cubicBezTo>
                    <a:cubicBezTo>
                      <a:pt x="496" y="58"/>
                      <a:pt x="496" y="60"/>
                      <a:pt x="498" y="60"/>
                    </a:cubicBezTo>
                    <a:cubicBezTo>
                      <a:pt x="499" y="60"/>
                      <a:pt x="500" y="62"/>
                      <a:pt x="502" y="62"/>
                    </a:cubicBezTo>
                    <a:cubicBezTo>
                      <a:pt x="508" y="62"/>
                      <a:pt x="514" y="58"/>
                      <a:pt x="524" y="60"/>
                    </a:cubicBezTo>
                    <a:cubicBezTo>
                      <a:pt x="529" y="56"/>
                      <a:pt x="528" y="53"/>
                      <a:pt x="530" y="49"/>
                    </a:cubicBezTo>
                    <a:cubicBezTo>
                      <a:pt x="528" y="43"/>
                      <a:pt x="523" y="45"/>
                      <a:pt x="522" y="43"/>
                    </a:cubicBezTo>
                    <a:cubicBezTo>
                      <a:pt x="523" y="34"/>
                      <a:pt x="540" y="39"/>
                      <a:pt x="544" y="41"/>
                    </a:cubicBezTo>
                    <a:cubicBezTo>
                      <a:pt x="544" y="44"/>
                      <a:pt x="542" y="45"/>
                      <a:pt x="539" y="45"/>
                    </a:cubicBezTo>
                    <a:cubicBezTo>
                      <a:pt x="543" y="49"/>
                      <a:pt x="539" y="50"/>
                      <a:pt x="537" y="53"/>
                    </a:cubicBezTo>
                    <a:cubicBezTo>
                      <a:pt x="536" y="57"/>
                      <a:pt x="540" y="56"/>
                      <a:pt x="543" y="56"/>
                    </a:cubicBezTo>
                    <a:cubicBezTo>
                      <a:pt x="540" y="62"/>
                      <a:pt x="544" y="63"/>
                      <a:pt x="541" y="68"/>
                    </a:cubicBezTo>
                    <a:cubicBezTo>
                      <a:pt x="546" y="71"/>
                      <a:pt x="550" y="59"/>
                      <a:pt x="548" y="60"/>
                    </a:cubicBezTo>
                    <a:cubicBezTo>
                      <a:pt x="549" y="59"/>
                      <a:pt x="554" y="65"/>
                      <a:pt x="552" y="56"/>
                    </a:cubicBezTo>
                    <a:cubicBezTo>
                      <a:pt x="560" y="58"/>
                      <a:pt x="558" y="49"/>
                      <a:pt x="563" y="47"/>
                    </a:cubicBezTo>
                    <a:cubicBezTo>
                      <a:pt x="561" y="42"/>
                      <a:pt x="558" y="38"/>
                      <a:pt x="550" y="38"/>
                    </a:cubicBezTo>
                    <a:cubicBezTo>
                      <a:pt x="554" y="35"/>
                      <a:pt x="546" y="30"/>
                      <a:pt x="541" y="28"/>
                    </a:cubicBezTo>
                    <a:cubicBezTo>
                      <a:pt x="541" y="26"/>
                      <a:pt x="541" y="23"/>
                      <a:pt x="539" y="23"/>
                    </a:cubicBezTo>
                    <a:cubicBezTo>
                      <a:pt x="539" y="19"/>
                      <a:pt x="544" y="17"/>
                      <a:pt x="544" y="14"/>
                    </a:cubicBezTo>
                    <a:cubicBezTo>
                      <a:pt x="544" y="13"/>
                      <a:pt x="549" y="11"/>
                      <a:pt x="548" y="10"/>
                    </a:cubicBezTo>
                    <a:cubicBezTo>
                      <a:pt x="543" y="5"/>
                      <a:pt x="555" y="11"/>
                      <a:pt x="550" y="6"/>
                    </a:cubicBezTo>
                    <a:cubicBezTo>
                      <a:pt x="550" y="0"/>
                      <a:pt x="555" y="8"/>
                      <a:pt x="556" y="8"/>
                    </a:cubicBezTo>
                    <a:cubicBezTo>
                      <a:pt x="558" y="9"/>
                      <a:pt x="561" y="7"/>
                      <a:pt x="563" y="8"/>
                    </a:cubicBezTo>
                    <a:cubicBezTo>
                      <a:pt x="564" y="8"/>
                      <a:pt x="560" y="11"/>
                      <a:pt x="561" y="12"/>
                    </a:cubicBezTo>
                    <a:cubicBezTo>
                      <a:pt x="562" y="12"/>
                      <a:pt x="566" y="11"/>
                      <a:pt x="567" y="12"/>
                    </a:cubicBezTo>
                    <a:cubicBezTo>
                      <a:pt x="568" y="13"/>
                      <a:pt x="566" y="16"/>
                      <a:pt x="567" y="17"/>
                    </a:cubicBezTo>
                    <a:cubicBezTo>
                      <a:pt x="567" y="18"/>
                      <a:pt x="570" y="17"/>
                      <a:pt x="571" y="17"/>
                    </a:cubicBezTo>
                    <a:cubicBezTo>
                      <a:pt x="572" y="22"/>
                      <a:pt x="567" y="20"/>
                      <a:pt x="571" y="25"/>
                    </a:cubicBezTo>
                    <a:cubicBezTo>
                      <a:pt x="571" y="26"/>
                      <a:pt x="573" y="26"/>
                      <a:pt x="572" y="28"/>
                    </a:cubicBezTo>
                    <a:cubicBezTo>
                      <a:pt x="572" y="28"/>
                      <a:pt x="571" y="29"/>
                      <a:pt x="571" y="30"/>
                    </a:cubicBezTo>
                    <a:cubicBezTo>
                      <a:pt x="570" y="33"/>
                      <a:pt x="569" y="34"/>
                      <a:pt x="569" y="36"/>
                    </a:cubicBezTo>
                    <a:cubicBezTo>
                      <a:pt x="568" y="39"/>
                      <a:pt x="581" y="40"/>
                      <a:pt x="578" y="34"/>
                    </a:cubicBezTo>
                    <a:cubicBezTo>
                      <a:pt x="582" y="34"/>
                      <a:pt x="580" y="39"/>
                      <a:pt x="585" y="38"/>
                    </a:cubicBezTo>
                    <a:cubicBezTo>
                      <a:pt x="582" y="41"/>
                      <a:pt x="587" y="41"/>
                      <a:pt x="585" y="47"/>
                    </a:cubicBezTo>
                    <a:cubicBezTo>
                      <a:pt x="594" y="48"/>
                      <a:pt x="592" y="41"/>
                      <a:pt x="598" y="45"/>
                    </a:cubicBezTo>
                    <a:cubicBezTo>
                      <a:pt x="600" y="46"/>
                      <a:pt x="600" y="44"/>
                      <a:pt x="600" y="43"/>
                    </a:cubicBezTo>
                    <a:cubicBezTo>
                      <a:pt x="605" y="45"/>
                      <a:pt x="598" y="45"/>
                      <a:pt x="602" y="49"/>
                    </a:cubicBezTo>
                    <a:cubicBezTo>
                      <a:pt x="602" y="49"/>
                      <a:pt x="606" y="51"/>
                      <a:pt x="606" y="51"/>
                    </a:cubicBezTo>
                    <a:cubicBezTo>
                      <a:pt x="606" y="54"/>
                      <a:pt x="599" y="56"/>
                      <a:pt x="602" y="62"/>
                    </a:cubicBezTo>
                    <a:close/>
                    <a:moveTo>
                      <a:pt x="380" y="82"/>
                    </a:moveTo>
                    <a:cubicBezTo>
                      <a:pt x="380" y="79"/>
                      <a:pt x="383" y="78"/>
                      <a:pt x="380" y="77"/>
                    </a:cubicBezTo>
                    <a:cubicBezTo>
                      <a:pt x="380" y="78"/>
                      <a:pt x="380" y="79"/>
                      <a:pt x="379" y="79"/>
                    </a:cubicBezTo>
                    <a:cubicBezTo>
                      <a:pt x="378" y="77"/>
                      <a:pt x="379" y="73"/>
                      <a:pt x="377" y="73"/>
                    </a:cubicBezTo>
                    <a:cubicBezTo>
                      <a:pt x="374" y="76"/>
                      <a:pt x="366" y="82"/>
                      <a:pt x="362" y="77"/>
                    </a:cubicBezTo>
                    <a:cubicBezTo>
                      <a:pt x="361" y="72"/>
                      <a:pt x="370" y="78"/>
                      <a:pt x="367" y="71"/>
                    </a:cubicBezTo>
                    <a:cubicBezTo>
                      <a:pt x="366" y="71"/>
                      <a:pt x="364" y="71"/>
                      <a:pt x="364" y="69"/>
                    </a:cubicBezTo>
                    <a:cubicBezTo>
                      <a:pt x="360" y="68"/>
                      <a:pt x="359" y="72"/>
                      <a:pt x="356" y="73"/>
                    </a:cubicBezTo>
                    <a:cubicBezTo>
                      <a:pt x="352" y="74"/>
                      <a:pt x="348" y="74"/>
                      <a:pt x="343" y="75"/>
                    </a:cubicBezTo>
                    <a:cubicBezTo>
                      <a:pt x="343" y="75"/>
                      <a:pt x="343" y="77"/>
                      <a:pt x="341" y="77"/>
                    </a:cubicBezTo>
                    <a:cubicBezTo>
                      <a:pt x="335" y="79"/>
                      <a:pt x="329" y="79"/>
                      <a:pt x="323" y="79"/>
                    </a:cubicBezTo>
                    <a:cubicBezTo>
                      <a:pt x="323" y="82"/>
                      <a:pt x="320" y="84"/>
                      <a:pt x="323" y="84"/>
                    </a:cubicBezTo>
                    <a:cubicBezTo>
                      <a:pt x="323" y="82"/>
                      <a:pt x="325" y="83"/>
                      <a:pt x="324" y="86"/>
                    </a:cubicBezTo>
                    <a:cubicBezTo>
                      <a:pt x="333" y="87"/>
                      <a:pt x="344" y="79"/>
                      <a:pt x="347" y="86"/>
                    </a:cubicBezTo>
                    <a:cubicBezTo>
                      <a:pt x="343" y="82"/>
                      <a:pt x="345" y="87"/>
                      <a:pt x="341" y="88"/>
                    </a:cubicBezTo>
                    <a:cubicBezTo>
                      <a:pt x="338" y="88"/>
                      <a:pt x="335" y="89"/>
                      <a:pt x="334" y="92"/>
                    </a:cubicBezTo>
                    <a:cubicBezTo>
                      <a:pt x="344" y="93"/>
                      <a:pt x="349" y="90"/>
                      <a:pt x="358" y="90"/>
                    </a:cubicBezTo>
                    <a:cubicBezTo>
                      <a:pt x="358" y="92"/>
                      <a:pt x="358" y="95"/>
                      <a:pt x="360" y="96"/>
                    </a:cubicBezTo>
                    <a:cubicBezTo>
                      <a:pt x="360" y="93"/>
                      <a:pt x="363" y="94"/>
                      <a:pt x="365" y="94"/>
                    </a:cubicBezTo>
                    <a:cubicBezTo>
                      <a:pt x="366" y="90"/>
                      <a:pt x="367" y="87"/>
                      <a:pt x="369" y="86"/>
                    </a:cubicBezTo>
                    <a:cubicBezTo>
                      <a:pt x="373" y="83"/>
                      <a:pt x="372" y="86"/>
                      <a:pt x="377" y="86"/>
                    </a:cubicBezTo>
                    <a:cubicBezTo>
                      <a:pt x="377" y="84"/>
                      <a:pt x="377" y="82"/>
                      <a:pt x="380" y="82"/>
                    </a:cubicBezTo>
                    <a:close/>
                    <a:moveTo>
                      <a:pt x="393" y="146"/>
                    </a:moveTo>
                    <a:cubicBezTo>
                      <a:pt x="395" y="141"/>
                      <a:pt x="401" y="143"/>
                      <a:pt x="403" y="140"/>
                    </a:cubicBezTo>
                    <a:cubicBezTo>
                      <a:pt x="403" y="140"/>
                      <a:pt x="406" y="141"/>
                      <a:pt x="406" y="140"/>
                    </a:cubicBezTo>
                    <a:cubicBezTo>
                      <a:pt x="409" y="139"/>
                      <a:pt x="413" y="140"/>
                      <a:pt x="416" y="138"/>
                    </a:cubicBezTo>
                    <a:cubicBezTo>
                      <a:pt x="416" y="138"/>
                      <a:pt x="417" y="135"/>
                      <a:pt x="418" y="135"/>
                    </a:cubicBezTo>
                    <a:cubicBezTo>
                      <a:pt x="422" y="131"/>
                      <a:pt x="426" y="136"/>
                      <a:pt x="427" y="133"/>
                    </a:cubicBezTo>
                    <a:cubicBezTo>
                      <a:pt x="426" y="133"/>
                      <a:pt x="425" y="131"/>
                      <a:pt x="427" y="131"/>
                    </a:cubicBezTo>
                    <a:cubicBezTo>
                      <a:pt x="431" y="131"/>
                      <a:pt x="431" y="129"/>
                      <a:pt x="433" y="131"/>
                    </a:cubicBezTo>
                    <a:cubicBezTo>
                      <a:pt x="434" y="132"/>
                      <a:pt x="435" y="129"/>
                      <a:pt x="434" y="129"/>
                    </a:cubicBezTo>
                    <a:cubicBezTo>
                      <a:pt x="431" y="130"/>
                      <a:pt x="435" y="125"/>
                      <a:pt x="438" y="129"/>
                    </a:cubicBezTo>
                    <a:cubicBezTo>
                      <a:pt x="439" y="126"/>
                      <a:pt x="442" y="124"/>
                      <a:pt x="442" y="120"/>
                    </a:cubicBezTo>
                    <a:cubicBezTo>
                      <a:pt x="435" y="118"/>
                      <a:pt x="434" y="123"/>
                      <a:pt x="427" y="122"/>
                    </a:cubicBezTo>
                    <a:cubicBezTo>
                      <a:pt x="427" y="125"/>
                      <a:pt x="425" y="126"/>
                      <a:pt x="423" y="127"/>
                    </a:cubicBezTo>
                    <a:cubicBezTo>
                      <a:pt x="417" y="130"/>
                      <a:pt x="419" y="126"/>
                      <a:pt x="414" y="127"/>
                    </a:cubicBezTo>
                    <a:cubicBezTo>
                      <a:pt x="413" y="127"/>
                      <a:pt x="413" y="129"/>
                      <a:pt x="410" y="129"/>
                    </a:cubicBezTo>
                    <a:cubicBezTo>
                      <a:pt x="408" y="129"/>
                      <a:pt x="407" y="126"/>
                      <a:pt x="403" y="127"/>
                    </a:cubicBezTo>
                    <a:cubicBezTo>
                      <a:pt x="402" y="126"/>
                      <a:pt x="403" y="124"/>
                      <a:pt x="401" y="123"/>
                    </a:cubicBezTo>
                    <a:cubicBezTo>
                      <a:pt x="401" y="126"/>
                      <a:pt x="400" y="128"/>
                      <a:pt x="399" y="129"/>
                    </a:cubicBezTo>
                    <a:cubicBezTo>
                      <a:pt x="399" y="132"/>
                      <a:pt x="402" y="131"/>
                      <a:pt x="403" y="133"/>
                    </a:cubicBezTo>
                    <a:cubicBezTo>
                      <a:pt x="397" y="131"/>
                      <a:pt x="397" y="135"/>
                      <a:pt x="395" y="137"/>
                    </a:cubicBezTo>
                    <a:cubicBezTo>
                      <a:pt x="393" y="139"/>
                      <a:pt x="388" y="137"/>
                      <a:pt x="388" y="140"/>
                    </a:cubicBezTo>
                    <a:cubicBezTo>
                      <a:pt x="388" y="145"/>
                      <a:pt x="379" y="139"/>
                      <a:pt x="382" y="146"/>
                    </a:cubicBezTo>
                    <a:cubicBezTo>
                      <a:pt x="386" y="146"/>
                      <a:pt x="390" y="146"/>
                      <a:pt x="393" y="146"/>
                    </a:cubicBezTo>
                    <a:close/>
                    <a:moveTo>
                      <a:pt x="530" y="219"/>
                    </a:moveTo>
                    <a:cubicBezTo>
                      <a:pt x="528" y="219"/>
                      <a:pt x="528" y="220"/>
                      <a:pt x="528" y="220"/>
                    </a:cubicBezTo>
                    <a:cubicBezTo>
                      <a:pt x="527" y="221"/>
                      <a:pt x="522" y="222"/>
                      <a:pt x="522" y="222"/>
                    </a:cubicBezTo>
                    <a:cubicBezTo>
                      <a:pt x="521" y="224"/>
                      <a:pt x="524" y="230"/>
                      <a:pt x="520" y="230"/>
                    </a:cubicBezTo>
                    <a:cubicBezTo>
                      <a:pt x="520" y="228"/>
                      <a:pt x="521" y="224"/>
                      <a:pt x="518" y="224"/>
                    </a:cubicBezTo>
                    <a:cubicBezTo>
                      <a:pt x="518" y="227"/>
                      <a:pt x="518" y="229"/>
                      <a:pt x="518" y="232"/>
                    </a:cubicBezTo>
                    <a:cubicBezTo>
                      <a:pt x="521" y="232"/>
                      <a:pt x="525" y="232"/>
                      <a:pt x="528" y="232"/>
                    </a:cubicBezTo>
                    <a:cubicBezTo>
                      <a:pt x="526" y="234"/>
                      <a:pt x="531" y="237"/>
                      <a:pt x="531" y="239"/>
                    </a:cubicBezTo>
                    <a:cubicBezTo>
                      <a:pt x="533" y="245"/>
                      <a:pt x="534" y="243"/>
                      <a:pt x="537" y="247"/>
                    </a:cubicBezTo>
                    <a:cubicBezTo>
                      <a:pt x="535" y="247"/>
                      <a:pt x="533" y="247"/>
                      <a:pt x="533" y="250"/>
                    </a:cubicBezTo>
                    <a:cubicBezTo>
                      <a:pt x="533" y="253"/>
                      <a:pt x="536" y="253"/>
                      <a:pt x="535" y="256"/>
                    </a:cubicBezTo>
                    <a:cubicBezTo>
                      <a:pt x="538" y="256"/>
                      <a:pt x="540" y="256"/>
                      <a:pt x="543" y="256"/>
                    </a:cubicBezTo>
                    <a:cubicBezTo>
                      <a:pt x="545" y="254"/>
                      <a:pt x="545" y="249"/>
                      <a:pt x="544" y="245"/>
                    </a:cubicBezTo>
                    <a:cubicBezTo>
                      <a:pt x="542" y="244"/>
                      <a:pt x="540" y="243"/>
                      <a:pt x="539" y="241"/>
                    </a:cubicBezTo>
                    <a:cubicBezTo>
                      <a:pt x="542" y="231"/>
                      <a:pt x="539" y="236"/>
                      <a:pt x="537" y="233"/>
                    </a:cubicBezTo>
                    <a:cubicBezTo>
                      <a:pt x="534" y="230"/>
                      <a:pt x="535" y="223"/>
                      <a:pt x="533" y="219"/>
                    </a:cubicBezTo>
                    <a:cubicBezTo>
                      <a:pt x="532" y="219"/>
                      <a:pt x="531" y="218"/>
                      <a:pt x="530" y="219"/>
                    </a:cubicBezTo>
                    <a:close/>
                    <a:moveTo>
                      <a:pt x="602" y="276"/>
                    </a:moveTo>
                    <a:cubicBezTo>
                      <a:pt x="596" y="274"/>
                      <a:pt x="598" y="279"/>
                      <a:pt x="595" y="280"/>
                    </a:cubicBezTo>
                    <a:cubicBezTo>
                      <a:pt x="594" y="279"/>
                      <a:pt x="593" y="278"/>
                      <a:pt x="591" y="278"/>
                    </a:cubicBezTo>
                    <a:cubicBezTo>
                      <a:pt x="591" y="285"/>
                      <a:pt x="584" y="281"/>
                      <a:pt x="582" y="284"/>
                    </a:cubicBezTo>
                    <a:cubicBezTo>
                      <a:pt x="580" y="285"/>
                      <a:pt x="582" y="286"/>
                      <a:pt x="580" y="288"/>
                    </a:cubicBezTo>
                    <a:cubicBezTo>
                      <a:pt x="579" y="288"/>
                      <a:pt x="576" y="287"/>
                      <a:pt x="576" y="289"/>
                    </a:cubicBezTo>
                    <a:cubicBezTo>
                      <a:pt x="579" y="290"/>
                      <a:pt x="576" y="292"/>
                      <a:pt x="576" y="295"/>
                    </a:cubicBezTo>
                    <a:cubicBezTo>
                      <a:pt x="580" y="298"/>
                      <a:pt x="581" y="292"/>
                      <a:pt x="584" y="291"/>
                    </a:cubicBezTo>
                    <a:cubicBezTo>
                      <a:pt x="587" y="290"/>
                      <a:pt x="591" y="292"/>
                      <a:pt x="595" y="291"/>
                    </a:cubicBezTo>
                    <a:cubicBezTo>
                      <a:pt x="597" y="291"/>
                      <a:pt x="597" y="290"/>
                      <a:pt x="600" y="289"/>
                    </a:cubicBezTo>
                    <a:cubicBezTo>
                      <a:pt x="605" y="289"/>
                      <a:pt x="610" y="291"/>
                      <a:pt x="612" y="293"/>
                    </a:cubicBezTo>
                    <a:cubicBezTo>
                      <a:pt x="610" y="294"/>
                      <a:pt x="608" y="293"/>
                      <a:pt x="608" y="295"/>
                    </a:cubicBezTo>
                    <a:cubicBezTo>
                      <a:pt x="609" y="294"/>
                      <a:pt x="610" y="297"/>
                      <a:pt x="610" y="297"/>
                    </a:cubicBezTo>
                    <a:cubicBezTo>
                      <a:pt x="611" y="297"/>
                      <a:pt x="612" y="295"/>
                      <a:pt x="612" y="295"/>
                    </a:cubicBezTo>
                    <a:cubicBezTo>
                      <a:pt x="619" y="296"/>
                      <a:pt x="616" y="296"/>
                      <a:pt x="621" y="293"/>
                    </a:cubicBezTo>
                    <a:cubicBezTo>
                      <a:pt x="627" y="290"/>
                      <a:pt x="630" y="295"/>
                      <a:pt x="634" y="291"/>
                    </a:cubicBezTo>
                    <a:cubicBezTo>
                      <a:pt x="629" y="290"/>
                      <a:pt x="635" y="283"/>
                      <a:pt x="630" y="288"/>
                    </a:cubicBezTo>
                    <a:cubicBezTo>
                      <a:pt x="627" y="291"/>
                      <a:pt x="626" y="280"/>
                      <a:pt x="626" y="280"/>
                    </a:cubicBezTo>
                    <a:cubicBezTo>
                      <a:pt x="626" y="279"/>
                      <a:pt x="621" y="280"/>
                      <a:pt x="623" y="276"/>
                    </a:cubicBezTo>
                    <a:cubicBezTo>
                      <a:pt x="620" y="276"/>
                      <a:pt x="616" y="276"/>
                      <a:pt x="613" y="276"/>
                    </a:cubicBezTo>
                    <a:cubicBezTo>
                      <a:pt x="614" y="274"/>
                      <a:pt x="616" y="273"/>
                      <a:pt x="613" y="271"/>
                    </a:cubicBezTo>
                    <a:cubicBezTo>
                      <a:pt x="607" y="273"/>
                      <a:pt x="609" y="271"/>
                      <a:pt x="602" y="271"/>
                    </a:cubicBezTo>
                    <a:cubicBezTo>
                      <a:pt x="601" y="273"/>
                      <a:pt x="600" y="274"/>
                      <a:pt x="602" y="276"/>
                    </a:cubicBezTo>
                    <a:close/>
                    <a:moveTo>
                      <a:pt x="653" y="323"/>
                    </a:moveTo>
                    <a:cubicBezTo>
                      <a:pt x="651" y="323"/>
                      <a:pt x="650" y="323"/>
                      <a:pt x="651" y="321"/>
                    </a:cubicBezTo>
                    <a:cubicBezTo>
                      <a:pt x="659" y="323"/>
                      <a:pt x="651" y="309"/>
                      <a:pt x="658" y="310"/>
                    </a:cubicBezTo>
                    <a:cubicBezTo>
                      <a:pt x="662" y="314"/>
                      <a:pt x="663" y="309"/>
                      <a:pt x="669" y="310"/>
                    </a:cubicBezTo>
                    <a:cubicBezTo>
                      <a:pt x="666" y="299"/>
                      <a:pt x="653" y="297"/>
                      <a:pt x="641" y="299"/>
                    </a:cubicBezTo>
                    <a:cubicBezTo>
                      <a:pt x="640" y="298"/>
                      <a:pt x="639" y="297"/>
                      <a:pt x="639" y="295"/>
                    </a:cubicBezTo>
                    <a:cubicBezTo>
                      <a:pt x="635" y="294"/>
                      <a:pt x="634" y="299"/>
                      <a:pt x="630" y="299"/>
                    </a:cubicBezTo>
                    <a:cubicBezTo>
                      <a:pt x="628" y="299"/>
                      <a:pt x="627" y="296"/>
                      <a:pt x="625" y="297"/>
                    </a:cubicBezTo>
                    <a:cubicBezTo>
                      <a:pt x="622" y="298"/>
                      <a:pt x="621" y="300"/>
                      <a:pt x="619" y="301"/>
                    </a:cubicBezTo>
                    <a:cubicBezTo>
                      <a:pt x="616" y="302"/>
                      <a:pt x="614" y="301"/>
                      <a:pt x="612" y="302"/>
                    </a:cubicBezTo>
                    <a:cubicBezTo>
                      <a:pt x="612" y="306"/>
                      <a:pt x="610" y="307"/>
                      <a:pt x="608" y="308"/>
                    </a:cubicBezTo>
                    <a:cubicBezTo>
                      <a:pt x="608" y="323"/>
                      <a:pt x="605" y="324"/>
                      <a:pt x="606" y="340"/>
                    </a:cubicBezTo>
                    <a:cubicBezTo>
                      <a:pt x="613" y="342"/>
                      <a:pt x="609" y="335"/>
                      <a:pt x="615" y="336"/>
                    </a:cubicBezTo>
                    <a:cubicBezTo>
                      <a:pt x="615" y="333"/>
                      <a:pt x="616" y="330"/>
                      <a:pt x="617" y="329"/>
                    </a:cubicBezTo>
                    <a:cubicBezTo>
                      <a:pt x="620" y="324"/>
                      <a:pt x="618" y="319"/>
                      <a:pt x="619" y="314"/>
                    </a:cubicBezTo>
                    <a:cubicBezTo>
                      <a:pt x="619" y="313"/>
                      <a:pt x="622" y="311"/>
                      <a:pt x="623" y="310"/>
                    </a:cubicBezTo>
                    <a:cubicBezTo>
                      <a:pt x="624" y="308"/>
                      <a:pt x="622" y="304"/>
                      <a:pt x="625" y="304"/>
                    </a:cubicBezTo>
                    <a:cubicBezTo>
                      <a:pt x="628" y="304"/>
                      <a:pt x="630" y="304"/>
                      <a:pt x="632" y="302"/>
                    </a:cubicBezTo>
                    <a:cubicBezTo>
                      <a:pt x="629" y="309"/>
                      <a:pt x="638" y="304"/>
                      <a:pt x="638" y="308"/>
                    </a:cubicBezTo>
                    <a:cubicBezTo>
                      <a:pt x="639" y="314"/>
                      <a:pt x="639" y="312"/>
                      <a:pt x="638" y="317"/>
                    </a:cubicBezTo>
                    <a:cubicBezTo>
                      <a:pt x="639" y="318"/>
                      <a:pt x="641" y="317"/>
                      <a:pt x="641" y="319"/>
                    </a:cubicBezTo>
                    <a:cubicBezTo>
                      <a:pt x="640" y="320"/>
                      <a:pt x="638" y="319"/>
                      <a:pt x="638" y="321"/>
                    </a:cubicBezTo>
                    <a:cubicBezTo>
                      <a:pt x="644" y="319"/>
                      <a:pt x="650" y="327"/>
                      <a:pt x="653" y="323"/>
                    </a:cubicBezTo>
                    <a:close/>
                    <a:moveTo>
                      <a:pt x="686" y="315"/>
                    </a:moveTo>
                    <a:cubicBezTo>
                      <a:pt x="686" y="315"/>
                      <a:pt x="686" y="319"/>
                      <a:pt x="686" y="319"/>
                    </a:cubicBezTo>
                    <a:cubicBezTo>
                      <a:pt x="683" y="322"/>
                      <a:pt x="675" y="314"/>
                      <a:pt x="671" y="317"/>
                    </a:cubicBezTo>
                    <a:cubicBezTo>
                      <a:pt x="672" y="321"/>
                      <a:pt x="669" y="321"/>
                      <a:pt x="667" y="323"/>
                    </a:cubicBezTo>
                    <a:cubicBezTo>
                      <a:pt x="672" y="328"/>
                      <a:pt x="673" y="325"/>
                      <a:pt x="679" y="325"/>
                    </a:cubicBezTo>
                    <a:cubicBezTo>
                      <a:pt x="683" y="325"/>
                      <a:pt x="689" y="326"/>
                      <a:pt x="692" y="323"/>
                    </a:cubicBezTo>
                    <a:cubicBezTo>
                      <a:pt x="691" y="323"/>
                      <a:pt x="690" y="321"/>
                      <a:pt x="692" y="321"/>
                    </a:cubicBezTo>
                    <a:cubicBezTo>
                      <a:pt x="693" y="321"/>
                      <a:pt x="695" y="321"/>
                      <a:pt x="695" y="319"/>
                    </a:cubicBezTo>
                    <a:cubicBezTo>
                      <a:pt x="691" y="319"/>
                      <a:pt x="689" y="316"/>
                      <a:pt x="686" y="315"/>
                    </a:cubicBezTo>
                    <a:close/>
                    <a:moveTo>
                      <a:pt x="660" y="330"/>
                    </a:moveTo>
                    <a:cubicBezTo>
                      <a:pt x="659" y="330"/>
                      <a:pt x="659" y="327"/>
                      <a:pt x="656" y="329"/>
                    </a:cubicBezTo>
                    <a:cubicBezTo>
                      <a:pt x="656" y="329"/>
                      <a:pt x="657" y="332"/>
                      <a:pt x="656" y="332"/>
                    </a:cubicBezTo>
                    <a:cubicBezTo>
                      <a:pt x="653" y="332"/>
                      <a:pt x="650" y="332"/>
                      <a:pt x="647" y="332"/>
                    </a:cubicBezTo>
                    <a:cubicBezTo>
                      <a:pt x="650" y="339"/>
                      <a:pt x="641" y="333"/>
                      <a:pt x="641" y="338"/>
                    </a:cubicBezTo>
                    <a:cubicBezTo>
                      <a:pt x="643" y="338"/>
                      <a:pt x="645" y="338"/>
                      <a:pt x="647" y="338"/>
                    </a:cubicBezTo>
                    <a:cubicBezTo>
                      <a:pt x="647" y="340"/>
                      <a:pt x="645" y="340"/>
                      <a:pt x="645" y="342"/>
                    </a:cubicBezTo>
                    <a:cubicBezTo>
                      <a:pt x="650" y="343"/>
                      <a:pt x="649" y="338"/>
                      <a:pt x="653" y="338"/>
                    </a:cubicBezTo>
                    <a:cubicBezTo>
                      <a:pt x="655" y="339"/>
                      <a:pt x="658" y="340"/>
                      <a:pt x="662" y="340"/>
                    </a:cubicBezTo>
                    <a:cubicBezTo>
                      <a:pt x="661" y="332"/>
                      <a:pt x="674" y="338"/>
                      <a:pt x="671" y="329"/>
                    </a:cubicBezTo>
                    <a:cubicBezTo>
                      <a:pt x="665" y="327"/>
                      <a:pt x="662" y="331"/>
                      <a:pt x="660" y="33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8" name="任意多边形: 形状 117">
                <a:extLst>
                  <a:ext uri="{FF2B5EF4-FFF2-40B4-BE49-F238E27FC236}">
                    <a16:creationId xmlns:a16="http://schemas.microsoft.com/office/drawing/2014/main" id="{7B403D96-15A1-4D17-B34C-27740ECDEBA6}"/>
                  </a:ext>
                </a:extLst>
              </p:cNvPr>
              <p:cNvSpPr/>
              <p:nvPr/>
            </p:nvSpPr>
            <p:spPr bwMode="auto">
              <a:xfrm>
                <a:off x="5559321" y="1164304"/>
                <a:ext cx="126070" cy="191908"/>
              </a:xfrm>
              <a:custGeom>
                <a:avLst/>
                <a:gdLst>
                  <a:gd name="T0" fmla="*/ 16 w 60"/>
                  <a:gd name="T1" fmla="*/ 9 h 92"/>
                  <a:gd name="T2" fmla="*/ 30 w 60"/>
                  <a:gd name="T3" fmla="*/ 7 h 92"/>
                  <a:gd name="T4" fmla="*/ 31 w 60"/>
                  <a:gd name="T5" fmla="*/ 19 h 92"/>
                  <a:gd name="T6" fmla="*/ 22 w 60"/>
                  <a:gd name="T7" fmla="*/ 24 h 92"/>
                  <a:gd name="T8" fmla="*/ 33 w 60"/>
                  <a:gd name="T9" fmla="*/ 30 h 92"/>
                  <a:gd name="T10" fmla="*/ 39 w 60"/>
                  <a:gd name="T11" fmla="*/ 43 h 92"/>
                  <a:gd name="T12" fmla="*/ 43 w 60"/>
                  <a:gd name="T13" fmla="*/ 47 h 92"/>
                  <a:gd name="T14" fmla="*/ 50 w 60"/>
                  <a:gd name="T15" fmla="*/ 50 h 92"/>
                  <a:gd name="T16" fmla="*/ 46 w 60"/>
                  <a:gd name="T17" fmla="*/ 58 h 92"/>
                  <a:gd name="T18" fmla="*/ 58 w 60"/>
                  <a:gd name="T19" fmla="*/ 60 h 92"/>
                  <a:gd name="T20" fmla="*/ 58 w 60"/>
                  <a:gd name="T21" fmla="*/ 71 h 92"/>
                  <a:gd name="T22" fmla="*/ 54 w 60"/>
                  <a:gd name="T23" fmla="*/ 71 h 92"/>
                  <a:gd name="T24" fmla="*/ 58 w 60"/>
                  <a:gd name="T25" fmla="*/ 73 h 92"/>
                  <a:gd name="T26" fmla="*/ 54 w 60"/>
                  <a:gd name="T27" fmla="*/ 78 h 92"/>
                  <a:gd name="T28" fmla="*/ 48 w 60"/>
                  <a:gd name="T29" fmla="*/ 82 h 92"/>
                  <a:gd name="T30" fmla="*/ 30 w 60"/>
                  <a:gd name="T31" fmla="*/ 80 h 92"/>
                  <a:gd name="T32" fmla="*/ 22 w 60"/>
                  <a:gd name="T33" fmla="*/ 82 h 92"/>
                  <a:gd name="T34" fmla="*/ 9 w 60"/>
                  <a:gd name="T35" fmla="*/ 82 h 92"/>
                  <a:gd name="T36" fmla="*/ 13 w 60"/>
                  <a:gd name="T37" fmla="*/ 80 h 92"/>
                  <a:gd name="T38" fmla="*/ 15 w 60"/>
                  <a:gd name="T39" fmla="*/ 82 h 92"/>
                  <a:gd name="T40" fmla="*/ 16 w 60"/>
                  <a:gd name="T41" fmla="*/ 78 h 92"/>
                  <a:gd name="T42" fmla="*/ 28 w 60"/>
                  <a:gd name="T43" fmla="*/ 76 h 92"/>
                  <a:gd name="T44" fmla="*/ 13 w 60"/>
                  <a:gd name="T45" fmla="*/ 71 h 92"/>
                  <a:gd name="T46" fmla="*/ 13 w 60"/>
                  <a:gd name="T47" fmla="*/ 60 h 92"/>
                  <a:gd name="T48" fmla="*/ 16 w 60"/>
                  <a:gd name="T49" fmla="*/ 58 h 92"/>
                  <a:gd name="T50" fmla="*/ 24 w 60"/>
                  <a:gd name="T51" fmla="*/ 58 h 92"/>
                  <a:gd name="T52" fmla="*/ 26 w 60"/>
                  <a:gd name="T53" fmla="*/ 47 h 92"/>
                  <a:gd name="T54" fmla="*/ 20 w 60"/>
                  <a:gd name="T55" fmla="*/ 39 h 92"/>
                  <a:gd name="T56" fmla="*/ 13 w 60"/>
                  <a:gd name="T57" fmla="*/ 41 h 92"/>
                  <a:gd name="T58" fmla="*/ 13 w 60"/>
                  <a:gd name="T59" fmla="*/ 32 h 92"/>
                  <a:gd name="T60" fmla="*/ 5 w 60"/>
                  <a:gd name="T61" fmla="*/ 28 h 92"/>
                  <a:gd name="T62" fmla="*/ 0 w 60"/>
                  <a:gd name="T63" fmla="*/ 9 h 92"/>
                  <a:gd name="T64" fmla="*/ 9 w 60"/>
                  <a:gd name="T65" fmla="*/ 0 h 92"/>
                  <a:gd name="T66" fmla="*/ 26 w 60"/>
                  <a:gd name="T67" fmla="*/ 0 h 92"/>
                  <a:gd name="T68" fmla="*/ 16 w 60"/>
                  <a:gd name="T69" fmla="*/ 9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60" h="92">
                    <a:moveTo>
                      <a:pt x="16" y="9"/>
                    </a:moveTo>
                    <a:cubicBezTo>
                      <a:pt x="18" y="13"/>
                      <a:pt x="26" y="7"/>
                      <a:pt x="30" y="7"/>
                    </a:cubicBezTo>
                    <a:cubicBezTo>
                      <a:pt x="32" y="10"/>
                      <a:pt x="32" y="14"/>
                      <a:pt x="31" y="19"/>
                    </a:cubicBezTo>
                    <a:cubicBezTo>
                      <a:pt x="27" y="19"/>
                      <a:pt x="23" y="21"/>
                      <a:pt x="22" y="24"/>
                    </a:cubicBezTo>
                    <a:cubicBezTo>
                      <a:pt x="24" y="28"/>
                      <a:pt x="28" y="30"/>
                      <a:pt x="33" y="30"/>
                    </a:cubicBezTo>
                    <a:cubicBezTo>
                      <a:pt x="33" y="37"/>
                      <a:pt x="41" y="35"/>
                      <a:pt x="39" y="43"/>
                    </a:cubicBezTo>
                    <a:cubicBezTo>
                      <a:pt x="39" y="45"/>
                      <a:pt x="43" y="44"/>
                      <a:pt x="43" y="47"/>
                    </a:cubicBezTo>
                    <a:cubicBezTo>
                      <a:pt x="43" y="50"/>
                      <a:pt x="49" y="48"/>
                      <a:pt x="50" y="50"/>
                    </a:cubicBezTo>
                    <a:cubicBezTo>
                      <a:pt x="49" y="53"/>
                      <a:pt x="47" y="55"/>
                      <a:pt x="46" y="58"/>
                    </a:cubicBezTo>
                    <a:cubicBezTo>
                      <a:pt x="51" y="57"/>
                      <a:pt x="55" y="57"/>
                      <a:pt x="58" y="60"/>
                    </a:cubicBezTo>
                    <a:cubicBezTo>
                      <a:pt x="55" y="62"/>
                      <a:pt x="60" y="68"/>
                      <a:pt x="58" y="71"/>
                    </a:cubicBezTo>
                    <a:cubicBezTo>
                      <a:pt x="57" y="71"/>
                      <a:pt x="54" y="70"/>
                      <a:pt x="54" y="71"/>
                    </a:cubicBezTo>
                    <a:cubicBezTo>
                      <a:pt x="53" y="73"/>
                      <a:pt x="56" y="72"/>
                      <a:pt x="58" y="73"/>
                    </a:cubicBezTo>
                    <a:cubicBezTo>
                      <a:pt x="56" y="75"/>
                      <a:pt x="53" y="75"/>
                      <a:pt x="54" y="78"/>
                    </a:cubicBezTo>
                    <a:cubicBezTo>
                      <a:pt x="51" y="79"/>
                      <a:pt x="51" y="82"/>
                      <a:pt x="48" y="82"/>
                    </a:cubicBezTo>
                    <a:cubicBezTo>
                      <a:pt x="42" y="81"/>
                      <a:pt x="38" y="79"/>
                      <a:pt x="30" y="80"/>
                    </a:cubicBezTo>
                    <a:cubicBezTo>
                      <a:pt x="26" y="84"/>
                      <a:pt x="28" y="84"/>
                      <a:pt x="22" y="82"/>
                    </a:cubicBezTo>
                    <a:cubicBezTo>
                      <a:pt x="20" y="86"/>
                      <a:pt x="9" y="92"/>
                      <a:pt x="9" y="82"/>
                    </a:cubicBezTo>
                    <a:cubicBezTo>
                      <a:pt x="11" y="83"/>
                      <a:pt x="12" y="80"/>
                      <a:pt x="13" y="80"/>
                    </a:cubicBezTo>
                    <a:cubicBezTo>
                      <a:pt x="14" y="80"/>
                      <a:pt x="15" y="82"/>
                      <a:pt x="15" y="82"/>
                    </a:cubicBezTo>
                    <a:cubicBezTo>
                      <a:pt x="17" y="81"/>
                      <a:pt x="15" y="79"/>
                      <a:pt x="16" y="78"/>
                    </a:cubicBezTo>
                    <a:cubicBezTo>
                      <a:pt x="19" y="76"/>
                      <a:pt x="23" y="78"/>
                      <a:pt x="28" y="76"/>
                    </a:cubicBezTo>
                    <a:cubicBezTo>
                      <a:pt x="26" y="67"/>
                      <a:pt x="18" y="74"/>
                      <a:pt x="13" y="71"/>
                    </a:cubicBezTo>
                    <a:cubicBezTo>
                      <a:pt x="13" y="67"/>
                      <a:pt x="13" y="63"/>
                      <a:pt x="13" y="60"/>
                    </a:cubicBezTo>
                    <a:cubicBezTo>
                      <a:pt x="16" y="60"/>
                      <a:pt x="20" y="58"/>
                      <a:pt x="16" y="58"/>
                    </a:cubicBezTo>
                    <a:cubicBezTo>
                      <a:pt x="18" y="52"/>
                      <a:pt x="21" y="60"/>
                      <a:pt x="24" y="58"/>
                    </a:cubicBezTo>
                    <a:cubicBezTo>
                      <a:pt x="28" y="58"/>
                      <a:pt x="21" y="50"/>
                      <a:pt x="26" y="47"/>
                    </a:cubicBezTo>
                    <a:cubicBezTo>
                      <a:pt x="25" y="43"/>
                      <a:pt x="19" y="45"/>
                      <a:pt x="20" y="39"/>
                    </a:cubicBezTo>
                    <a:cubicBezTo>
                      <a:pt x="19" y="41"/>
                      <a:pt x="16" y="41"/>
                      <a:pt x="13" y="41"/>
                    </a:cubicBezTo>
                    <a:cubicBezTo>
                      <a:pt x="13" y="38"/>
                      <a:pt x="13" y="35"/>
                      <a:pt x="13" y="32"/>
                    </a:cubicBezTo>
                    <a:cubicBezTo>
                      <a:pt x="13" y="28"/>
                      <a:pt x="6" y="31"/>
                      <a:pt x="5" y="28"/>
                    </a:cubicBezTo>
                    <a:cubicBezTo>
                      <a:pt x="9" y="21"/>
                      <a:pt x="8" y="10"/>
                      <a:pt x="0" y="9"/>
                    </a:cubicBezTo>
                    <a:cubicBezTo>
                      <a:pt x="3" y="6"/>
                      <a:pt x="8" y="5"/>
                      <a:pt x="9" y="0"/>
                    </a:cubicBezTo>
                    <a:cubicBezTo>
                      <a:pt x="15" y="0"/>
                      <a:pt x="20" y="0"/>
                      <a:pt x="26" y="0"/>
                    </a:cubicBezTo>
                    <a:cubicBezTo>
                      <a:pt x="22" y="3"/>
                      <a:pt x="19" y="6"/>
                      <a:pt x="16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19" name="任意多边形: 形状 118">
                <a:extLst>
                  <a:ext uri="{FF2B5EF4-FFF2-40B4-BE49-F238E27FC236}">
                    <a16:creationId xmlns:a16="http://schemas.microsoft.com/office/drawing/2014/main" id="{8E73D03F-3AEF-41A9-B3B8-E2196CEBE362}"/>
                  </a:ext>
                </a:extLst>
              </p:cNvPr>
              <p:cNvSpPr/>
              <p:nvPr/>
            </p:nvSpPr>
            <p:spPr bwMode="auto">
              <a:xfrm>
                <a:off x="3213011" y="1172709"/>
                <a:ext cx="35020" cy="28016"/>
              </a:xfrm>
              <a:custGeom>
                <a:avLst/>
                <a:gdLst>
                  <a:gd name="T0" fmla="*/ 15 w 17"/>
                  <a:gd name="T1" fmla="*/ 2 h 13"/>
                  <a:gd name="T2" fmla="*/ 17 w 17"/>
                  <a:gd name="T3" fmla="*/ 9 h 13"/>
                  <a:gd name="T4" fmla="*/ 8 w 17"/>
                  <a:gd name="T5" fmla="*/ 13 h 13"/>
                  <a:gd name="T6" fmla="*/ 8 w 17"/>
                  <a:gd name="T7" fmla="*/ 9 h 13"/>
                  <a:gd name="T8" fmla="*/ 4 w 17"/>
                  <a:gd name="T9" fmla="*/ 11 h 13"/>
                  <a:gd name="T10" fmla="*/ 6 w 17"/>
                  <a:gd name="T11" fmla="*/ 9 h 13"/>
                  <a:gd name="T12" fmla="*/ 15 w 17"/>
                  <a:gd name="T13" fmla="*/ 2 h 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7" h="13">
                    <a:moveTo>
                      <a:pt x="15" y="2"/>
                    </a:moveTo>
                    <a:cubicBezTo>
                      <a:pt x="13" y="4"/>
                      <a:pt x="14" y="7"/>
                      <a:pt x="17" y="9"/>
                    </a:cubicBezTo>
                    <a:cubicBezTo>
                      <a:pt x="15" y="12"/>
                      <a:pt x="11" y="12"/>
                      <a:pt x="8" y="13"/>
                    </a:cubicBezTo>
                    <a:cubicBezTo>
                      <a:pt x="8" y="12"/>
                      <a:pt x="8" y="10"/>
                      <a:pt x="8" y="9"/>
                    </a:cubicBezTo>
                    <a:cubicBezTo>
                      <a:pt x="6" y="9"/>
                      <a:pt x="6" y="11"/>
                      <a:pt x="4" y="11"/>
                    </a:cubicBezTo>
                    <a:cubicBezTo>
                      <a:pt x="0" y="9"/>
                      <a:pt x="5" y="10"/>
                      <a:pt x="6" y="9"/>
                    </a:cubicBezTo>
                    <a:cubicBezTo>
                      <a:pt x="7" y="8"/>
                      <a:pt x="11" y="0"/>
                      <a:pt x="15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0" name="任意多边形: 形状 119">
                <a:extLst>
                  <a:ext uri="{FF2B5EF4-FFF2-40B4-BE49-F238E27FC236}">
                    <a16:creationId xmlns:a16="http://schemas.microsoft.com/office/drawing/2014/main" id="{DE9B8BA2-143E-4082-BB28-E25F08E83BD5}"/>
                  </a:ext>
                </a:extLst>
              </p:cNvPr>
              <p:cNvSpPr/>
              <p:nvPr/>
            </p:nvSpPr>
            <p:spPr bwMode="auto">
              <a:xfrm>
                <a:off x="7869210" y="1485083"/>
                <a:ext cx="21012" cy="22413"/>
              </a:xfrm>
              <a:custGeom>
                <a:avLst/>
                <a:gdLst>
                  <a:gd name="T0" fmla="*/ 3 w 10"/>
                  <a:gd name="T1" fmla="*/ 3 h 11"/>
                  <a:gd name="T2" fmla="*/ 10 w 10"/>
                  <a:gd name="T3" fmla="*/ 1 h 11"/>
                  <a:gd name="T4" fmla="*/ 1 w 10"/>
                  <a:gd name="T5" fmla="*/ 10 h 11"/>
                  <a:gd name="T6" fmla="*/ 3 w 10"/>
                  <a:gd name="T7" fmla="*/ 3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0" h="11">
                    <a:moveTo>
                      <a:pt x="3" y="3"/>
                    </a:moveTo>
                    <a:cubicBezTo>
                      <a:pt x="4" y="0"/>
                      <a:pt x="5" y="3"/>
                      <a:pt x="10" y="1"/>
                    </a:cubicBezTo>
                    <a:cubicBezTo>
                      <a:pt x="8" y="5"/>
                      <a:pt x="8" y="11"/>
                      <a:pt x="1" y="10"/>
                    </a:cubicBezTo>
                    <a:cubicBezTo>
                      <a:pt x="0" y="8"/>
                      <a:pt x="8" y="4"/>
                      <a:pt x="3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1" name="任意多边形: 形状 120">
                <a:extLst>
                  <a:ext uri="{FF2B5EF4-FFF2-40B4-BE49-F238E27FC236}">
                    <a16:creationId xmlns:a16="http://schemas.microsoft.com/office/drawing/2014/main" id="{4A80331F-76A6-4A73-9E7C-96893F9A6F1D}"/>
                  </a:ext>
                </a:extLst>
              </p:cNvPr>
              <p:cNvSpPr/>
              <p:nvPr/>
            </p:nvSpPr>
            <p:spPr bwMode="auto">
              <a:xfrm>
                <a:off x="7380337" y="2095825"/>
                <a:ext cx="155487" cy="180701"/>
              </a:xfrm>
              <a:custGeom>
                <a:avLst/>
                <a:gdLst>
                  <a:gd name="T0" fmla="*/ 60 w 75"/>
                  <a:gd name="T1" fmla="*/ 5 h 87"/>
                  <a:gd name="T2" fmla="*/ 68 w 75"/>
                  <a:gd name="T3" fmla="*/ 9 h 87"/>
                  <a:gd name="T4" fmla="*/ 75 w 75"/>
                  <a:gd name="T5" fmla="*/ 14 h 87"/>
                  <a:gd name="T6" fmla="*/ 68 w 75"/>
                  <a:gd name="T7" fmla="*/ 24 h 87"/>
                  <a:gd name="T8" fmla="*/ 66 w 75"/>
                  <a:gd name="T9" fmla="*/ 35 h 87"/>
                  <a:gd name="T10" fmla="*/ 70 w 75"/>
                  <a:gd name="T11" fmla="*/ 38 h 87"/>
                  <a:gd name="T12" fmla="*/ 70 w 75"/>
                  <a:gd name="T13" fmla="*/ 44 h 87"/>
                  <a:gd name="T14" fmla="*/ 73 w 75"/>
                  <a:gd name="T15" fmla="*/ 48 h 87"/>
                  <a:gd name="T16" fmla="*/ 64 w 75"/>
                  <a:gd name="T17" fmla="*/ 53 h 87"/>
                  <a:gd name="T18" fmla="*/ 62 w 75"/>
                  <a:gd name="T19" fmla="*/ 63 h 87"/>
                  <a:gd name="T20" fmla="*/ 62 w 75"/>
                  <a:gd name="T21" fmla="*/ 66 h 87"/>
                  <a:gd name="T22" fmla="*/ 59 w 75"/>
                  <a:gd name="T23" fmla="*/ 66 h 87"/>
                  <a:gd name="T24" fmla="*/ 53 w 75"/>
                  <a:gd name="T25" fmla="*/ 74 h 87"/>
                  <a:gd name="T26" fmla="*/ 53 w 75"/>
                  <a:gd name="T27" fmla="*/ 85 h 87"/>
                  <a:gd name="T28" fmla="*/ 34 w 75"/>
                  <a:gd name="T29" fmla="*/ 79 h 87"/>
                  <a:gd name="T30" fmla="*/ 32 w 75"/>
                  <a:gd name="T31" fmla="*/ 83 h 87"/>
                  <a:gd name="T32" fmla="*/ 27 w 75"/>
                  <a:gd name="T33" fmla="*/ 79 h 87"/>
                  <a:gd name="T34" fmla="*/ 18 w 75"/>
                  <a:gd name="T35" fmla="*/ 79 h 87"/>
                  <a:gd name="T36" fmla="*/ 12 w 75"/>
                  <a:gd name="T37" fmla="*/ 78 h 87"/>
                  <a:gd name="T38" fmla="*/ 4 w 75"/>
                  <a:gd name="T39" fmla="*/ 66 h 87"/>
                  <a:gd name="T40" fmla="*/ 6 w 75"/>
                  <a:gd name="T41" fmla="*/ 59 h 87"/>
                  <a:gd name="T42" fmla="*/ 4 w 75"/>
                  <a:gd name="T43" fmla="*/ 59 h 87"/>
                  <a:gd name="T44" fmla="*/ 3 w 75"/>
                  <a:gd name="T45" fmla="*/ 44 h 87"/>
                  <a:gd name="T46" fmla="*/ 21 w 75"/>
                  <a:gd name="T47" fmla="*/ 42 h 87"/>
                  <a:gd name="T48" fmla="*/ 21 w 75"/>
                  <a:gd name="T49" fmla="*/ 37 h 87"/>
                  <a:gd name="T50" fmla="*/ 34 w 75"/>
                  <a:gd name="T51" fmla="*/ 27 h 87"/>
                  <a:gd name="T52" fmla="*/ 46 w 75"/>
                  <a:gd name="T53" fmla="*/ 24 h 87"/>
                  <a:gd name="T54" fmla="*/ 47 w 75"/>
                  <a:gd name="T55" fmla="*/ 18 h 87"/>
                  <a:gd name="T56" fmla="*/ 51 w 75"/>
                  <a:gd name="T57" fmla="*/ 18 h 87"/>
                  <a:gd name="T58" fmla="*/ 55 w 75"/>
                  <a:gd name="T59" fmla="*/ 14 h 87"/>
                  <a:gd name="T60" fmla="*/ 62 w 75"/>
                  <a:gd name="T61" fmla="*/ 5 h 87"/>
                  <a:gd name="T62" fmla="*/ 60 w 75"/>
                  <a:gd name="T63" fmla="*/ 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75" h="87">
                    <a:moveTo>
                      <a:pt x="60" y="5"/>
                    </a:moveTo>
                    <a:cubicBezTo>
                      <a:pt x="62" y="0"/>
                      <a:pt x="65" y="9"/>
                      <a:pt x="68" y="9"/>
                    </a:cubicBezTo>
                    <a:cubicBezTo>
                      <a:pt x="70" y="10"/>
                      <a:pt x="72" y="14"/>
                      <a:pt x="75" y="14"/>
                    </a:cubicBezTo>
                    <a:cubicBezTo>
                      <a:pt x="74" y="19"/>
                      <a:pt x="74" y="24"/>
                      <a:pt x="68" y="24"/>
                    </a:cubicBezTo>
                    <a:cubicBezTo>
                      <a:pt x="67" y="27"/>
                      <a:pt x="70" y="35"/>
                      <a:pt x="66" y="35"/>
                    </a:cubicBezTo>
                    <a:cubicBezTo>
                      <a:pt x="66" y="37"/>
                      <a:pt x="69" y="37"/>
                      <a:pt x="70" y="38"/>
                    </a:cubicBezTo>
                    <a:cubicBezTo>
                      <a:pt x="70" y="40"/>
                      <a:pt x="69" y="43"/>
                      <a:pt x="70" y="44"/>
                    </a:cubicBezTo>
                    <a:cubicBezTo>
                      <a:pt x="71" y="46"/>
                      <a:pt x="73" y="46"/>
                      <a:pt x="73" y="48"/>
                    </a:cubicBezTo>
                    <a:cubicBezTo>
                      <a:pt x="73" y="52"/>
                      <a:pt x="67" y="56"/>
                      <a:pt x="64" y="53"/>
                    </a:cubicBezTo>
                    <a:cubicBezTo>
                      <a:pt x="65" y="58"/>
                      <a:pt x="67" y="59"/>
                      <a:pt x="62" y="63"/>
                    </a:cubicBezTo>
                    <a:cubicBezTo>
                      <a:pt x="62" y="63"/>
                      <a:pt x="63" y="66"/>
                      <a:pt x="62" y="66"/>
                    </a:cubicBezTo>
                    <a:cubicBezTo>
                      <a:pt x="62" y="67"/>
                      <a:pt x="59" y="66"/>
                      <a:pt x="59" y="66"/>
                    </a:cubicBezTo>
                    <a:cubicBezTo>
                      <a:pt x="57" y="69"/>
                      <a:pt x="58" y="76"/>
                      <a:pt x="53" y="74"/>
                    </a:cubicBezTo>
                    <a:cubicBezTo>
                      <a:pt x="56" y="77"/>
                      <a:pt x="51" y="79"/>
                      <a:pt x="53" y="85"/>
                    </a:cubicBezTo>
                    <a:cubicBezTo>
                      <a:pt x="43" y="87"/>
                      <a:pt x="41" y="81"/>
                      <a:pt x="34" y="79"/>
                    </a:cubicBezTo>
                    <a:cubicBezTo>
                      <a:pt x="33" y="79"/>
                      <a:pt x="33" y="82"/>
                      <a:pt x="32" y="83"/>
                    </a:cubicBezTo>
                    <a:cubicBezTo>
                      <a:pt x="29" y="85"/>
                      <a:pt x="28" y="80"/>
                      <a:pt x="27" y="79"/>
                    </a:cubicBezTo>
                    <a:cubicBezTo>
                      <a:pt x="24" y="79"/>
                      <a:pt x="20" y="81"/>
                      <a:pt x="18" y="79"/>
                    </a:cubicBezTo>
                    <a:cubicBezTo>
                      <a:pt x="16" y="79"/>
                      <a:pt x="18" y="74"/>
                      <a:pt x="12" y="78"/>
                    </a:cubicBezTo>
                    <a:cubicBezTo>
                      <a:pt x="10" y="73"/>
                      <a:pt x="10" y="67"/>
                      <a:pt x="4" y="66"/>
                    </a:cubicBezTo>
                    <a:cubicBezTo>
                      <a:pt x="4" y="63"/>
                      <a:pt x="7" y="62"/>
                      <a:pt x="6" y="59"/>
                    </a:cubicBezTo>
                    <a:cubicBezTo>
                      <a:pt x="6" y="56"/>
                      <a:pt x="4" y="59"/>
                      <a:pt x="4" y="59"/>
                    </a:cubicBezTo>
                    <a:cubicBezTo>
                      <a:pt x="0" y="56"/>
                      <a:pt x="4" y="51"/>
                      <a:pt x="3" y="44"/>
                    </a:cubicBezTo>
                    <a:cubicBezTo>
                      <a:pt x="10" y="44"/>
                      <a:pt x="16" y="44"/>
                      <a:pt x="21" y="42"/>
                    </a:cubicBezTo>
                    <a:cubicBezTo>
                      <a:pt x="21" y="39"/>
                      <a:pt x="24" y="37"/>
                      <a:pt x="21" y="37"/>
                    </a:cubicBezTo>
                    <a:cubicBezTo>
                      <a:pt x="23" y="34"/>
                      <a:pt x="38" y="30"/>
                      <a:pt x="34" y="27"/>
                    </a:cubicBezTo>
                    <a:cubicBezTo>
                      <a:pt x="37" y="25"/>
                      <a:pt x="41" y="24"/>
                      <a:pt x="46" y="24"/>
                    </a:cubicBezTo>
                    <a:cubicBezTo>
                      <a:pt x="48" y="24"/>
                      <a:pt x="46" y="20"/>
                      <a:pt x="47" y="18"/>
                    </a:cubicBezTo>
                    <a:cubicBezTo>
                      <a:pt x="48" y="17"/>
                      <a:pt x="51" y="18"/>
                      <a:pt x="51" y="18"/>
                    </a:cubicBezTo>
                    <a:cubicBezTo>
                      <a:pt x="52" y="16"/>
                      <a:pt x="51" y="13"/>
                      <a:pt x="55" y="14"/>
                    </a:cubicBezTo>
                    <a:cubicBezTo>
                      <a:pt x="52" y="6"/>
                      <a:pt x="60" y="8"/>
                      <a:pt x="62" y="5"/>
                    </a:cubicBezTo>
                    <a:cubicBezTo>
                      <a:pt x="62" y="5"/>
                      <a:pt x="61" y="5"/>
                      <a:pt x="60" y="5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2" name="任意多边形: 形状 121">
                <a:extLst>
                  <a:ext uri="{FF2B5EF4-FFF2-40B4-BE49-F238E27FC236}">
                    <a16:creationId xmlns:a16="http://schemas.microsoft.com/office/drawing/2014/main" id="{0880F696-B71E-43E2-9A5E-9A900BF5E6A8}"/>
                  </a:ext>
                </a:extLst>
              </p:cNvPr>
              <p:cNvSpPr/>
              <p:nvPr/>
            </p:nvSpPr>
            <p:spPr bwMode="auto">
              <a:xfrm>
                <a:off x="7540027" y="2224696"/>
                <a:ext cx="71440" cy="81245"/>
              </a:xfrm>
              <a:custGeom>
                <a:avLst/>
                <a:gdLst>
                  <a:gd name="T0" fmla="*/ 30 w 34"/>
                  <a:gd name="T1" fmla="*/ 1 h 39"/>
                  <a:gd name="T2" fmla="*/ 24 w 34"/>
                  <a:gd name="T3" fmla="*/ 8 h 39"/>
                  <a:gd name="T4" fmla="*/ 23 w 34"/>
                  <a:gd name="T5" fmla="*/ 8 h 39"/>
                  <a:gd name="T6" fmla="*/ 24 w 34"/>
                  <a:gd name="T7" fmla="*/ 14 h 39"/>
                  <a:gd name="T8" fmla="*/ 28 w 34"/>
                  <a:gd name="T9" fmla="*/ 17 h 39"/>
                  <a:gd name="T10" fmla="*/ 30 w 34"/>
                  <a:gd name="T11" fmla="*/ 34 h 39"/>
                  <a:gd name="T12" fmla="*/ 23 w 34"/>
                  <a:gd name="T13" fmla="*/ 34 h 39"/>
                  <a:gd name="T14" fmla="*/ 17 w 34"/>
                  <a:gd name="T15" fmla="*/ 16 h 39"/>
                  <a:gd name="T16" fmla="*/ 10 w 34"/>
                  <a:gd name="T17" fmla="*/ 21 h 39"/>
                  <a:gd name="T18" fmla="*/ 10 w 34"/>
                  <a:gd name="T19" fmla="*/ 32 h 39"/>
                  <a:gd name="T20" fmla="*/ 4 w 34"/>
                  <a:gd name="T21" fmla="*/ 38 h 39"/>
                  <a:gd name="T22" fmla="*/ 2 w 34"/>
                  <a:gd name="T23" fmla="*/ 29 h 39"/>
                  <a:gd name="T24" fmla="*/ 4 w 34"/>
                  <a:gd name="T25" fmla="*/ 27 h 39"/>
                  <a:gd name="T26" fmla="*/ 2 w 34"/>
                  <a:gd name="T27" fmla="*/ 25 h 39"/>
                  <a:gd name="T28" fmla="*/ 4 w 34"/>
                  <a:gd name="T29" fmla="*/ 17 h 39"/>
                  <a:gd name="T30" fmla="*/ 0 w 34"/>
                  <a:gd name="T31" fmla="*/ 14 h 39"/>
                  <a:gd name="T32" fmla="*/ 15 w 34"/>
                  <a:gd name="T33" fmla="*/ 1 h 39"/>
                  <a:gd name="T34" fmla="*/ 30 w 34"/>
                  <a:gd name="T35" fmla="*/ 1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34" h="39">
                    <a:moveTo>
                      <a:pt x="30" y="1"/>
                    </a:moveTo>
                    <a:cubicBezTo>
                      <a:pt x="34" y="9"/>
                      <a:pt x="21" y="5"/>
                      <a:pt x="24" y="8"/>
                    </a:cubicBezTo>
                    <a:cubicBezTo>
                      <a:pt x="27" y="11"/>
                      <a:pt x="25" y="9"/>
                      <a:pt x="23" y="8"/>
                    </a:cubicBezTo>
                    <a:cubicBezTo>
                      <a:pt x="23" y="11"/>
                      <a:pt x="23" y="12"/>
                      <a:pt x="24" y="14"/>
                    </a:cubicBezTo>
                    <a:cubicBezTo>
                      <a:pt x="25" y="15"/>
                      <a:pt x="28" y="17"/>
                      <a:pt x="28" y="17"/>
                    </a:cubicBezTo>
                    <a:cubicBezTo>
                      <a:pt x="30" y="22"/>
                      <a:pt x="28" y="28"/>
                      <a:pt x="30" y="34"/>
                    </a:cubicBezTo>
                    <a:cubicBezTo>
                      <a:pt x="28" y="34"/>
                      <a:pt x="25" y="34"/>
                      <a:pt x="23" y="34"/>
                    </a:cubicBezTo>
                    <a:cubicBezTo>
                      <a:pt x="20" y="28"/>
                      <a:pt x="17" y="23"/>
                      <a:pt x="17" y="16"/>
                    </a:cubicBezTo>
                    <a:cubicBezTo>
                      <a:pt x="13" y="16"/>
                      <a:pt x="16" y="23"/>
                      <a:pt x="10" y="21"/>
                    </a:cubicBezTo>
                    <a:cubicBezTo>
                      <a:pt x="10" y="25"/>
                      <a:pt x="10" y="29"/>
                      <a:pt x="10" y="32"/>
                    </a:cubicBezTo>
                    <a:cubicBezTo>
                      <a:pt x="10" y="37"/>
                      <a:pt x="4" y="34"/>
                      <a:pt x="4" y="38"/>
                    </a:cubicBezTo>
                    <a:cubicBezTo>
                      <a:pt x="1" y="39"/>
                      <a:pt x="1" y="32"/>
                      <a:pt x="2" y="29"/>
                    </a:cubicBezTo>
                    <a:cubicBezTo>
                      <a:pt x="2" y="28"/>
                      <a:pt x="4" y="27"/>
                      <a:pt x="4" y="27"/>
                    </a:cubicBezTo>
                    <a:cubicBezTo>
                      <a:pt x="4" y="25"/>
                      <a:pt x="2" y="26"/>
                      <a:pt x="2" y="25"/>
                    </a:cubicBezTo>
                    <a:cubicBezTo>
                      <a:pt x="2" y="24"/>
                      <a:pt x="5" y="20"/>
                      <a:pt x="4" y="17"/>
                    </a:cubicBezTo>
                    <a:cubicBezTo>
                      <a:pt x="5" y="14"/>
                      <a:pt x="2" y="14"/>
                      <a:pt x="0" y="14"/>
                    </a:cubicBezTo>
                    <a:cubicBezTo>
                      <a:pt x="2" y="7"/>
                      <a:pt x="5" y="0"/>
                      <a:pt x="15" y="1"/>
                    </a:cubicBezTo>
                    <a:cubicBezTo>
                      <a:pt x="9" y="7"/>
                      <a:pt x="26" y="1"/>
                      <a:pt x="30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3" name="任意多边形: 形状 122">
                <a:extLst>
                  <a:ext uri="{FF2B5EF4-FFF2-40B4-BE49-F238E27FC236}">
                    <a16:creationId xmlns:a16="http://schemas.microsoft.com/office/drawing/2014/main" id="{71079233-AEA7-4997-BB26-85CE4B5F2B89}"/>
                  </a:ext>
                </a:extLst>
              </p:cNvPr>
              <p:cNvSpPr/>
              <p:nvPr/>
            </p:nvSpPr>
            <p:spPr bwMode="auto">
              <a:xfrm>
                <a:off x="7328508" y="2304541"/>
                <a:ext cx="163892" cy="47627"/>
              </a:xfrm>
              <a:custGeom>
                <a:avLst/>
                <a:gdLst>
                  <a:gd name="T0" fmla="*/ 2 w 79"/>
                  <a:gd name="T1" fmla="*/ 7 h 23"/>
                  <a:gd name="T2" fmla="*/ 9 w 79"/>
                  <a:gd name="T3" fmla="*/ 2 h 23"/>
                  <a:gd name="T4" fmla="*/ 13 w 79"/>
                  <a:gd name="T5" fmla="*/ 6 h 23"/>
                  <a:gd name="T6" fmla="*/ 16 w 79"/>
                  <a:gd name="T7" fmla="*/ 7 h 23"/>
                  <a:gd name="T8" fmla="*/ 35 w 79"/>
                  <a:gd name="T9" fmla="*/ 11 h 23"/>
                  <a:gd name="T10" fmla="*/ 54 w 79"/>
                  <a:gd name="T11" fmla="*/ 9 h 23"/>
                  <a:gd name="T12" fmla="*/ 57 w 79"/>
                  <a:gd name="T13" fmla="*/ 13 h 23"/>
                  <a:gd name="T14" fmla="*/ 63 w 79"/>
                  <a:gd name="T15" fmla="*/ 15 h 23"/>
                  <a:gd name="T16" fmla="*/ 72 w 79"/>
                  <a:gd name="T17" fmla="*/ 15 h 23"/>
                  <a:gd name="T18" fmla="*/ 74 w 79"/>
                  <a:gd name="T19" fmla="*/ 20 h 23"/>
                  <a:gd name="T20" fmla="*/ 71 w 79"/>
                  <a:gd name="T21" fmla="*/ 20 h 23"/>
                  <a:gd name="T22" fmla="*/ 33 w 79"/>
                  <a:gd name="T23" fmla="*/ 15 h 23"/>
                  <a:gd name="T24" fmla="*/ 24 w 79"/>
                  <a:gd name="T25" fmla="*/ 15 h 23"/>
                  <a:gd name="T26" fmla="*/ 11 w 79"/>
                  <a:gd name="T27" fmla="*/ 11 h 23"/>
                  <a:gd name="T28" fmla="*/ 2 w 79"/>
                  <a:gd name="T29" fmla="*/ 7 h 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9" h="23">
                    <a:moveTo>
                      <a:pt x="2" y="7"/>
                    </a:moveTo>
                    <a:cubicBezTo>
                      <a:pt x="0" y="1"/>
                      <a:pt x="8" y="5"/>
                      <a:pt x="9" y="2"/>
                    </a:cubicBezTo>
                    <a:cubicBezTo>
                      <a:pt x="13" y="0"/>
                      <a:pt x="11" y="4"/>
                      <a:pt x="13" y="6"/>
                    </a:cubicBezTo>
                    <a:cubicBezTo>
                      <a:pt x="14" y="6"/>
                      <a:pt x="17" y="5"/>
                      <a:pt x="16" y="7"/>
                    </a:cubicBezTo>
                    <a:cubicBezTo>
                      <a:pt x="25" y="5"/>
                      <a:pt x="28" y="6"/>
                      <a:pt x="35" y="11"/>
                    </a:cubicBezTo>
                    <a:cubicBezTo>
                      <a:pt x="42" y="7"/>
                      <a:pt x="44" y="9"/>
                      <a:pt x="54" y="9"/>
                    </a:cubicBezTo>
                    <a:cubicBezTo>
                      <a:pt x="57" y="9"/>
                      <a:pt x="57" y="11"/>
                      <a:pt x="57" y="13"/>
                    </a:cubicBezTo>
                    <a:cubicBezTo>
                      <a:pt x="60" y="13"/>
                      <a:pt x="63" y="13"/>
                      <a:pt x="63" y="15"/>
                    </a:cubicBezTo>
                    <a:cubicBezTo>
                      <a:pt x="68" y="12"/>
                      <a:pt x="72" y="19"/>
                      <a:pt x="72" y="15"/>
                    </a:cubicBezTo>
                    <a:cubicBezTo>
                      <a:pt x="79" y="15"/>
                      <a:pt x="68" y="21"/>
                      <a:pt x="74" y="20"/>
                    </a:cubicBezTo>
                    <a:cubicBezTo>
                      <a:pt x="73" y="23"/>
                      <a:pt x="73" y="20"/>
                      <a:pt x="71" y="20"/>
                    </a:cubicBezTo>
                    <a:cubicBezTo>
                      <a:pt x="56" y="23"/>
                      <a:pt x="45" y="17"/>
                      <a:pt x="33" y="15"/>
                    </a:cubicBezTo>
                    <a:cubicBezTo>
                      <a:pt x="30" y="14"/>
                      <a:pt x="27" y="15"/>
                      <a:pt x="24" y="15"/>
                    </a:cubicBezTo>
                    <a:cubicBezTo>
                      <a:pt x="19" y="14"/>
                      <a:pt x="15" y="12"/>
                      <a:pt x="11" y="11"/>
                    </a:cubicBezTo>
                    <a:cubicBezTo>
                      <a:pt x="7" y="10"/>
                      <a:pt x="2" y="12"/>
                      <a:pt x="2" y="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4" name="任意多边形: 形状 123">
                <a:extLst>
                  <a:ext uri="{FF2B5EF4-FFF2-40B4-BE49-F238E27FC236}">
                    <a16:creationId xmlns:a16="http://schemas.microsoft.com/office/drawing/2014/main" id="{DE3B0F34-08E2-4F3B-B4A1-435C3DDF59B3}"/>
                  </a:ext>
                </a:extLst>
              </p:cNvPr>
              <p:cNvSpPr/>
              <p:nvPr/>
            </p:nvSpPr>
            <p:spPr bwMode="auto">
              <a:xfrm>
                <a:off x="7547030" y="2360572"/>
                <a:ext cx="25214" cy="9806"/>
              </a:xfrm>
              <a:custGeom>
                <a:avLst/>
                <a:gdLst>
                  <a:gd name="T0" fmla="*/ 5 w 12"/>
                  <a:gd name="T1" fmla="*/ 3 h 5"/>
                  <a:gd name="T2" fmla="*/ 12 w 12"/>
                  <a:gd name="T3" fmla="*/ 5 h 5"/>
                  <a:gd name="T4" fmla="*/ 5 w 12"/>
                  <a:gd name="T5" fmla="*/ 5 h 5"/>
                  <a:gd name="T6" fmla="*/ 3 w 12"/>
                  <a:gd name="T7" fmla="*/ 3 h 5"/>
                  <a:gd name="T8" fmla="*/ 5 w 12"/>
                  <a:gd name="T9" fmla="*/ 3 h 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" h="5">
                    <a:moveTo>
                      <a:pt x="5" y="3"/>
                    </a:moveTo>
                    <a:cubicBezTo>
                      <a:pt x="8" y="3"/>
                      <a:pt x="12" y="2"/>
                      <a:pt x="12" y="5"/>
                    </a:cubicBezTo>
                    <a:cubicBezTo>
                      <a:pt x="10" y="5"/>
                      <a:pt x="7" y="5"/>
                      <a:pt x="5" y="5"/>
                    </a:cubicBezTo>
                    <a:cubicBezTo>
                      <a:pt x="5" y="3"/>
                      <a:pt x="3" y="3"/>
                      <a:pt x="3" y="3"/>
                    </a:cubicBezTo>
                    <a:cubicBezTo>
                      <a:pt x="0" y="0"/>
                      <a:pt x="4" y="1"/>
                      <a:pt x="5" y="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5" name="任意多边形: 形状 124">
                <a:extLst>
                  <a:ext uri="{FF2B5EF4-FFF2-40B4-BE49-F238E27FC236}">
                    <a16:creationId xmlns:a16="http://schemas.microsoft.com/office/drawing/2014/main" id="{4046EC08-B9F6-4EB4-8588-0C5AE39CB2BF}"/>
                  </a:ext>
                </a:extLst>
              </p:cNvPr>
              <p:cNvSpPr/>
              <p:nvPr/>
            </p:nvSpPr>
            <p:spPr bwMode="auto">
              <a:xfrm>
                <a:off x="8288045" y="2892868"/>
                <a:ext cx="120467" cy="121868"/>
              </a:xfrm>
              <a:custGeom>
                <a:avLst/>
                <a:gdLst>
                  <a:gd name="T0" fmla="*/ 1 w 58"/>
                  <a:gd name="T1" fmla="*/ 51 h 59"/>
                  <a:gd name="T2" fmla="*/ 5 w 58"/>
                  <a:gd name="T3" fmla="*/ 43 h 59"/>
                  <a:gd name="T4" fmla="*/ 8 w 58"/>
                  <a:gd name="T5" fmla="*/ 41 h 59"/>
                  <a:gd name="T6" fmla="*/ 8 w 58"/>
                  <a:gd name="T7" fmla="*/ 38 h 59"/>
                  <a:gd name="T8" fmla="*/ 12 w 58"/>
                  <a:gd name="T9" fmla="*/ 38 h 59"/>
                  <a:gd name="T10" fmla="*/ 14 w 58"/>
                  <a:gd name="T11" fmla="*/ 34 h 59"/>
                  <a:gd name="T12" fmla="*/ 21 w 58"/>
                  <a:gd name="T13" fmla="*/ 32 h 59"/>
                  <a:gd name="T14" fmla="*/ 25 w 58"/>
                  <a:gd name="T15" fmla="*/ 28 h 59"/>
                  <a:gd name="T16" fmla="*/ 29 w 58"/>
                  <a:gd name="T17" fmla="*/ 23 h 59"/>
                  <a:gd name="T18" fmla="*/ 33 w 58"/>
                  <a:gd name="T19" fmla="*/ 19 h 59"/>
                  <a:gd name="T20" fmla="*/ 38 w 58"/>
                  <a:gd name="T21" fmla="*/ 21 h 59"/>
                  <a:gd name="T22" fmla="*/ 36 w 58"/>
                  <a:gd name="T23" fmla="*/ 13 h 59"/>
                  <a:gd name="T24" fmla="*/ 44 w 58"/>
                  <a:gd name="T25" fmla="*/ 4 h 59"/>
                  <a:gd name="T26" fmla="*/ 49 w 58"/>
                  <a:gd name="T27" fmla="*/ 0 h 59"/>
                  <a:gd name="T28" fmla="*/ 55 w 58"/>
                  <a:gd name="T29" fmla="*/ 4 h 59"/>
                  <a:gd name="T30" fmla="*/ 57 w 58"/>
                  <a:gd name="T31" fmla="*/ 13 h 59"/>
                  <a:gd name="T32" fmla="*/ 55 w 58"/>
                  <a:gd name="T33" fmla="*/ 19 h 59"/>
                  <a:gd name="T34" fmla="*/ 51 w 58"/>
                  <a:gd name="T35" fmla="*/ 19 h 59"/>
                  <a:gd name="T36" fmla="*/ 49 w 58"/>
                  <a:gd name="T37" fmla="*/ 28 h 59"/>
                  <a:gd name="T38" fmla="*/ 42 w 58"/>
                  <a:gd name="T39" fmla="*/ 30 h 59"/>
                  <a:gd name="T40" fmla="*/ 36 w 58"/>
                  <a:gd name="T41" fmla="*/ 43 h 59"/>
                  <a:gd name="T42" fmla="*/ 33 w 58"/>
                  <a:gd name="T43" fmla="*/ 51 h 59"/>
                  <a:gd name="T44" fmla="*/ 29 w 58"/>
                  <a:gd name="T45" fmla="*/ 54 h 59"/>
                  <a:gd name="T46" fmla="*/ 14 w 58"/>
                  <a:gd name="T47" fmla="*/ 49 h 59"/>
                  <a:gd name="T48" fmla="*/ 7 w 58"/>
                  <a:gd name="T49" fmla="*/ 51 h 59"/>
                  <a:gd name="T50" fmla="*/ 5 w 58"/>
                  <a:gd name="T51" fmla="*/ 47 h 59"/>
                  <a:gd name="T52" fmla="*/ 1 w 58"/>
                  <a:gd name="T53" fmla="*/ 51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58" h="59">
                    <a:moveTo>
                      <a:pt x="1" y="51"/>
                    </a:moveTo>
                    <a:cubicBezTo>
                      <a:pt x="0" y="48"/>
                      <a:pt x="3" y="45"/>
                      <a:pt x="5" y="43"/>
                    </a:cubicBezTo>
                    <a:cubicBezTo>
                      <a:pt x="5" y="43"/>
                      <a:pt x="8" y="42"/>
                      <a:pt x="8" y="41"/>
                    </a:cubicBezTo>
                    <a:cubicBezTo>
                      <a:pt x="9" y="41"/>
                      <a:pt x="8" y="38"/>
                      <a:pt x="8" y="38"/>
                    </a:cubicBezTo>
                    <a:cubicBezTo>
                      <a:pt x="9" y="37"/>
                      <a:pt x="12" y="38"/>
                      <a:pt x="12" y="38"/>
                    </a:cubicBezTo>
                    <a:cubicBezTo>
                      <a:pt x="13" y="37"/>
                      <a:pt x="13" y="34"/>
                      <a:pt x="14" y="34"/>
                    </a:cubicBezTo>
                    <a:cubicBezTo>
                      <a:pt x="16" y="33"/>
                      <a:pt x="20" y="34"/>
                      <a:pt x="21" y="32"/>
                    </a:cubicBezTo>
                    <a:cubicBezTo>
                      <a:pt x="23" y="29"/>
                      <a:pt x="21" y="29"/>
                      <a:pt x="25" y="28"/>
                    </a:cubicBezTo>
                    <a:cubicBezTo>
                      <a:pt x="29" y="28"/>
                      <a:pt x="27" y="25"/>
                      <a:pt x="29" y="23"/>
                    </a:cubicBezTo>
                    <a:cubicBezTo>
                      <a:pt x="29" y="22"/>
                      <a:pt x="35" y="27"/>
                      <a:pt x="33" y="19"/>
                    </a:cubicBezTo>
                    <a:cubicBezTo>
                      <a:pt x="36" y="18"/>
                      <a:pt x="36" y="21"/>
                      <a:pt x="38" y="21"/>
                    </a:cubicBezTo>
                    <a:cubicBezTo>
                      <a:pt x="38" y="17"/>
                      <a:pt x="36" y="17"/>
                      <a:pt x="36" y="13"/>
                    </a:cubicBezTo>
                    <a:cubicBezTo>
                      <a:pt x="43" y="15"/>
                      <a:pt x="42" y="7"/>
                      <a:pt x="44" y="4"/>
                    </a:cubicBezTo>
                    <a:cubicBezTo>
                      <a:pt x="45" y="2"/>
                      <a:pt x="50" y="4"/>
                      <a:pt x="49" y="0"/>
                    </a:cubicBezTo>
                    <a:cubicBezTo>
                      <a:pt x="51" y="1"/>
                      <a:pt x="51" y="5"/>
                      <a:pt x="55" y="4"/>
                    </a:cubicBezTo>
                    <a:cubicBezTo>
                      <a:pt x="53" y="9"/>
                      <a:pt x="58" y="9"/>
                      <a:pt x="57" y="13"/>
                    </a:cubicBezTo>
                    <a:cubicBezTo>
                      <a:pt x="54" y="13"/>
                      <a:pt x="56" y="17"/>
                      <a:pt x="55" y="19"/>
                    </a:cubicBezTo>
                    <a:cubicBezTo>
                      <a:pt x="55" y="19"/>
                      <a:pt x="52" y="18"/>
                      <a:pt x="51" y="19"/>
                    </a:cubicBezTo>
                    <a:cubicBezTo>
                      <a:pt x="50" y="20"/>
                      <a:pt x="50" y="24"/>
                      <a:pt x="49" y="28"/>
                    </a:cubicBezTo>
                    <a:cubicBezTo>
                      <a:pt x="46" y="31"/>
                      <a:pt x="46" y="27"/>
                      <a:pt x="42" y="30"/>
                    </a:cubicBezTo>
                    <a:cubicBezTo>
                      <a:pt x="37" y="33"/>
                      <a:pt x="38" y="39"/>
                      <a:pt x="36" y="43"/>
                    </a:cubicBezTo>
                    <a:cubicBezTo>
                      <a:pt x="36" y="44"/>
                      <a:pt x="31" y="45"/>
                      <a:pt x="33" y="51"/>
                    </a:cubicBezTo>
                    <a:cubicBezTo>
                      <a:pt x="29" y="50"/>
                      <a:pt x="29" y="52"/>
                      <a:pt x="29" y="54"/>
                    </a:cubicBezTo>
                    <a:cubicBezTo>
                      <a:pt x="24" y="49"/>
                      <a:pt x="15" y="59"/>
                      <a:pt x="14" y="49"/>
                    </a:cubicBezTo>
                    <a:cubicBezTo>
                      <a:pt x="13" y="49"/>
                      <a:pt x="9" y="52"/>
                      <a:pt x="7" y="51"/>
                    </a:cubicBezTo>
                    <a:cubicBezTo>
                      <a:pt x="6" y="51"/>
                      <a:pt x="4" y="47"/>
                      <a:pt x="5" y="47"/>
                    </a:cubicBezTo>
                    <a:cubicBezTo>
                      <a:pt x="1" y="47"/>
                      <a:pt x="9" y="54"/>
                      <a:pt x="1" y="5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6" name="任意多边形: 形状 125">
                <a:extLst>
                  <a:ext uri="{FF2B5EF4-FFF2-40B4-BE49-F238E27FC236}">
                    <a16:creationId xmlns:a16="http://schemas.microsoft.com/office/drawing/2014/main" id="{8D8F697D-C278-4A3D-BA74-99B67A8141B2}"/>
                  </a:ext>
                </a:extLst>
              </p:cNvPr>
              <p:cNvSpPr/>
              <p:nvPr/>
            </p:nvSpPr>
            <p:spPr bwMode="auto">
              <a:xfrm>
                <a:off x="4137528" y="505936"/>
                <a:ext cx="169495" cy="126070"/>
              </a:xfrm>
              <a:custGeom>
                <a:avLst/>
                <a:gdLst>
                  <a:gd name="T0" fmla="*/ 22 w 82"/>
                  <a:gd name="T1" fmla="*/ 0 h 61"/>
                  <a:gd name="T2" fmla="*/ 31 w 82"/>
                  <a:gd name="T3" fmla="*/ 8 h 61"/>
                  <a:gd name="T4" fmla="*/ 37 w 82"/>
                  <a:gd name="T5" fmla="*/ 9 h 61"/>
                  <a:gd name="T6" fmla="*/ 41 w 82"/>
                  <a:gd name="T7" fmla="*/ 9 h 61"/>
                  <a:gd name="T8" fmla="*/ 43 w 82"/>
                  <a:gd name="T9" fmla="*/ 11 h 61"/>
                  <a:gd name="T10" fmla="*/ 48 w 82"/>
                  <a:gd name="T11" fmla="*/ 15 h 61"/>
                  <a:gd name="T12" fmla="*/ 54 w 82"/>
                  <a:gd name="T13" fmla="*/ 15 h 61"/>
                  <a:gd name="T14" fmla="*/ 65 w 82"/>
                  <a:gd name="T15" fmla="*/ 19 h 61"/>
                  <a:gd name="T16" fmla="*/ 65 w 82"/>
                  <a:gd name="T17" fmla="*/ 24 h 61"/>
                  <a:gd name="T18" fmla="*/ 71 w 82"/>
                  <a:gd name="T19" fmla="*/ 24 h 61"/>
                  <a:gd name="T20" fmla="*/ 71 w 82"/>
                  <a:gd name="T21" fmla="*/ 28 h 61"/>
                  <a:gd name="T22" fmla="*/ 82 w 82"/>
                  <a:gd name="T23" fmla="*/ 36 h 61"/>
                  <a:gd name="T24" fmla="*/ 80 w 82"/>
                  <a:gd name="T25" fmla="*/ 41 h 61"/>
                  <a:gd name="T26" fmla="*/ 76 w 82"/>
                  <a:gd name="T27" fmla="*/ 39 h 61"/>
                  <a:gd name="T28" fmla="*/ 67 w 82"/>
                  <a:gd name="T29" fmla="*/ 45 h 61"/>
                  <a:gd name="T30" fmla="*/ 65 w 82"/>
                  <a:gd name="T31" fmla="*/ 49 h 61"/>
                  <a:gd name="T32" fmla="*/ 61 w 82"/>
                  <a:gd name="T33" fmla="*/ 52 h 61"/>
                  <a:gd name="T34" fmla="*/ 50 w 82"/>
                  <a:gd name="T35" fmla="*/ 52 h 61"/>
                  <a:gd name="T36" fmla="*/ 50 w 82"/>
                  <a:gd name="T37" fmla="*/ 54 h 61"/>
                  <a:gd name="T38" fmla="*/ 43 w 82"/>
                  <a:gd name="T39" fmla="*/ 56 h 61"/>
                  <a:gd name="T40" fmla="*/ 41 w 82"/>
                  <a:gd name="T41" fmla="*/ 52 h 61"/>
                  <a:gd name="T42" fmla="*/ 30 w 82"/>
                  <a:gd name="T43" fmla="*/ 52 h 61"/>
                  <a:gd name="T44" fmla="*/ 26 w 82"/>
                  <a:gd name="T45" fmla="*/ 49 h 61"/>
                  <a:gd name="T46" fmla="*/ 31 w 82"/>
                  <a:gd name="T47" fmla="*/ 45 h 61"/>
                  <a:gd name="T48" fmla="*/ 22 w 82"/>
                  <a:gd name="T49" fmla="*/ 43 h 61"/>
                  <a:gd name="T50" fmla="*/ 28 w 82"/>
                  <a:gd name="T51" fmla="*/ 39 h 61"/>
                  <a:gd name="T52" fmla="*/ 31 w 82"/>
                  <a:gd name="T53" fmla="*/ 36 h 61"/>
                  <a:gd name="T54" fmla="*/ 37 w 82"/>
                  <a:gd name="T55" fmla="*/ 37 h 61"/>
                  <a:gd name="T56" fmla="*/ 35 w 82"/>
                  <a:gd name="T57" fmla="*/ 32 h 61"/>
                  <a:gd name="T58" fmla="*/ 18 w 82"/>
                  <a:gd name="T59" fmla="*/ 36 h 61"/>
                  <a:gd name="T60" fmla="*/ 13 w 82"/>
                  <a:gd name="T61" fmla="*/ 34 h 61"/>
                  <a:gd name="T62" fmla="*/ 9 w 82"/>
                  <a:gd name="T63" fmla="*/ 30 h 61"/>
                  <a:gd name="T64" fmla="*/ 2 w 82"/>
                  <a:gd name="T65" fmla="*/ 26 h 61"/>
                  <a:gd name="T66" fmla="*/ 0 w 82"/>
                  <a:gd name="T67" fmla="*/ 21 h 61"/>
                  <a:gd name="T68" fmla="*/ 5 w 82"/>
                  <a:gd name="T69" fmla="*/ 17 h 61"/>
                  <a:gd name="T70" fmla="*/ 9 w 82"/>
                  <a:gd name="T71" fmla="*/ 13 h 61"/>
                  <a:gd name="T72" fmla="*/ 11 w 82"/>
                  <a:gd name="T73" fmla="*/ 8 h 61"/>
                  <a:gd name="T74" fmla="*/ 15 w 82"/>
                  <a:gd name="T75" fmla="*/ 8 h 61"/>
                  <a:gd name="T76" fmla="*/ 18 w 82"/>
                  <a:gd name="T77" fmla="*/ 4 h 61"/>
                  <a:gd name="T78" fmla="*/ 22 w 82"/>
                  <a:gd name="T79" fmla="*/ 0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82" h="61">
                    <a:moveTo>
                      <a:pt x="22" y="0"/>
                    </a:moveTo>
                    <a:cubicBezTo>
                      <a:pt x="25" y="3"/>
                      <a:pt x="30" y="3"/>
                      <a:pt x="31" y="8"/>
                    </a:cubicBezTo>
                    <a:cubicBezTo>
                      <a:pt x="35" y="6"/>
                      <a:pt x="36" y="9"/>
                      <a:pt x="37" y="9"/>
                    </a:cubicBezTo>
                    <a:cubicBezTo>
                      <a:pt x="38" y="10"/>
                      <a:pt x="40" y="9"/>
                      <a:pt x="41" y="9"/>
                    </a:cubicBezTo>
                    <a:cubicBezTo>
                      <a:pt x="41" y="10"/>
                      <a:pt x="41" y="13"/>
                      <a:pt x="43" y="11"/>
                    </a:cubicBezTo>
                    <a:cubicBezTo>
                      <a:pt x="46" y="8"/>
                      <a:pt x="45" y="13"/>
                      <a:pt x="48" y="15"/>
                    </a:cubicBezTo>
                    <a:cubicBezTo>
                      <a:pt x="49" y="16"/>
                      <a:pt x="52" y="14"/>
                      <a:pt x="54" y="15"/>
                    </a:cubicBezTo>
                    <a:cubicBezTo>
                      <a:pt x="55" y="16"/>
                      <a:pt x="58" y="21"/>
                      <a:pt x="65" y="19"/>
                    </a:cubicBezTo>
                    <a:cubicBezTo>
                      <a:pt x="65" y="21"/>
                      <a:pt x="65" y="22"/>
                      <a:pt x="65" y="24"/>
                    </a:cubicBezTo>
                    <a:cubicBezTo>
                      <a:pt x="66" y="25"/>
                      <a:pt x="69" y="23"/>
                      <a:pt x="71" y="24"/>
                    </a:cubicBezTo>
                    <a:cubicBezTo>
                      <a:pt x="71" y="25"/>
                      <a:pt x="70" y="28"/>
                      <a:pt x="71" y="28"/>
                    </a:cubicBezTo>
                    <a:cubicBezTo>
                      <a:pt x="73" y="30"/>
                      <a:pt x="78" y="32"/>
                      <a:pt x="82" y="36"/>
                    </a:cubicBezTo>
                    <a:cubicBezTo>
                      <a:pt x="82" y="37"/>
                      <a:pt x="81" y="41"/>
                      <a:pt x="80" y="41"/>
                    </a:cubicBezTo>
                    <a:cubicBezTo>
                      <a:pt x="78" y="42"/>
                      <a:pt x="76" y="39"/>
                      <a:pt x="76" y="39"/>
                    </a:cubicBezTo>
                    <a:cubicBezTo>
                      <a:pt x="73" y="41"/>
                      <a:pt x="71" y="44"/>
                      <a:pt x="67" y="45"/>
                    </a:cubicBezTo>
                    <a:cubicBezTo>
                      <a:pt x="65" y="45"/>
                      <a:pt x="65" y="47"/>
                      <a:pt x="65" y="49"/>
                    </a:cubicBezTo>
                    <a:cubicBezTo>
                      <a:pt x="62" y="48"/>
                      <a:pt x="61" y="50"/>
                      <a:pt x="61" y="52"/>
                    </a:cubicBezTo>
                    <a:cubicBezTo>
                      <a:pt x="55" y="53"/>
                      <a:pt x="54" y="48"/>
                      <a:pt x="50" y="52"/>
                    </a:cubicBezTo>
                    <a:cubicBezTo>
                      <a:pt x="48" y="53"/>
                      <a:pt x="49" y="54"/>
                      <a:pt x="50" y="54"/>
                    </a:cubicBezTo>
                    <a:cubicBezTo>
                      <a:pt x="49" y="61"/>
                      <a:pt x="43" y="49"/>
                      <a:pt x="43" y="56"/>
                    </a:cubicBezTo>
                    <a:cubicBezTo>
                      <a:pt x="41" y="56"/>
                      <a:pt x="41" y="54"/>
                      <a:pt x="41" y="52"/>
                    </a:cubicBezTo>
                    <a:cubicBezTo>
                      <a:pt x="37" y="56"/>
                      <a:pt x="35" y="51"/>
                      <a:pt x="30" y="52"/>
                    </a:cubicBezTo>
                    <a:cubicBezTo>
                      <a:pt x="30" y="49"/>
                      <a:pt x="28" y="49"/>
                      <a:pt x="26" y="49"/>
                    </a:cubicBezTo>
                    <a:cubicBezTo>
                      <a:pt x="26" y="46"/>
                      <a:pt x="31" y="48"/>
                      <a:pt x="31" y="45"/>
                    </a:cubicBezTo>
                    <a:cubicBezTo>
                      <a:pt x="32" y="41"/>
                      <a:pt x="25" y="44"/>
                      <a:pt x="22" y="43"/>
                    </a:cubicBezTo>
                    <a:cubicBezTo>
                      <a:pt x="21" y="38"/>
                      <a:pt x="25" y="40"/>
                      <a:pt x="28" y="39"/>
                    </a:cubicBezTo>
                    <a:cubicBezTo>
                      <a:pt x="28" y="39"/>
                      <a:pt x="31" y="36"/>
                      <a:pt x="31" y="36"/>
                    </a:cubicBezTo>
                    <a:cubicBezTo>
                      <a:pt x="33" y="35"/>
                      <a:pt x="34" y="38"/>
                      <a:pt x="37" y="37"/>
                    </a:cubicBezTo>
                    <a:cubicBezTo>
                      <a:pt x="37" y="34"/>
                      <a:pt x="35" y="34"/>
                      <a:pt x="35" y="32"/>
                    </a:cubicBezTo>
                    <a:cubicBezTo>
                      <a:pt x="33" y="33"/>
                      <a:pt x="22" y="32"/>
                      <a:pt x="18" y="36"/>
                    </a:cubicBezTo>
                    <a:cubicBezTo>
                      <a:pt x="15" y="39"/>
                      <a:pt x="18" y="35"/>
                      <a:pt x="13" y="34"/>
                    </a:cubicBezTo>
                    <a:cubicBezTo>
                      <a:pt x="7" y="32"/>
                      <a:pt x="3" y="35"/>
                      <a:pt x="9" y="30"/>
                    </a:cubicBezTo>
                    <a:cubicBezTo>
                      <a:pt x="9" y="26"/>
                      <a:pt x="3" y="29"/>
                      <a:pt x="2" y="26"/>
                    </a:cubicBezTo>
                    <a:cubicBezTo>
                      <a:pt x="4" y="22"/>
                      <a:pt x="8" y="17"/>
                      <a:pt x="0" y="21"/>
                    </a:cubicBezTo>
                    <a:cubicBezTo>
                      <a:pt x="0" y="18"/>
                      <a:pt x="2" y="17"/>
                      <a:pt x="5" y="17"/>
                    </a:cubicBezTo>
                    <a:cubicBezTo>
                      <a:pt x="7" y="16"/>
                      <a:pt x="7" y="13"/>
                      <a:pt x="9" y="13"/>
                    </a:cubicBezTo>
                    <a:cubicBezTo>
                      <a:pt x="12" y="13"/>
                      <a:pt x="9" y="9"/>
                      <a:pt x="11" y="8"/>
                    </a:cubicBezTo>
                    <a:cubicBezTo>
                      <a:pt x="11" y="7"/>
                      <a:pt x="14" y="8"/>
                      <a:pt x="15" y="8"/>
                    </a:cubicBezTo>
                    <a:cubicBezTo>
                      <a:pt x="17" y="7"/>
                      <a:pt x="16" y="4"/>
                      <a:pt x="18" y="4"/>
                    </a:cubicBezTo>
                    <a:cubicBezTo>
                      <a:pt x="19" y="2"/>
                      <a:pt x="22" y="3"/>
                      <a:pt x="2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7" name="任意多边形: 形状 126">
                <a:extLst>
                  <a:ext uri="{FF2B5EF4-FFF2-40B4-BE49-F238E27FC236}">
                    <a16:creationId xmlns:a16="http://schemas.microsoft.com/office/drawing/2014/main" id="{C253050A-3E81-4BEC-BB28-F5BAE6658627}"/>
                  </a:ext>
                </a:extLst>
              </p:cNvPr>
              <p:cNvSpPr/>
              <p:nvPr/>
            </p:nvSpPr>
            <p:spPr bwMode="auto">
              <a:xfrm>
                <a:off x="5831073" y="552163"/>
                <a:ext cx="225526" cy="113464"/>
              </a:xfrm>
              <a:custGeom>
                <a:avLst/>
                <a:gdLst>
                  <a:gd name="T0" fmla="*/ 37 w 109"/>
                  <a:gd name="T1" fmla="*/ 38 h 55"/>
                  <a:gd name="T2" fmla="*/ 34 w 109"/>
                  <a:gd name="T3" fmla="*/ 40 h 55"/>
                  <a:gd name="T4" fmla="*/ 24 w 109"/>
                  <a:gd name="T5" fmla="*/ 38 h 55"/>
                  <a:gd name="T6" fmla="*/ 30 w 109"/>
                  <a:gd name="T7" fmla="*/ 34 h 55"/>
                  <a:gd name="T8" fmla="*/ 41 w 109"/>
                  <a:gd name="T9" fmla="*/ 27 h 55"/>
                  <a:gd name="T10" fmla="*/ 37 w 109"/>
                  <a:gd name="T11" fmla="*/ 21 h 55"/>
                  <a:gd name="T12" fmla="*/ 28 w 109"/>
                  <a:gd name="T13" fmla="*/ 21 h 55"/>
                  <a:gd name="T14" fmla="*/ 19 w 109"/>
                  <a:gd name="T15" fmla="*/ 28 h 55"/>
                  <a:gd name="T16" fmla="*/ 6 w 109"/>
                  <a:gd name="T17" fmla="*/ 27 h 55"/>
                  <a:gd name="T18" fmla="*/ 8 w 109"/>
                  <a:gd name="T19" fmla="*/ 14 h 55"/>
                  <a:gd name="T20" fmla="*/ 4 w 109"/>
                  <a:gd name="T21" fmla="*/ 15 h 55"/>
                  <a:gd name="T22" fmla="*/ 2 w 109"/>
                  <a:gd name="T23" fmla="*/ 6 h 55"/>
                  <a:gd name="T24" fmla="*/ 6 w 109"/>
                  <a:gd name="T25" fmla="*/ 8 h 55"/>
                  <a:gd name="T26" fmla="*/ 17 w 109"/>
                  <a:gd name="T27" fmla="*/ 4 h 55"/>
                  <a:gd name="T28" fmla="*/ 19 w 109"/>
                  <a:gd name="T29" fmla="*/ 10 h 55"/>
                  <a:gd name="T30" fmla="*/ 34 w 109"/>
                  <a:gd name="T31" fmla="*/ 12 h 55"/>
                  <a:gd name="T32" fmla="*/ 39 w 109"/>
                  <a:gd name="T33" fmla="*/ 4 h 55"/>
                  <a:gd name="T34" fmla="*/ 58 w 109"/>
                  <a:gd name="T35" fmla="*/ 6 h 55"/>
                  <a:gd name="T36" fmla="*/ 60 w 109"/>
                  <a:gd name="T37" fmla="*/ 6 h 55"/>
                  <a:gd name="T38" fmla="*/ 67 w 109"/>
                  <a:gd name="T39" fmla="*/ 12 h 55"/>
                  <a:gd name="T40" fmla="*/ 65 w 109"/>
                  <a:gd name="T41" fmla="*/ 15 h 55"/>
                  <a:gd name="T42" fmla="*/ 75 w 109"/>
                  <a:gd name="T43" fmla="*/ 14 h 55"/>
                  <a:gd name="T44" fmla="*/ 86 w 109"/>
                  <a:gd name="T45" fmla="*/ 17 h 55"/>
                  <a:gd name="T46" fmla="*/ 88 w 109"/>
                  <a:gd name="T47" fmla="*/ 21 h 55"/>
                  <a:gd name="T48" fmla="*/ 90 w 109"/>
                  <a:gd name="T49" fmla="*/ 23 h 55"/>
                  <a:gd name="T50" fmla="*/ 92 w 109"/>
                  <a:gd name="T51" fmla="*/ 27 h 55"/>
                  <a:gd name="T52" fmla="*/ 95 w 109"/>
                  <a:gd name="T53" fmla="*/ 27 h 55"/>
                  <a:gd name="T54" fmla="*/ 95 w 109"/>
                  <a:gd name="T55" fmla="*/ 30 h 55"/>
                  <a:gd name="T56" fmla="*/ 99 w 109"/>
                  <a:gd name="T57" fmla="*/ 30 h 55"/>
                  <a:gd name="T58" fmla="*/ 101 w 109"/>
                  <a:gd name="T59" fmla="*/ 36 h 55"/>
                  <a:gd name="T60" fmla="*/ 106 w 109"/>
                  <a:gd name="T61" fmla="*/ 36 h 55"/>
                  <a:gd name="T62" fmla="*/ 101 w 109"/>
                  <a:gd name="T63" fmla="*/ 40 h 55"/>
                  <a:gd name="T64" fmla="*/ 101 w 109"/>
                  <a:gd name="T65" fmla="*/ 41 h 55"/>
                  <a:gd name="T66" fmla="*/ 82 w 109"/>
                  <a:gd name="T67" fmla="*/ 41 h 55"/>
                  <a:gd name="T68" fmla="*/ 82 w 109"/>
                  <a:gd name="T69" fmla="*/ 30 h 55"/>
                  <a:gd name="T70" fmla="*/ 64 w 109"/>
                  <a:gd name="T71" fmla="*/ 28 h 55"/>
                  <a:gd name="T72" fmla="*/ 62 w 109"/>
                  <a:gd name="T73" fmla="*/ 34 h 55"/>
                  <a:gd name="T74" fmla="*/ 58 w 109"/>
                  <a:gd name="T75" fmla="*/ 34 h 55"/>
                  <a:gd name="T76" fmla="*/ 54 w 109"/>
                  <a:gd name="T77" fmla="*/ 38 h 55"/>
                  <a:gd name="T78" fmla="*/ 56 w 109"/>
                  <a:gd name="T79" fmla="*/ 40 h 55"/>
                  <a:gd name="T80" fmla="*/ 51 w 109"/>
                  <a:gd name="T81" fmla="*/ 41 h 55"/>
                  <a:gd name="T82" fmla="*/ 51 w 109"/>
                  <a:gd name="T83" fmla="*/ 53 h 55"/>
                  <a:gd name="T84" fmla="*/ 26 w 109"/>
                  <a:gd name="T85" fmla="*/ 45 h 55"/>
                  <a:gd name="T86" fmla="*/ 32 w 109"/>
                  <a:gd name="T87" fmla="*/ 41 h 55"/>
                  <a:gd name="T88" fmla="*/ 39 w 109"/>
                  <a:gd name="T89" fmla="*/ 41 h 55"/>
                  <a:gd name="T90" fmla="*/ 37 w 109"/>
                  <a:gd name="T91" fmla="*/ 38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9" h="55">
                    <a:moveTo>
                      <a:pt x="37" y="38"/>
                    </a:moveTo>
                    <a:cubicBezTo>
                      <a:pt x="37" y="34"/>
                      <a:pt x="34" y="40"/>
                      <a:pt x="34" y="40"/>
                    </a:cubicBezTo>
                    <a:cubicBezTo>
                      <a:pt x="31" y="40"/>
                      <a:pt x="29" y="36"/>
                      <a:pt x="24" y="38"/>
                    </a:cubicBezTo>
                    <a:cubicBezTo>
                      <a:pt x="25" y="34"/>
                      <a:pt x="28" y="35"/>
                      <a:pt x="30" y="34"/>
                    </a:cubicBezTo>
                    <a:cubicBezTo>
                      <a:pt x="34" y="32"/>
                      <a:pt x="36" y="27"/>
                      <a:pt x="41" y="27"/>
                    </a:cubicBezTo>
                    <a:cubicBezTo>
                      <a:pt x="40" y="25"/>
                      <a:pt x="37" y="25"/>
                      <a:pt x="37" y="21"/>
                    </a:cubicBezTo>
                    <a:cubicBezTo>
                      <a:pt x="34" y="20"/>
                      <a:pt x="30" y="26"/>
                      <a:pt x="28" y="21"/>
                    </a:cubicBezTo>
                    <a:cubicBezTo>
                      <a:pt x="25" y="24"/>
                      <a:pt x="23" y="27"/>
                      <a:pt x="19" y="28"/>
                    </a:cubicBezTo>
                    <a:cubicBezTo>
                      <a:pt x="13" y="29"/>
                      <a:pt x="12" y="25"/>
                      <a:pt x="6" y="27"/>
                    </a:cubicBezTo>
                    <a:cubicBezTo>
                      <a:pt x="10" y="23"/>
                      <a:pt x="10" y="19"/>
                      <a:pt x="8" y="14"/>
                    </a:cubicBezTo>
                    <a:cubicBezTo>
                      <a:pt x="5" y="13"/>
                      <a:pt x="4" y="14"/>
                      <a:pt x="4" y="15"/>
                    </a:cubicBezTo>
                    <a:cubicBezTo>
                      <a:pt x="0" y="16"/>
                      <a:pt x="3" y="9"/>
                      <a:pt x="2" y="6"/>
                    </a:cubicBezTo>
                    <a:cubicBezTo>
                      <a:pt x="4" y="6"/>
                      <a:pt x="5" y="6"/>
                      <a:pt x="6" y="8"/>
                    </a:cubicBezTo>
                    <a:cubicBezTo>
                      <a:pt x="7" y="4"/>
                      <a:pt x="16" y="8"/>
                      <a:pt x="17" y="4"/>
                    </a:cubicBezTo>
                    <a:cubicBezTo>
                      <a:pt x="19" y="4"/>
                      <a:pt x="19" y="8"/>
                      <a:pt x="19" y="10"/>
                    </a:cubicBezTo>
                    <a:cubicBezTo>
                      <a:pt x="26" y="11"/>
                      <a:pt x="33" y="0"/>
                      <a:pt x="34" y="12"/>
                    </a:cubicBezTo>
                    <a:cubicBezTo>
                      <a:pt x="39" y="12"/>
                      <a:pt x="40" y="9"/>
                      <a:pt x="39" y="4"/>
                    </a:cubicBezTo>
                    <a:cubicBezTo>
                      <a:pt x="44" y="6"/>
                      <a:pt x="51" y="5"/>
                      <a:pt x="58" y="6"/>
                    </a:cubicBezTo>
                    <a:cubicBezTo>
                      <a:pt x="59" y="6"/>
                      <a:pt x="60" y="9"/>
                      <a:pt x="60" y="6"/>
                    </a:cubicBezTo>
                    <a:cubicBezTo>
                      <a:pt x="63" y="7"/>
                      <a:pt x="60" y="15"/>
                      <a:pt x="67" y="12"/>
                    </a:cubicBezTo>
                    <a:cubicBezTo>
                      <a:pt x="67" y="13"/>
                      <a:pt x="65" y="13"/>
                      <a:pt x="65" y="15"/>
                    </a:cubicBezTo>
                    <a:cubicBezTo>
                      <a:pt x="68" y="14"/>
                      <a:pt x="75" y="18"/>
                      <a:pt x="75" y="14"/>
                    </a:cubicBezTo>
                    <a:cubicBezTo>
                      <a:pt x="76" y="15"/>
                      <a:pt x="78" y="19"/>
                      <a:pt x="86" y="17"/>
                    </a:cubicBezTo>
                    <a:cubicBezTo>
                      <a:pt x="83" y="21"/>
                      <a:pt x="85" y="20"/>
                      <a:pt x="88" y="21"/>
                    </a:cubicBezTo>
                    <a:cubicBezTo>
                      <a:pt x="89" y="21"/>
                      <a:pt x="88" y="23"/>
                      <a:pt x="90" y="23"/>
                    </a:cubicBezTo>
                    <a:cubicBezTo>
                      <a:pt x="92" y="23"/>
                      <a:pt x="90" y="25"/>
                      <a:pt x="92" y="27"/>
                    </a:cubicBezTo>
                    <a:cubicBezTo>
                      <a:pt x="92" y="27"/>
                      <a:pt x="95" y="26"/>
                      <a:pt x="95" y="27"/>
                    </a:cubicBezTo>
                    <a:cubicBezTo>
                      <a:pt x="96" y="27"/>
                      <a:pt x="95" y="30"/>
                      <a:pt x="95" y="30"/>
                    </a:cubicBezTo>
                    <a:cubicBezTo>
                      <a:pt x="96" y="31"/>
                      <a:pt x="99" y="30"/>
                      <a:pt x="99" y="30"/>
                    </a:cubicBezTo>
                    <a:cubicBezTo>
                      <a:pt x="100" y="32"/>
                      <a:pt x="99" y="35"/>
                      <a:pt x="101" y="36"/>
                    </a:cubicBezTo>
                    <a:cubicBezTo>
                      <a:pt x="104" y="36"/>
                      <a:pt x="106" y="33"/>
                      <a:pt x="106" y="36"/>
                    </a:cubicBezTo>
                    <a:cubicBezTo>
                      <a:pt x="109" y="41"/>
                      <a:pt x="102" y="38"/>
                      <a:pt x="101" y="40"/>
                    </a:cubicBezTo>
                    <a:cubicBezTo>
                      <a:pt x="101" y="40"/>
                      <a:pt x="101" y="41"/>
                      <a:pt x="101" y="41"/>
                    </a:cubicBezTo>
                    <a:cubicBezTo>
                      <a:pt x="96" y="43"/>
                      <a:pt x="88" y="40"/>
                      <a:pt x="82" y="41"/>
                    </a:cubicBezTo>
                    <a:cubicBezTo>
                      <a:pt x="80" y="36"/>
                      <a:pt x="82" y="37"/>
                      <a:pt x="82" y="30"/>
                    </a:cubicBezTo>
                    <a:cubicBezTo>
                      <a:pt x="80" y="25"/>
                      <a:pt x="68" y="25"/>
                      <a:pt x="64" y="28"/>
                    </a:cubicBezTo>
                    <a:cubicBezTo>
                      <a:pt x="61" y="28"/>
                      <a:pt x="63" y="32"/>
                      <a:pt x="62" y="34"/>
                    </a:cubicBezTo>
                    <a:cubicBezTo>
                      <a:pt x="61" y="35"/>
                      <a:pt x="58" y="33"/>
                      <a:pt x="58" y="34"/>
                    </a:cubicBezTo>
                    <a:cubicBezTo>
                      <a:pt x="57" y="36"/>
                      <a:pt x="58" y="39"/>
                      <a:pt x="54" y="38"/>
                    </a:cubicBezTo>
                    <a:cubicBezTo>
                      <a:pt x="54" y="39"/>
                      <a:pt x="55" y="40"/>
                      <a:pt x="56" y="40"/>
                    </a:cubicBezTo>
                    <a:cubicBezTo>
                      <a:pt x="56" y="42"/>
                      <a:pt x="53" y="41"/>
                      <a:pt x="51" y="41"/>
                    </a:cubicBezTo>
                    <a:cubicBezTo>
                      <a:pt x="48" y="47"/>
                      <a:pt x="50" y="46"/>
                      <a:pt x="51" y="53"/>
                    </a:cubicBezTo>
                    <a:cubicBezTo>
                      <a:pt x="44" y="54"/>
                      <a:pt x="27" y="55"/>
                      <a:pt x="26" y="45"/>
                    </a:cubicBezTo>
                    <a:cubicBezTo>
                      <a:pt x="30" y="45"/>
                      <a:pt x="31" y="44"/>
                      <a:pt x="32" y="41"/>
                    </a:cubicBezTo>
                    <a:cubicBezTo>
                      <a:pt x="37" y="41"/>
                      <a:pt x="36" y="45"/>
                      <a:pt x="39" y="41"/>
                    </a:cubicBezTo>
                    <a:cubicBezTo>
                      <a:pt x="38" y="40"/>
                      <a:pt x="34" y="39"/>
                      <a:pt x="37" y="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8" name="任意多边形: 形状 127">
                <a:extLst>
                  <a:ext uri="{FF2B5EF4-FFF2-40B4-BE49-F238E27FC236}">
                    <a16:creationId xmlns:a16="http://schemas.microsoft.com/office/drawing/2014/main" id="{C41F42C1-5A88-4F2F-82EC-2B051E5C116C}"/>
                  </a:ext>
                </a:extLst>
              </p:cNvPr>
              <p:cNvSpPr/>
              <p:nvPr/>
            </p:nvSpPr>
            <p:spPr bwMode="auto">
              <a:xfrm>
                <a:off x="3721494" y="640411"/>
                <a:ext cx="105059" cy="56031"/>
              </a:xfrm>
              <a:custGeom>
                <a:avLst/>
                <a:gdLst>
                  <a:gd name="T0" fmla="*/ 51 w 51"/>
                  <a:gd name="T1" fmla="*/ 4 h 27"/>
                  <a:gd name="T2" fmla="*/ 51 w 51"/>
                  <a:gd name="T3" fmla="*/ 10 h 27"/>
                  <a:gd name="T4" fmla="*/ 47 w 51"/>
                  <a:gd name="T5" fmla="*/ 10 h 27"/>
                  <a:gd name="T6" fmla="*/ 47 w 51"/>
                  <a:gd name="T7" fmla="*/ 15 h 27"/>
                  <a:gd name="T8" fmla="*/ 41 w 51"/>
                  <a:gd name="T9" fmla="*/ 19 h 27"/>
                  <a:gd name="T10" fmla="*/ 36 w 51"/>
                  <a:gd name="T11" fmla="*/ 13 h 27"/>
                  <a:gd name="T12" fmla="*/ 30 w 51"/>
                  <a:gd name="T13" fmla="*/ 17 h 27"/>
                  <a:gd name="T14" fmla="*/ 23 w 51"/>
                  <a:gd name="T15" fmla="*/ 25 h 27"/>
                  <a:gd name="T16" fmla="*/ 2 w 51"/>
                  <a:gd name="T17" fmla="*/ 25 h 27"/>
                  <a:gd name="T18" fmla="*/ 0 w 51"/>
                  <a:gd name="T19" fmla="*/ 17 h 27"/>
                  <a:gd name="T20" fmla="*/ 8 w 51"/>
                  <a:gd name="T21" fmla="*/ 19 h 27"/>
                  <a:gd name="T22" fmla="*/ 15 w 51"/>
                  <a:gd name="T23" fmla="*/ 13 h 27"/>
                  <a:gd name="T24" fmla="*/ 19 w 51"/>
                  <a:gd name="T25" fmla="*/ 10 h 27"/>
                  <a:gd name="T26" fmla="*/ 24 w 51"/>
                  <a:gd name="T27" fmla="*/ 8 h 27"/>
                  <a:gd name="T28" fmla="*/ 26 w 51"/>
                  <a:gd name="T29" fmla="*/ 8 h 27"/>
                  <a:gd name="T30" fmla="*/ 30 w 51"/>
                  <a:gd name="T31" fmla="*/ 4 h 27"/>
                  <a:gd name="T32" fmla="*/ 38 w 51"/>
                  <a:gd name="T33" fmla="*/ 4 h 27"/>
                  <a:gd name="T34" fmla="*/ 51 w 51"/>
                  <a:gd name="T35" fmla="*/ 4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1" h="27">
                    <a:moveTo>
                      <a:pt x="51" y="4"/>
                    </a:moveTo>
                    <a:cubicBezTo>
                      <a:pt x="50" y="5"/>
                      <a:pt x="51" y="9"/>
                      <a:pt x="51" y="10"/>
                    </a:cubicBezTo>
                    <a:cubicBezTo>
                      <a:pt x="50" y="10"/>
                      <a:pt x="47" y="9"/>
                      <a:pt x="47" y="10"/>
                    </a:cubicBezTo>
                    <a:cubicBezTo>
                      <a:pt x="47" y="10"/>
                      <a:pt x="49" y="15"/>
                      <a:pt x="47" y="15"/>
                    </a:cubicBezTo>
                    <a:cubicBezTo>
                      <a:pt x="45" y="16"/>
                      <a:pt x="42" y="12"/>
                      <a:pt x="41" y="19"/>
                    </a:cubicBezTo>
                    <a:cubicBezTo>
                      <a:pt x="38" y="19"/>
                      <a:pt x="40" y="13"/>
                      <a:pt x="36" y="13"/>
                    </a:cubicBezTo>
                    <a:cubicBezTo>
                      <a:pt x="32" y="12"/>
                      <a:pt x="33" y="17"/>
                      <a:pt x="30" y="17"/>
                    </a:cubicBezTo>
                    <a:cubicBezTo>
                      <a:pt x="28" y="20"/>
                      <a:pt x="22" y="19"/>
                      <a:pt x="23" y="25"/>
                    </a:cubicBezTo>
                    <a:cubicBezTo>
                      <a:pt x="15" y="27"/>
                      <a:pt x="11" y="25"/>
                      <a:pt x="2" y="25"/>
                    </a:cubicBezTo>
                    <a:cubicBezTo>
                      <a:pt x="2" y="21"/>
                      <a:pt x="0" y="21"/>
                      <a:pt x="0" y="17"/>
                    </a:cubicBezTo>
                    <a:cubicBezTo>
                      <a:pt x="2" y="19"/>
                      <a:pt x="4" y="19"/>
                      <a:pt x="8" y="19"/>
                    </a:cubicBezTo>
                    <a:cubicBezTo>
                      <a:pt x="11" y="19"/>
                      <a:pt x="11" y="14"/>
                      <a:pt x="15" y="13"/>
                    </a:cubicBezTo>
                    <a:cubicBezTo>
                      <a:pt x="16" y="13"/>
                      <a:pt x="18" y="9"/>
                      <a:pt x="19" y="10"/>
                    </a:cubicBezTo>
                    <a:cubicBezTo>
                      <a:pt x="23" y="13"/>
                      <a:pt x="19" y="8"/>
                      <a:pt x="24" y="8"/>
                    </a:cubicBezTo>
                    <a:cubicBezTo>
                      <a:pt x="25" y="8"/>
                      <a:pt x="26" y="8"/>
                      <a:pt x="26" y="8"/>
                    </a:cubicBezTo>
                    <a:cubicBezTo>
                      <a:pt x="27" y="7"/>
                      <a:pt x="30" y="4"/>
                      <a:pt x="30" y="4"/>
                    </a:cubicBezTo>
                    <a:cubicBezTo>
                      <a:pt x="32" y="3"/>
                      <a:pt x="35" y="5"/>
                      <a:pt x="38" y="4"/>
                    </a:cubicBezTo>
                    <a:cubicBezTo>
                      <a:pt x="39" y="4"/>
                      <a:pt x="46" y="0"/>
                      <a:pt x="51" y="4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29" name="任意多边形: 形状 128">
                <a:extLst>
                  <a:ext uri="{FF2B5EF4-FFF2-40B4-BE49-F238E27FC236}">
                    <a16:creationId xmlns:a16="http://schemas.microsoft.com/office/drawing/2014/main" id="{1F9C9CD2-6006-469A-B3E1-3DC58B7A8DF4}"/>
                  </a:ext>
                </a:extLst>
              </p:cNvPr>
              <p:cNvSpPr/>
              <p:nvPr/>
            </p:nvSpPr>
            <p:spPr bwMode="auto">
              <a:xfrm>
                <a:off x="4011456" y="664225"/>
                <a:ext cx="109261" cy="56031"/>
              </a:xfrm>
              <a:custGeom>
                <a:avLst/>
                <a:gdLst>
                  <a:gd name="T0" fmla="*/ 47 w 52"/>
                  <a:gd name="T1" fmla="*/ 2 h 27"/>
                  <a:gd name="T2" fmla="*/ 52 w 52"/>
                  <a:gd name="T3" fmla="*/ 19 h 27"/>
                  <a:gd name="T4" fmla="*/ 49 w 52"/>
                  <a:gd name="T5" fmla="*/ 17 h 27"/>
                  <a:gd name="T6" fmla="*/ 49 w 52"/>
                  <a:gd name="T7" fmla="*/ 23 h 27"/>
                  <a:gd name="T8" fmla="*/ 41 w 52"/>
                  <a:gd name="T9" fmla="*/ 25 h 27"/>
                  <a:gd name="T10" fmla="*/ 39 w 52"/>
                  <a:gd name="T11" fmla="*/ 27 h 27"/>
                  <a:gd name="T12" fmla="*/ 34 w 52"/>
                  <a:gd name="T13" fmla="*/ 27 h 27"/>
                  <a:gd name="T14" fmla="*/ 34 w 52"/>
                  <a:gd name="T15" fmla="*/ 19 h 27"/>
                  <a:gd name="T16" fmla="*/ 15 w 52"/>
                  <a:gd name="T17" fmla="*/ 17 h 27"/>
                  <a:gd name="T18" fmla="*/ 0 w 52"/>
                  <a:gd name="T19" fmla="*/ 8 h 27"/>
                  <a:gd name="T20" fmla="*/ 2 w 52"/>
                  <a:gd name="T21" fmla="*/ 4 h 27"/>
                  <a:gd name="T22" fmla="*/ 6 w 52"/>
                  <a:gd name="T23" fmla="*/ 6 h 27"/>
                  <a:gd name="T24" fmla="*/ 15 w 52"/>
                  <a:gd name="T25" fmla="*/ 10 h 27"/>
                  <a:gd name="T26" fmla="*/ 19 w 52"/>
                  <a:gd name="T27" fmla="*/ 10 h 27"/>
                  <a:gd name="T28" fmla="*/ 21 w 52"/>
                  <a:gd name="T29" fmla="*/ 14 h 27"/>
                  <a:gd name="T30" fmla="*/ 22 w 52"/>
                  <a:gd name="T31" fmla="*/ 6 h 27"/>
                  <a:gd name="T32" fmla="*/ 26 w 52"/>
                  <a:gd name="T33" fmla="*/ 10 h 27"/>
                  <a:gd name="T34" fmla="*/ 47 w 52"/>
                  <a:gd name="T35" fmla="*/ 2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52" h="27">
                    <a:moveTo>
                      <a:pt x="47" y="2"/>
                    </a:moveTo>
                    <a:cubicBezTo>
                      <a:pt x="44" y="12"/>
                      <a:pt x="52" y="12"/>
                      <a:pt x="52" y="19"/>
                    </a:cubicBezTo>
                    <a:cubicBezTo>
                      <a:pt x="51" y="20"/>
                      <a:pt x="49" y="16"/>
                      <a:pt x="49" y="17"/>
                    </a:cubicBezTo>
                    <a:cubicBezTo>
                      <a:pt x="48" y="18"/>
                      <a:pt x="49" y="22"/>
                      <a:pt x="49" y="23"/>
                    </a:cubicBezTo>
                    <a:cubicBezTo>
                      <a:pt x="47" y="24"/>
                      <a:pt x="44" y="24"/>
                      <a:pt x="41" y="25"/>
                    </a:cubicBezTo>
                    <a:cubicBezTo>
                      <a:pt x="40" y="25"/>
                      <a:pt x="41" y="27"/>
                      <a:pt x="39" y="27"/>
                    </a:cubicBezTo>
                    <a:cubicBezTo>
                      <a:pt x="37" y="27"/>
                      <a:pt x="35" y="27"/>
                      <a:pt x="34" y="27"/>
                    </a:cubicBezTo>
                    <a:cubicBezTo>
                      <a:pt x="31" y="24"/>
                      <a:pt x="31" y="22"/>
                      <a:pt x="34" y="19"/>
                    </a:cubicBezTo>
                    <a:cubicBezTo>
                      <a:pt x="27" y="22"/>
                      <a:pt x="23" y="17"/>
                      <a:pt x="15" y="17"/>
                    </a:cubicBezTo>
                    <a:cubicBezTo>
                      <a:pt x="13" y="11"/>
                      <a:pt x="4" y="12"/>
                      <a:pt x="0" y="8"/>
                    </a:cubicBezTo>
                    <a:cubicBezTo>
                      <a:pt x="1" y="8"/>
                      <a:pt x="1" y="4"/>
                      <a:pt x="2" y="4"/>
                    </a:cubicBezTo>
                    <a:cubicBezTo>
                      <a:pt x="5" y="3"/>
                      <a:pt x="5" y="6"/>
                      <a:pt x="6" y="6"/>
                    </a:cubicBezTo>
                    <a:cubicBezTo>
                      <a:pt x="8" y="6"/>
                      <a:pt x="13" y="8"/>
                      <a:pt x="15" y="10"/>
                    </a:cubicBezTo>
                    <a:cubicBezTo>
                      <a:pt x="15" y="10"/>
                      <a:pt x="18" y="9"/>
                      <a:pt x="19" y="10"/>
                    </a:cubicBezTo>
                    <a:cubicBezTo>
                      <a:pt x="20" y="11"/>
                      <a:pt x="18" y="14"/>
                      <a:pt x="21" y="14"/>
                    </a:cubicBezTo>
                    <a:cubicBezTo>
                      <a:pt x="26" y="12"/>
                      <a:pt x="18" y="9"/>
                      <a:pt x="22" y="6"/>
                    </a:cubicBezTo>
                    <a:cubicBezTo>
                      <a:pt x="26" y="4"/>
                      <a:pt x="26" y="10"/>
                      <a:pt x="26" y="10"/>
                    </a:cubicBezTo>
                    <a:cubicBezTo>
                      <a:pt x="33" y="10"/>
                      <a:pt x="36" y="0"/>
                      <a:pt x="47" y="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0" name="任意多边形: 形状 129">
                <a:extLst>
                  <a:ext uri="{FF2B5EF4-FFF2-40B4-BE49-F238E27FC236}">
                    <a16:creationId xmlns:a16="http://schemas.microsoft.com/office/drawing/2014/main" id="{5126D986-EC06-492C-8F95-F0E5DBB90163}"/>
                  </a:ext>
                </a:extLst>
              </p:cNvPr>
              <p:cNvSpPr/>
              <p:nvPr/>
            </p:nvSpPr>
            <p:spPr bwMode="auto">
              <a:xfrm>
                <a:off x="3805541" y="665625"/>
                <a:ext cx="191908" cy="72841"/>
              </a:xfrm>
              <a:custGeom>
                <a:avLst/>
                <a:gdLst>
                  <a:gd name="T0" fmla="*/ 41 w 92"/>
                  <a:gd name="T1" fmla="*/ 13 h 35"/>
                  <a:gd name="T2" fmla="*/ 60 w 92"/>
                  <a:gd name="T3" fmla="*/ 20 h 35"/>
                  <a:gd name="T4" fmla="*/ 60 w 92"/>
                  <a:gd name="T5" fmla="*/ 11 h 35"/>
                  <a:gd name="T6" fmla="*/ 54 w 92"/>
                  <a:gd name="T7" fmla="*/ 3 h 35"/>
                  <a:gd name="T8" fmla="*/ 67 w 92"/>
                  <a:gd name="T9" fmla="*/ 1 h 35"/>
                  <a:gd name="T10" fmla="*/ 71 w 92"/>
                  <a:gd name="T11" fmla="*/ 5 h 35"/>
                  <a:gd name="T12" fmla="*/ 71 w 92"/>
                  <a:gd name="T13" fmla="*/ 9 h 35"/>
                  <a:gd name="T14" fmla="*/ 79 w 92"/>
                  <a:gd name="T15" fmla="*/ 14 h 35"/>
                  <a:gd name="T16" fmla="*/ 84 w 92"/>
                  <a:gd name="T17" fmla="*/ 11 h 35"/>
                  <a:gd name="T18" fmla="*/ 90 w 92"/>
                  <a:gd name="T19" fmla="*/ 14 h 35"/>
                  <a:gd name="T20" fmla="*/ 92 w 92"/>
                  <a:gd name="T21" fmla="*/ 18 h 35"/>
                  <a:gd name="T22" fmla="*/ 90 w 92"/>
                  <a:gd name="T23" fmla="*/ 26 h 35"/>
                  <a:gd name="T24" fmla="*/ 79 w 92"/>
                  <a:gd name="T25" fmla="*/ 27 h 35"/>
                  <a:gd name="T26" fmla="*/ 71 w 92"/>
                  <a:gd name="T27" fmla="*/ 26 h 35"/>
                  <a:gd name="T28" fmla="*/ 54 w 92"/>
                  <a:gd name="T29" fmla="*/ 29 h 35"/>
                  <a:gd name="T30" fmla="*/ 51 w 92"/>
                  <a:gd name="T31" fmla="*/ 29 h 35"/>
                  <a:gd name="T32" fmla="*/ 45 w 92"/>
                  <a:gd name="T33" fmla="*/ 31 h 35"/>
                  <a:gd name="T34" fmla="*/ 26 w 92"/>
                  <a:gd name="T35" fmla="*/ 35 h 35"/>
                  <a:gd name="T36" fmla="*/ 43 w 92"/>
                  <a:gd name="T37" fmla="*/ 29 h 35"/>
                  <a:gd name="T38" fmla="*/ 34 w 92"/>
                  <a:gd name="T39" fmla="*/ 26 h 35"/>
                  <a:gd name="T40" fmla="*/ 26 w 92"/>
                  <a:gd name="T41" fmla="*/ 22 h 35"/>
                  <a:gd name="T42" fmla="*/ 19 w 92"/>
                  <a:gd name="T43" fmla="*/ 26 h 35"/>
                  <a:gd name="T44" fmla="*/ 13 w 92"/>
                  <a:gd name="T45" fmla="*/ 24 h 35"/>
                  <a:gd name="T46" fmla="*/ 0 w 92"/>
                  <a:gd name="T47" fmla="*/ 22 h 35"/>
                  <a:gd name="T48" fmla="*/ 4 w 92"/>
                  <a:gd name="T49" fmla="*/ 18 h 35"/>
                  <a:gd name="T50" fmla="*/ 6 w 92"/>
                  <a:gd name="T51" fmla="*/ 13 h 35"/>
                  <a:gd name="T52" fmla="*/ 13 w 92"/>
                  <a:gd name="T53" fmla="*/ 11 h 35"/>
                  <a:gd name="T54" fmla="*/ 11 w 92"/>
                  <a:gd name="T55" fmla="*/ 7 h 35"/>
                  <a:gd name="T56" fmla="*/ 15 w 92"/>
                  <a:gd name="T57" fmla="*/ 7 h 35"/>
                  <a:gd name="T58" fmla="*/ 21 w 92"/>
                  <a:gd name="T59" fmla="*/ 5 h 35"/>
                  <a:gd name="T60" fmla="*/ 30 w 92"/>
                  <a:gd name="T61" fmla="*/ 7 h 35"/>
                  <a:gd name="T62" fmla="*/ 32 w 92"/>
                  <a:gd name="T63" fmla="*/ 11 h 35"/>
                  <a:gd name="T64" fmla="*/ 36 w 92"/>
                  <a:gd name="T65" fmla="*/ 11 h 35"/>
                  <a:gd name="T66" fmla="*/ 36 w 92"/>
                  <a:gd name="T67" fmla="*/ 16 h 35"/>
                  <a:gd name="T68" fmla="*/ 41 w 92"/>
                  <a:gd name="T69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2" h="35">
                    <a:moveTo>
                      <a:pt x="41" y="13"/>
                    </a:moveTo>
                    <a:cubicBezTo>
                      <a:pt x="39" y="19"/>
                      <a:pt x="56" y="16"/>
                      <a:pt x="60" y="20"/>
                    </a:cubicBezTo>
                    <a:cubicBezTo>
                      <a:pt x="63" y="12"/>
                      <a:pt x="47" y="11"/>
                      <a:pt x="60" y="11"/>
                    </a:cubicBezTo>
                    <a:cubicBezTo>
                      <a:pt x="63" y="4"/>
                      <a:pt x="52" y="10"/>
                      <a:pt x="54" y="3"/>
                    </a:cubicBezTo>
                    <a:cubicBezTo>
                      <a:pt x="60" y="4"/>
                      <a:pt x="61" y="0"/>
                      <a:pt x="67" y="1"/>
                    </a:cubicBezTo>
                    <a:cubicBezTo>
                      <a:pt x="66" y="5"/>
                      <a:pt x="70" y="4"/>
                      <a:pt x="71" y="5"/>
                    </a:cubicBezTo>
                    <a:cubicBezTo>
                      <a:pt x="72" y="6"/>
                      <a:pt x="70" y="8"/>
                      <a:pt x="71" y="9"/>
                    </a:cubicBezTo>
                    <a:cubicBezTo>
                      <a:pt x="73" y="10"/>
                      <a:pt x="76" y="11"/>
                      <a:pt x="79" y="14"/>
                    </a:cubicBezTo>
                    <a:cubicBezTo>
                      <a:pt x="80" y="13"/>
                      <a:pt x="80" y="10"/>
                      <a:pt x="84" y="11"/>
                    </a:cubicBezTo>
                    <a:cubicBezTo>
                      <a:pt x="87" y="11"/>
                      <a:pt x="89" y="13"/>
                      <a:pt x="90" y="14"/>
                    </a:cubicBezTo>
                    <a:cubicBezTo>
                      <a:pt x="90" y="15"/>
                      <a:pt x="92" y="18"/>
                      <a:pt x="92" y="18"/>
                    </a:cubicBezTo>
                    <a:cubicBezTo>
                      <a:pt x="89" y="21"/>
                      <a:pt x="92" y="20"/>
                      <a:pt x="90" y="26"/>
                    </a:cubicBezTo>
                    <a:cubicBezTo>
                      <a:pt x="86" y="21"/>
                      <a:pt x="82" y="27"/>
                      <a:pt x="79" y="27"/>
                    </a:cubicBezTo>
                    <a:cubicBezTo>
                      <a:pt x="75" y="28"/>
                      <a:pt x="75" y="26"/>
                      <a:pt x="71" y="26"/>
                    </a:cubicBezTo>
                    <a:cubicBezTo>
                      <a:pt x="66" y="26"/>
                      <a:pt x="58" y="28"/>
                      <a:pt x="54" y="29"/>
                    </a:cubicBezTo>
                    <a:cubicBezTo>
                      <a:pt x="54" y="30"/>
                      <a:pt x="51" y="29"/>
                      <a:pt x="51" y="29"/>
                    </a:cubicBezTo>
                    <a:cubicBezTo>
                      <a:pt x="49" y="31"/>
                      <a:pt x="48" y="30"/>
                      <a:pt x="45" y="31"/>
                    </a:cubicBezTo>
                    <a:cubicBezTo>
                      <a:pt x="43" y="32"/>
                      <a:pt x="33" y="34"/>
                      <a:pt x="26" y="35"/>
                    </a:cubicBezTo>
                    <a:cubicBezTo>
                      <a:pt x="27" y="28"/>
                      <a:pt x="36" y="30"/>
                      <a:pt x="43" y="29"/>
                    </a:cubicBezTo>
                    <a:cubicBezTo>
                      <a:pt x="44" y="21"/>
                      <a:pt x="37" y="26"/>
                      <a:pt x="34" y="26"/>
                    </a:cubicBezTo>
                    <a:cubicBezTo>
                      <a:pt x="30" y="25"/>
                      <a:pt x="30" y="24"/>
                      <a:pt x="26" y="22"/>
                    </a:cubicBezTo>
                    <a:cubicBezTo>
                      <a:pt x="23" y="21"/>
                      <a:pt x="22" y="25"/>
                      <a:pt x="19" y="26"/>
                    </a:cubicBezTo>
                    <a:cubicBezTo>
                      <a:pt x="16" y="26"/>
                      <a:pt x="16" y="24"/>
                      <a:pt x="13" y="24"/>
                    </a:cubicBezTo>
                    <a:cubicBezTo>
                      <a:pt x="9" y="23"/>
                      <a:pt x="3" y="25"/>
                      <a:pt x="0" y="22"/>
                    </a:cubicBezTo>
                    <a:cubicBezTo>
                      <a:pt x="0" y="20"/>
                      <a:pt x="3" y="19"/>
                      <a:pt x="4" y="18"/>
                    </a:cubicBezTo>
                    <a:cubicBezTo>
                      <a:pt x="4" y="17"/>
                      <a:pt x="5" y="13"/>
                      <a:pt x="6" y="13"/>
                    </a:cubicBezTo>
                    <a:cubicBezTo>
                      <a:pt x="8" y="11"/>
                      <a:pt x="11" y="13"/>
                      <a:pt x="13" y="11"/>
                    </a:cubicBezTo>
                    <a:cubicBezTo>
                      <a:pt x="14" y="10"/>
                      <a:pt x="7" y="8"/>
                      <a:pt x="11" y="7"/>
                    </a:cubicBezTo>
                    <a:cubicBezTo>
                      <a:pt x="13" y="7"/>
                      <a:pt x="14" y="7"/>
                      <a:pt x="15" y="7"/>
                    </a:cubicBezTo>
                    <a:cubicBezTo>
                      <a:pt x="17" y="6"/>
                      <a:pt x="19" y="5"/>
                      <a:pt x="21" y="5"/>
                    </a:cubicBezTo>
                    <a:cubicBezTo>
                      <a:pt x="22" y="5"/>
                      <a:pt x="29" y="6"/>
                      <a:pt x="30" y="7"/>
                    </a:cubicBezTo>
                    <a:cubicBezTo>
                      <a:pt x="31" y="8"/>
                      <a:pt x="30" y="10"/>
                      <a:pt x="32" y="11"/>
                    </a:cubicBezTo>
                    <a:cubicBezTo>
                      <a:pt x="33" y="11"/>
                      <a:pt x="35" y="10"/>
                      <a:pt x="36" y="11"/>
                    </a:cubicBezTo>
                    <a:cubicBezTo>
                      <a:pt x="37" y="12"/>
                      <a:pt x="32" y="17"/>
                      <a:pt x="36" y="16"/>
                    </a:cubicBezTo>
                    <a:cubicBezTo>
                      <a:pt x="37" y="16"/>
                      <a:pt x="38" y="11"/>
                      <a:pt x="41" y="13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1" name="任意多边形: 形状 130">
                <a:extLst>
                  <a:ext uri="{FF2B5EF4-FFF2-40B4-BE49-F238E27FC236}">
                    <a16:creationId xmlns:a16="http://schemas.microsoft.com/office/drawing/2014/main" id="{E6FBEC6F-422C-464C-A1D7-D1D8C14DD379}"/>
                  </a:ext>
                </a:extLst>
              </p:cNvPr>
              <p:cNvSpPr/>
              <p:nvPr/>
            </p:nvSpPr>
            <p:spPr bwMode="auto">
              <a:xfrm>
                <a:off x="3675269" y="741268"/>
                <a:ext cx="151284" cy="100856"/>
              </a:xfrm>
              <a:custGeom>
                <a:avLst/>
                <a:gdLst>
                  <a:gd name="T0" fmla="*/ 9 w 73"/>
                  <a:gd name="T1" fmla="*/ 1 h 49"/>
                  <a:gd name="T2" fmla="*/ 41 w 73"/>
                  <a:gd name="T3" fmla="*/ 3 h 49"/>
                  <a:gd name="T4" fmla="*/ 45 w 73"/>
                  <a:gd name="T5" fmla="*/ 3 h 49"/>
                  <a:gd name="T6" fmla="*/ 52 w 73"/>
                  <a:gd name="T7" fmla="*/ 5 h 49"/>
                  <a:gd name="T8" fmla="*/ 60 w 73"/>
                  <a:gd name="T9" fmla="*/ 5 h 49"/>
                  <a:gd name="T10" fmla="*/ 61 w 73"/>
                  <a:gd name="T11" fmla="*/ 6 h 49"/>
                  <a:gd name="T12" fmla="*/ 73 w 73"/>
                  <a:gd name="T13" fmla="*/ 14 h 49"/>
                  <a:gd name="T14" fmla="*/ 56 w 73"/>
                  <a:gd name="T15" fmla="*/ 18 h 49"/>
                  <a:gd name="T16" fmla="*/ 54 w 73"/>
                  <a:gd name="T17" fmla="*/ 21 h 49"/>
                  <a:gd name="T18" fmla="*/ 50 w 73"/>
                  <a:gd name="T19" fmla="*/ 19 h 49"/>
                  <a:gd name="T20" fmla="*/ 48 w 73"/>
                  <a:gd name="T21" fmla="*/ 21 h 49"/>
                  <a:gd name="T22" fmla="*/ 50 w 73"/>
                  <a:gd name="T23" fmla="*/ 23 h 49"/>
                  <a:gd name="T24" fmla="*/ 46 w 73"/>
                  <a:gd name="T25" fmla="*/ 25 h 49"/>
                  <a:gd name="T26" fmla="*/ 46 w 73"/>
                  <a:gd name="T27" fmla="*/ 29 h 49"/>
                  <a:gd name="T28" fmla="*/ 43 w 73"/>
                  <a:gd name="T29" fmla="*/ 29 h 49"/>
                  <a:gd name="T30" fmla="*/ 39 w 73"/>
                  <a:gd name="T31" fmla="*/ 32 h 49"/>
                  <a:gd name="T32" fmla="*/ 39 w 73"/>
                  <a:gd name="T33" fmla="*/ 40 h 49"/>
                  <a:gd name="T34" fmla="*/ 17 w 73"/>
                  <a:gd name="T35" fmla="*/ 46 h 49"/>
                  <a:gd name="T36" fmla="*/ 0 w 73"/>
                  <a:gd name="T37" fmla="*/ 34 h 49"/>
                  <a:gd name="T38" fmla="*/ 5 w 73"/>
                  <a:gd name="T39" fmla="*/ 31 h 49"/>
                  <a:gd name="T40" fmla="*/ 7 w 73"/>
                  <a:gd name="T41" fmla="*/ 27 h 49"/>
                  <a:gd name="T42" fmla="*/ 5 w 73"/>
                  <a:gd name="T43" fmla="*/ 19 h 49"/>
                  <a:gd name="T44" fmla="*/ 9 w 73"/>
                  <a:gd name="T45" fmla="*/ 18 h 49"/>
                  <a:gd name="T46" fmla="*/ 13 w 73"/>
                  <a:gd name="T47" fmla="*/ 10 h 49"/>
                  <a:gd name="T48" fmla="*/ 9 w 73"/>
                  <a:gd name="T49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73" h="49">
                    <a:moveTo>
                      <a:pt x="9" y="1"/>
                    </a:moveTo>
                    <a:cubicBezTo>
                      <a:pt x="21" y="1"/>
                      <a:pt x="33" y="0"/>
                      <a:pt x="41" y="3"/>
                    </a:cubicBezTo>
                    <a:cubicBezTo>
                      <a:pt x="42" y="3"/>
                      <a:pt x="44" y="2"/>
                      <a:pt x="45" y="3"/>
                    </a:cubicBezTo>
                    <a:cubicBezTo>
                      <a:pt x="46" y="5"/>
                      <a:pt x="50" y="3"/>
                      <a:pt x="52" y="5"/>
                    </a:cubicBezTo>
                    <a:cubicBezTo>
                      <a:pt x="55" y="8"/>
                      <a:pt x="52" y="2"/>
                      <a:pt x="60" y="5"/>
                    </a:cubicBezTo>
                    <a:cubicBezTo>
                      <a:pt x="60" y="5"/>
                      <a:pt x="60" y="6"/>
                      <a:pt x="61" y="6"/>
                    </a:cubicBezTo>
                    <a:cubicBezTo>
                      <a:pt x="63" y="6"/>
                      <a:pt x="73" y="9"/>
                      <a:pt x="73" y="14"/>
                    </a:cubicBezTo>
                    <a:cubicBezTo>
                      <a:pt x="66" y="15"/>
                      <a:pt x="60" y="16"/>
                      <a:pt x="56" y="18"/>
                    </a:cubicBezTo>
                    <a:cubicBezTo>
                      <a:pt x="54" y="18"/>
                      <a:pt x="55" y="21"/>
                      <a:pt x="54" y="21"/>
                    </a:cubicBezTo>
                    <a:cubicBezTo>
                      <a:pt x="53" y="22"/>
                      <a:pt x="51" y="19"/>
                      <a:pt x="50" y="19"/>
                    </a:cubicBezTo>
                    <a:cubicBezTo>
                      <a:pt x="51" y="19"/>
                      <a:pt x="48" y="23"/>
                      <a:pt x="48" y="21"/>
                    </a:cubicBezTo>
                    <a:cubicBezTo>
                      <a:pt x="48" y="22"/>
                      <a:pt x="50" y="24"/>
                      <a:pt x="50" y="23"/>
                    </a:cubicBezTo>
                    <a:cubicBezTo>
                      <a:pt x="49" y="25"/>
                      <a:pt x="47" y="24"/>
                      <a:pt x="46" y="25"/>
                    </a:cubicBezTo>
                    <a:cubicBezTo>
                      <a:pt x="46" y="26"/>
                      <a:pt x="47" y="28"/>
                      <a:pt x="46" y="29"/>
                    </a:cubicBezTo>
                    <a:cubicBezTo>
                      <a:pt x="46" y="29"/>
                      <a:pt x="43" y="28"/>
                      <a:pt x="43" y="29"/>
                    </a:cubicBezTo>
                    <a:cubicBezTo>
                      <a:pt x="42" y="30"/>
                      <a:pt x="41" y="32"/>
                      <a:pt x="39" y="32"/>
                    </a:cubicBezTo>
                    <a:cubicBezTo>
                      <a:pt x="39" y="35"/>
                      <a:pt x="39" y="37"/>
                      <a:pt x="39" y="40"/>
                    </a:cubicBezTo>
                    <a:cubicBezTo>
                      <a:pt x="30" y="40"/>
                      <a:pt x="31" y="49"/>
                      <a:pt x="17" y="46"/>
                    </a:cubicBezTo>
                    <a:cubicBezTo>
                      <a:pt x="18" y="34"/>
                      <a:pt x="7" y="37"/>
                      <a:pt x="0" y="34"/>
                    </a:cubicBezTo>
                    <a:cubicBezTo>
                      <a:pt x="1" y="32"/>
                      <a:pt x="4" y="32"/>
                      <a:pt x="5" y="31"/>
                    </a:cubicBezTo>
                    <a:cubicBezTo>
                      <a:pt x="6" y="30"/>
                      <a:pt x="2" y="25"/>
                      <a:pt x="7" y="27"/>
                    </a:cubicBezTo>
                    <a:cubicBezTo>
                      <a:pt x="8" y="24"/>
                      <a:pt x="5" y="23"/>
                      <a:pt x="5" y="19"/>
                    </a:cubicBezTo>
                    <a:cubicBezTo>
                      <a:pt x="8" y="22"/>
                      <a:pt x="8" y="21"/>
                      <a:pt x="9" y="18"/>
                    </a:cubicBezTo>
                    <a:cubicBezTo>
                      <a:pt x="10" y="15"/>
                      <a:pt x="13" y="16"/>
                      <a:pt x="13" y="10"/>
                    </a:cubicBezTo>
                    <a:cubicBezTo>
                      <a:pt x="14" y="4"/>
                      <a:pt x="7" y="8"/>
                      <a:pt x="9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2" name="任意多边形: 形状 131">
                <a:extLst>
                  <a:ext uri="{FF2B5EF4-FFF2-40B4-BE49-F238E27FC236}">
                    <a16:creationId xmlns:a16="http://schemas.microsoft.com/office/drawing/2014/main" id="{5A6DC6D3-2CDC-4AD6-B229-3B7A1125B147}"/>
                  </a:ext>
                </a:extLst>
              </p:cNvPr>
              <p:cNvSpPr/>
              <p:nvPr/>
            </p:nvSpPr>
            <p:spPr bwMode="auto">
              <a:xfrm>
                <a:off x="3980640" y="760879"/>
                <a:ext cx="30817" cy="23814"/>
              </a:xfrm>
              <a:custGeom>
                <a:avLst/>
                <a:gdLst>
                  <a:gd name="T0" fmla="*/ 2 w 15"/>
                  <a:gd name="T1" fmla="*/ 0 h 11"/>
                  <a:gd name="T2" fmla="*/ 13 w 15"/>
                  <a:gd name="T3" fmla="*/ 0 h 11"/>
                  <a:gd name="T4" fmla="*/ 15 w 15"/>
                  <a:gd name="T5" fmla="*/ 8 h 11"/>
                  <a:gd name="T6" fmla="*/ 11 w 15"/>
                  <a:gd name="T7" fmla="*/ 11 h 11"/>
                  <a:gd name="T8" fmla="*/ 0 w 15"/>
                  <a:gd name="T9" fmla="*/ 6 h 11"/>
                  <a:gd name="T10" fmla="*/ 2 w 15"/>
                  <a:gd name="T11" fmla="*/ 0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5" h="11">
                    <a:moveTo>
                      <a:pt x="2" y="0"/>
                    </a:moveTo>
                    <a:cubicBezTo>
                      <a:pt x="6" y="0"/>
                      <a:pt x="9" y="0"/>
                      <a:pt x="13" y="0"/>
                    </a:cubicBezTo>
                    <a:cubicBezTo>
                      <a:pt x="13" y="3"/>
                      <a:pt x="15" y="4"/>
                      <a:pt x="15" y="8"/>
                    </a:cubicBezTo>
                    <a:cubicBezTo>
                      <a:pt x="12" y="7"/>
                      <a:pt x="11" y="9"/>
                      <a:pt x="11" y="11"/>
                    </a:cubicBezTo>
                    <a:cubicBezTo>
                      <a:pt x="8" y="9"/>
                      <a:pt x="7" y="5"/>
                      <a:pt x="0" y="6"/>
                    </a:cubicBezTo>
                    <a:cubicBezTo>
                      <a:pt x="1" y="4"/>
                      <a:pt x="2" y="3"/>
                      <a:pt x="2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3" name="任意多边形: 形状 132">
                <a:extLst>
                  <a:ext uri="{FF2B5EF4-FFF2-40B4-BE49-F238E27FC236}">
                    <a16:creationId xmlns:a16="http://schemas.microsoft.com/office/drawing/2014/main" id="{C7B14869-F45D-49EB-80A6-19FE6B561DEA}"/>
                  </a:ext>
                </a:extLst>
              </p:cNvPr>
              <p:cNvSpPr/>
              <p:nvPr/>
            </p:nvSpPr>
            <p:spPr bwMode="auto">
              <a:xfrm>
                <a:off x="4148734" y="751074"/>
                <a:ext cx="77043" cy="54631"/>
              </a:xfrm>
              <a:custGeom>
                <a:avLst/>
                <a:gdLst>
                  <a:gd name="T0" fmla="*/ 33 w 37"/>
                  <a:gd name="T1" fmla="*/ 1 h 26"/>
                  <a:gd name="T2" fmla="*/ 35 w 37"/>
                  <a:gd name="T3" fmla="*/ 11 h 26"/>
                  <a:gd name="T4" fmla="*/ 31 w 37"/>
                  <a:gd name="T5" fmla="*/ 14 h 26"/>
                  <a:gd name="T6" fmla="*/ 22 w 37"/>
                  <a:gd name="T7" fmla="*/ 16 h 26"/>
                  <a:gd name="T8" fmla="*/ 7 w 37"/>
                  <a:gd name="T9" fmla="*/ 26 h 26"/>
                  <a:gd name="T10" fmla="*/ 5 w 37"/>
                  <a:gd name="T11" fmla="*/ 18 h 26"/>
                  <a:gd name="T12" fmla="*/ 1 w 37"/>
                  <a:gd name="T13" fmla="*/ 14 h 26"/>
                  <a:gd name="T14" fmla="*/ 1 w 37"/>
                  <a:gd name="T15" fmla="*/ 5 h 26"/>
                  <a:gd name="T16" fmla="*/ 5 w 37"/>
                  <a:gd name="T17" fmla="*/ 1 h 26"/>
                  <a:gd name="T18" fmla="*/ 10 w 37"/>
                  <a:gd name="T19" fmla="*/ 0 h 26"/>
                  <a:gd name="T20" fmla="*/ 25 w 37"/>
                  <a:gd name="T21" fmla="*/ 3 h 26"/>
                  <a:gd name="T22" fmla="*/ 33 w 37"/>
                  <a:gd name="T23" fmla="*/ 1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7" h="26">
                    <a:moveTo>
                      <a:pt x="33" y="1"/>
                    </a:moveTo>
                    <a:cubicBezTo>
                      <a:pt x="37" y="1"/>
                      <a:pt x="34" y="8"/>
                      <a:pt x="35" y="11"/>
                    </a:cubicBezTo>
                    <a:cubicBezTo>
                      <a:pt x="32" y="10"/>
                      <a:pt x="31" y="12"/>
                      <a:pt x="31" y="14"/>
                    </a:cubicBezTo>
                    <a:cubicBezTo>
                      <a:pt x="25" y="11"/>
                      <a:pt x="23" y="21"/>
                      <a:pt x="22" y="16"/>
                    </a:cubicBezTo>
                    <a:cubicBezTo>
                      <a:pt x="17" y="20"/>
                      <a:pt x="14" y="25"/>
                      <a:pt x="7" y="26"/>
                    </a:cubicBezTo>
                    <a:cubicBezTo>
                      <a:pt x="5" y="24"/>
                      <a:pt x="5" y="21"/>
                      <a:pt x="5" y="18"/>
                    </a:cubicBezTo>
                    <a:cubicBezTo>
                      <a:pt x="4" y="16"/>
                      <a:pt x="2" y="17"/>
                      <a:pt x="1" y="14"/>
                    </a:cubicBezTo>
                    <a:cubicBezTo>
                      <a:pt x="0" y="12"/>
                      <a:pt x="2" y="8"/>
                      <a:pt x="1" y="5"/>
                    </a:cubicBezTo>
                    <a:cubicBezTo>
                      <a:pt x="4" y="6"/>
                      <a:pt x="5" y="4"/>
                      <a:pt x="5" y="1"/>
                    </a:cubicBezTo>
                    <a:cubicBezTo>
                      <a:pt x="7" y="2"/>
                      <a:pt x="10" y="2"/>
                      <a:pt x="10" y="0"/>
                    </a:cubicBezTo>
                    <a:cubicBezTo>
                      <a:pt x="13" y="3"/>
                      <a:pt x="23" y="0"/>
                      <a:pt x="25" y="3"/>
                    </a:cubicBezTo>
                    <a:cubicBezTo>
                      <a:pt x="28" y="3"/>
                      <a:pt x="32" y="4"/>
                      <a:pt x="33" y="1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4" name="任意多边形: 形状 133">
                <a:extLst>
                  <a:ext uri="{FF2B5EF4-FFF2-40B4-BE49-F238E27FC236}">
                    <a16:creationId xmlns:a16="http://schemas.microsoft.com/office/drawing/2014/main" id="{29DAC057-AEB6-402D-9E52-B4CBA82986AC}"/>
                  </a:ext>
                </a:extLst>
              </p:cNvPr>
              <p:cNvSpPr/>
              <p:nvPr/>
            </p:nvSpPr>
            <p:spPr bwMode="auto">
              <a:xfrm>
                <a:off x="5279165" y="962591"/>
                <a:ext cx="166694" cy="81245"/>
              </a:xfrm>
              <a:custGeom>
                <a:avLst/>
                <a:gdLst>
                  <a:gd name="T0" fmla="*/ 58 w 80"/>
                  <a:gd name="T1" fmla="*/ 0 h 39"/>
                  <a:gd name="T2" fmla="*/ 66 w 80"/>
                  <a:gd name="T3" fmla="*/ 4 h 39"/>
                  <a:gd name="T4" fmla="*/ 71 w 80"/>
                  <a:gd name="T5" fmla="*/ 6 h 39"/>
                  <a:gd name="T6" fmla="*/ 69 w 80"/>
                  <a:gd name="T7" fmla="*/ 9 h 39"/>
                  <a:gd name="T8" fmla="*/ 79 w 80"/>
                  <a:gd name="T9" fmla="*/ 15 h 39"/>
                  <a:gd name="T10" fmla="*/ 73 w 80"/>
                  <a:gd name="T11" fmla="*/ 26 h 39"/>
                  <a:gd name="T12" fmla="*/ 68 w 80"/>
                  <a:gd name="T13" fmla="*/ 28 h 39"/>
                  <a:gd name="T14" fmla="*/ 60 w 80"/>
                  <a:gd name="T15" fmla="*/ 32 h 39"/>
                  <a:gd name="T16" fmla="*/ 55 w 80"/>
                  <a:gd name="T17" fmla="*/ 34 h 39"/>
                  <a:gd name="T18" fmla="*/ 51 w 80"/>
                  <a:gd name="T19" fmla="*/ 35 h 39"/>
                  <a:gd name="T20" fmla="*/ 28 w 80"/>
                  <a:gd name="T21" fmla="*/ 37 h 39"/>
                  <a:gd name="T22" fmla="*/ 27 w 80"/>
                  <a:gd name="T23" fmla="*/ 35 h 39"/>
                  <a:gd name="T24" fmla="*/ 19 w 80"/>
                  <a:gd name="T25" fmla="*/ 32 h 39"/>
                  <a:gd name="T26" fmla="*/ 15 w 80"/>
                  <a:gd name="T27" fmla="*/ 30 h 39"/>
                  <a:gd name="T28" fmla="*/ 19 w 80"/>
                  <a:gd name="T29" fmla="*/ 28 h 39"/>
                  <a:gd name="T30" fmla="*/ 14 w 80"/>
                  <a:gd name="T31" fmla="*/ 24 h 39"/>
                  <a:gd name="T32" fmla="*/ 14 w 80"/>
                  <a:gd name="T33" fmla="*/ 13 h 39"/>
                  <a:gd name="T34" fmla="*/ 2 w 80"/>
                  <a:gd name="T35" fmla="*/ 15 h 39"/>
                  <a:gd name="T36" fmla="*/ 6 w 80"/>
                  <a:gd name="T37" fmla="*/ 7 h 39"/>
                  <a:gd name="T38" fmla="*/ 21 w 80"/>
                  <a:gd name="T39" fmla="*/ 7 h 39"/>
                  <a:gd name="T40" fmla="*/ 23 w 80"/>
                  <a:gd name="T41" fmla="*/ 15 h 39"/>
                  <a:gd name="T42" fmla="*/ 28 w 80"/>
                  <a:gd name="T43" fmla="*/ 7 h 39"/>
                  <a:gd name="T44" fmla="*/ 40 w 80"/>
                  <a:gd name="T45" fmla="*/ 11 h 39"/>
                  <a:gd name="T46" fmla="*/ 43 w 80"/>
                  <a:gd name="T47" fmla="*/ 7 h 39"/>
                  <a:gd name="T48" fmla="*/ 55 w 80"/>
                  <a:gd name="T49" fmla="*/ 6 h 39"/>
                  <a:gd name="T50" fmla="*/ 58 w 80"/>
                  <a:gd name="T51" fmla="*/ 0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80" h="39">
                    <a:moveTo>
                      <a:pt x="58" y="0"/>
                    </a:moveTo>
                    <a:cubicBezTo>
                      <a:pt x="60" y="1"/>
                      <a:pt x="63" y="2"/>
                      <a:pt x="66" y="4"/>
                    </a:cubicBezTo>
                    <a:cubicBezTo>
                      <a:pt x="66" y="4"/>
                      <a:pt x="71" y="5"/>
                      <a:pt x="71" y="6"/>
                    </a:cubicBezTo>
                    <a:cubicBezTo>
                      <a:pt x="72" y="6"/>
                      <a:pt x="69" y="9"/>
                      <a:pt x="69" y="9"/>
                    </a:cubicBezTo>
                    <a:cubicBezTo>
                      <a:pt x="70" y="13"/>
                      <a:pt x="74" y="16"/>
                      <a:pt x="79" y="15"/>
                    </a:cubicBezTo>
                    <a:cubicBezTo>
                      <a:pt x="80" y="20"/>
                      <a:pt x="78" y="22"/>
                      <a:pt x="73" y="26"/>
                    </a:cubicBezTo>
                    <a:cubicBezTo>
                      <a:pt x="72" y="27"/>
                      <a:pt x="69" y="27"/>
                      <a:pt x="68" y="28"/>
                    </a:cubicBezTo>
                    <a:cubicBezTo>
                      <a:pt x="64" y="30"/>
                      <a:pt x="65" y="30"/>
                      <a:pt x="60" y="32"/>
                    </a:cubicBezTo>
                    <a:cubicBezTo>
                      <a:pt x="60" y="32"/>
                      <a:pt x="55" y="33"/>
                      <a:pt x="55" y="34"/>
                    </a:cubicBezTo>
                    <a:cubicBezTo>
                      <a:pt x="53" y="35"/>
                      <a:pt x="53" y="35"/>
                      <a:pt x="51" y="35"/>
                    </a:cubicBezTo>
                    <a:cubicBezTo>
                      <a:pt x="49" y="36"/>
                      <a:pt x="35" y="39"/>
                      <a:pt x="28" y="37"/>
                    </a:cubicBezTo>
                    <a:cubicBezTo>
                      <a:pt x="28" y="37"/>
                      <a:pt x="28" y="36"/>
                      <a:pt x="27" y="35"/>
                    </a:cubicBezTo>
                    <a:cubicBezTo>
                      <a:pt x="24" y="35"/>
                      <a:pt x="23" y="32"/>
                      <a:pt x="19" y="32"/>
                    </a:cubicBezTo>
                    <a:cubicBezTo>
                      <a:pt x="18" y="32"/>
                      <a:pt x="17" y="30"/>
                      <a:pt x="15" y="30"/>
                    </a:cubicBezTo>
                    <a:cubicBezTo>
                      <a:pt x="15" y="28"/>
                      <a:pt x="18" y="28"/>
                      <a:pt x="19" y="28"/>
                    </a:cubicBezTo>
                    <a:cubicBezTo>
                      <a:pt x="19" y="26"/>
                      <a:pt x="14" y="26"/>
                      <a:pt x="14" y="24"/>
                    </a:cubicBezTo>
                    <a:cubicBezTo>
                      <a:pt x="12" y="21"/>
                      <a:pt x="15" y="18"/>
                      <a:pt x="14" y="13"/>
                    </a:cubicBezTo>
                    <a:cubicBezTo>
                      <a:pt x="6" y="11"/>
                      <a:pt x="7" y="20"/>
                      <a:pt x="2" y="15"/>
                    </a:cubicBezTo>
                    <a:cubicBezTo>
                      <a:pt x="0" y="9"/>
                      <a:pt x="8" y="14"/>
                      <a:pt x="6" y="7"/>
                    </a:cubicBezTo>
                    <a:cubicBezTo>
                      <a:pt x="14" y="9"/>
                      <a:pt x="13" y="8"/>
                      <a:pt x="21" y="7"/>
                    </a:cubicBezTo>
                    <a:cubicBezTo>
                      <a:pt x="22" y="11"/>
                      <a:pt x="27" y="11"/>
                      <a:pt x="23" y="15"/>
                    </a:cubicBezTo>
                    <a:cubicBezTo>
                      <a:pt x="28" y="15"/>
                      <a:pt x="29" y="12"/>
                      <a:pt x="28" y="7"/>
                    </a:cubicBezTo>
                    <a:cubicBezTo>
                      <a:pt x="29" y="11"/>
                      <a:pt x="45" y="3"/>
                      <a:pt x="40" y="11"/>
                    </a:cubicBezTo>
                    <a:cubicBezTo>
                      <a:pt x="44" y="13"/>
                      <a:pt x="42" y="8"/>
                      <a:pt x="43" y="7"/>
                    </a:cubicBezTo>
                    <a:cubicBezTo>
                      <a:pt x="46" y="6"/>
                      <a:pt x="51" y="7"/>
                      <a:pt x="55" y="6"/>
                    </a:cubicBezTo>
                    <a:cubicBezTo>
                      <a:pt x="57" y="5"/>
                      <a:pt x="58" y="3"/>
                      <a:pt x="58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5" name="任意多边形: 形状 134">
                <a:extLst>
                  <a:ext uri="{FF2B5EF4-FFF2-40B4-BE49-F238E27FC236}">
                    <a16:creationId xmlns:a16="http://schemas.microsoft.com/office/drawing/2014/main" id="{3B5DDD8D-0821-45E4-8CEC-999F41640355}"/>
                  </a:ext>
                </a:extLst>
              </p:cNvPr>
              <p:cNvSpPr/>
              <p:nvPr/>
            </p:nvSpPr>
            <p:spPr bwMode="auto">
              <a:xfrm>
                <a:off x="4284609" y="982202"/>
                <a:ext cx="99456" cy="70039"/>
              </a:xfrm>
              <a:custGeom>
                <a:avLst/>
                <a:gdLst>
                  <a:gd name="T0" fmla="*/ 13 w 48"/>
                  <a:gd name="T1" fmla="*/ 0 h 34"/>
                  <a:gd name="T2" fmla="*/ 24 w 48"/>
                  <a:gd name="T3" fmla="*/ 12 h 34"/>
                  <a:gd name="T4" fmla="*/ 27 w 48"/>
                  <a:gd name="T5" fmla="*/ 10 h 34"/>
                  <a:gd name="T6" fmla="*/ 33 w 48"/>
                  <a:gd name="T7" fmla="*/ 15 h 34"/>
                  <a:gd name="T8" fmla="*/ 41 w 48"/>
                  <a:gd name="T9" fmla="*/ 25 h 34"/>
                  <a:gd name="T10" fmla="*/ 48 w 48"/>
                  <a:gd name="T11" fmla="*/ 26 h 34"/>
                  <a:gd name="T12" fmla="*/ 24 w 48"/>
                  <a:gd name="T13" fmla="*/ 28 h 34"/>
                  <a:gd name="T14" fmla="*/ 14 w 48"/>
                  <a:gd name="T15" fmla="*/ 34 h 34"/>
                  <a:gd name="T16" fmla="*/ 0 w 48"/>
                  <a:gd name="T17" fmla="*/ 28 h 34"/>
                  <a:gd name="T18" fmla="*/ 3 w 48"/>
                  <a:gd name="T19" fmla="*/ 26 h 34"/>
                  <a:gd name="T20" fmla="*/ 5 w 48"/>
                  <a:gd name="T21" fmla="*/ 23 h 34"/>
                  <a:gd name="T22" fmla="*/ 5 w 48"/>
                  <a:gd name="T23" fmla="*/ 6 h 34"/>
                  <a:gd name="T24" fmla="*/ 13 w 48"/>
                  <a:gd name="T25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8" h="34">
                    <a:moveTo>
                      <a:pt x="13" y="0"/>
                    </a:moveTo>
                    <a:cubicBezTo>
                      <a:pt x="15" y="5"/>
                      <a:pt x="25" y="3"/>
                      <a:pt x="24" y="12"/>
                    </a:cubicBezTo>
                    <a:cubicBezTo>
                      <a:pt x="25" y="13"/>
                      <a:pt x="28" y="10"/>
                      <a:pt x="27" y="10"/>
                    </a:cubicBezTo>
                    <a:cubicBezTo>
                      <a:pt x="30" y="11"/>
                      <a:pt x="29" y="15"/>
                      <a:pt x="33" y="15"/>
                    </a:cubicBezTo>
                    <a:cubicBezTo>
                      <a:pt x="36" y="15"/>
                      <a:pt x="38" y="22"/>
                      <a:pt x="41" y="25"/>
                    </a:cubicBezTo>
                    <a:cubicBezTo>
                      <a:pt x="46" y="23"/>
                      <a:pt x="44" y="23"/>
                      <a:pt x="48" y="26"/>
                    </a:cubicBezTo>
                    <a:cubicBezTo>
                      <a:pt x="44" y="31"/>
                      <a:pt x="31" y="27"/>
                      <a:pt x="24" y="28"/>
                    </a:cubicBezTo>
                    <a:cubicBezTo>
                      <a:pt x="21" y="30"/>
                      <a:pt x="16" y="31"/>
                      <a:pt x="14" y="34"/>
                    </a:cubicBezTo>
                    <a:cubicBezTo>
                      <a:pt x="10" y="31"/>
                      <a:pt x="8" y="26"/>
                      <a:pt x="0" y="28"/>
                    </a:cubicBezTo>
                    <a:cubicBezTo>
                      <a:pt x="0" y="27"/>
                      <a:pt x="2" y="27"/>
                      <a:pt x="3" y="26"/>
                    </a:cubicBezTo>
                    <a:cubicBezTo>
                      <a:pt x="1" y="24"/>
                      <a:pt x="2" y="23"/>
                      <a:pt x="5" y="23"/>
                    </a:cubicBezTo>
                    <a:cubicBezTo>
                      <a:pt x="2" y="16"/>
                      <a:pt x="5" y="14"/>
                      <a:pt x="5" y="6"/>
                    </a:cubicBezTo>
                    <a:cubicBezTo>
                      <a:pt x="9" y="5"/>
                      <a:pt x="13" y="5"/>
                      <a:pt x="1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6" name="任意多边形: 形状 135">
                <a:extLst>
                  <a:ext uri="{FF2B5EF4-FFF2-40B4-BE49-F238E27FC236}">
                    <a16:creationId xmlns:a16="http://schemas.microsoft.com/office/drawing/2014/main" id="{B69FF380-2835-46DE-93AB-4D1770ECA847}"/>
                  </a:ext>
                </a:extLst>
              </p:cNvPr>
              <p:cNvSpPr/>
              <p:nvPr/>
            </p:nvSpPr>
            <p:spPr bwMode="auto">
              <a:xfrm>
                <a:off x="7168821" y="2123839"/>
                <a:ext cx="165292" cy="177900"/>
              </a:xfrm>
              <a:custGeom>
                <a:avLst/>
                <a:gdLst>
                  <a:gd name="T0" fmla="*/ 8 w 80"/>
                  <a:gd name="T1" fmla="*/ 12 h 86"/>
                  <a:gd name="T2" fmla="*/ 4 w 80"/>
                  <a:gd name="T3" fmla="*/ 11 h 86"/>
                  <a:gd name="T4" fmla="*/ 0 w 80"/>
                  <a:gd name="T5" fmla="*/ 5 h 86"/>
                  <a:gd name="T6" fmla="*/ 15 w 80"/>
                  <a:gd name="T7" fmla="*/ 3 h 86"/>
                  <a:gd name="T8" fmla="*/ 23 w 80"/>
                  <a:gd name="T9" fmla="*/ 7 h 86"/>
                  <a:gd name="T10" fmla="*/ 23 w 80"/>
                  <a:gd name="T11" fmla="*/ 11 h 86"/>
                  <a:gd name="T12" fmla="*/ 26 w 80"/>
                  <a:gd name="T13" fmla="*/ 14 h 86"/>
                  <a:gd name="T14" fmla="*/ 34 w 80"/>
                  <a:gd name="T15" fmla="*/ 18 h 86"/>
                  <a:gd name="T16" fmla="*/ 47 w 80"/>
                  <a:gd name="T17" fmla="*/ 29 h 86"/>
                  <a:gd name="T18" fmla="*/ 51 w 80"/>
                  <a:gd name="T19" fmla="*/ 35 h 86"/>
                  <a:gd name="T20" fmla="*/ 56 w 80"/>
                  <a:gd name="T21" fmla="*/ 37 h 86"/>
                  <a:gd name="T22" fmla="*/ 60 w 80"/>
                  <a:gd name="T23" fmla="*/ 40 h 86"/>
                  <a:gd name="T24" fmla="*/ 60 w 80"/>
                  <a:gd name="T25" fmla="*/ 44 h 86"/>
                  <a:gd name="T26" fmla="*/ 64 w 80"/>
                  <a:gd name="T27" fmla="*/ 48 h 86"/>
                  <a:gd name="T28" fmla="*/ 69 w 80"/>
                  <a:gd name="T29" fmla="*/ 53 h 86"/>
                  <a:gd name="T30" fmla="*/ 73 w 80"/>
                  <a:gd name="T31" fmla="*/ 57 h 86"/>
                  <a:gd name="T32" fmla="*/ 77 w 80"/>
                  <a:gd name="T33" fmla="*/ 66 h 86"/>
                  <a:gd name="T34" fmla="*/ 79 w 80"/>
                  <a:gd name="T35" fmla="*/ 74 h 86"/>
                  <a:gd name="T36" fmla="*/ 80 w 80"/>
                  <a:gd name="T37" fmla="*/ 80 h 86"/>
                  <a:gd name="T38" fmla="*/ 71 w 80"/>
                  <a:gd name="T39" fmla="*/ 81 h 86"/>
                  <a:gd name="T40" fmla="*/ 64 w 80"/>
                  <a:gd name="T41" fmla="*/ 81 h 86"/>
                  <a:gd name="T42" fmla="*/ 64 w 80"/>
                  <a:gd name="T43" fmla="*/ 78 h 86"/>
                  <a:gd name="T44" fmla="*/ 60 w 80"/>
                  <a:gd name="T45" fmla="*/ 78 h 86"/>
                  <a:gd name="T46" fmla="*/ 51 w 80"/>
                  <a:gd name="T47" fmla="*/ 70 h 86"/>
                  <a:gd name="T48" fmla="*/ 52 w 80"/>
                  <a:gd name="T49" fmla="*/ 66 h 86"/>
                  <a:gd name="T50" fmla="*/ 51 w 80"/>
                  <a:gd name="T51" fmla="*/ 66 h 86"/>
                  <a:gd name="T52" fmla="*/ 49 w 80"/>
                  <a:gd name="T53" fmla="*/ 63 h 86"/>
                  <a:gd name="T54" fmla="*/ 45 w 80"/>
                  <a:gd name="T55" fmla="*/ 63 h 86"/>
                  <a:gd name="T56" fmla="*/ 38 w 80"/>
                  <a:gd name="T57" fmla="*/ 55 h 86"/>
                  <a:gd name="T58" fmla="*/ 34 w 80"/>
                  <a:gd name="T59" fmla="*/ 42 h 86"/>
                  <a:gd name="T60" fmla="*/ 32 w 80"/>
                  <a:gd name="T61" fmla="*/ 46 h 86"/>
                  <a:gd name="T62" fmla="*/ 28 w 80"/>
                  <a:gd name="T63" fmla="*/ 37 h 86"/>
                  <a:gd name="T64" fmla="*/ 24 w 80"/>
                  <a:gd name="T65" fmla="*/ 33 h 86"/>
                  <a:gd name="T66" fmla="*/ 21 w 80"/>
                  <a:gd name="T67" fmla="*/ 31 h 86"/>
                  <a:gd name="T68" fmla="*/ 19 w 80"/>
                  <a:gd name="T69" fmla="*/ 24 h 86"/>
                  <a:gd name="T70" fmla="*/ 13 w 80"/>
                  <a:gd name="T71" fmla="*/ 20 h 86"/>
                  <a:gd name="T72" fmla="*/ 10 w 80"/>
                  <a:gd name="T73" fmla="*/ 16 h 86"/>
                  <a:gd name="T74" fmla="*/ 8 w 80"/>
                  <a:gd name="T75" fmla="*/ 1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80" h="86">
                    <a:moveTo>
                      <a:pt x="8" y="12"/>
                    </a:moveTo>
                    <a:cubicBezTo>
                      <a:pt x="8" y="10"/>
                      <a:pt x="5" y="11"/>
                      <a:pt x="4" y="11"/>
                    </a:cubicBezTo>
                    <a:cubicBezTo>
                      <a:pt x="2" y="9"/>
                      <a:pt x="4" y="4"/>
                      <a:pt x="0" y="5"/>
                    </a:cubicBezTo>
                    <a:cubicBezTo>
                      <a:pt x="5" y="0"/>
                      <a:pt x="9" y="6"/>
                      <a:pt x="15" y="3"/>
                    </a:cubicBezTo>
                    <a:cubicBezTo>
                      <a:pt x="15" y="8"/>
                      <a:pt x="20" y="5"/>
                      <a:pt x="23" y="7"/>
                    </a:cubicBezTo>
                    <a:cubicBezTo>
                      <a:pt x="23" y="7"/>
                      <a:pt x="22" y="10"/>
                      <a:pt x="23" y="11"/>
                    </a:cubicBezTo>
                    <a:cubicBezTo>
                      <a:pt x="24" y="12"/>
                      <a:pt x="27" y="10"/>
                      <a:pt x="26" y="14"/>
                    </a:cubicBezTo>
                    <a:cubicBezTo>
                      <a:pt x="31" y="13"/>
                      <a:pt x="30" y="18"/>
                      <a:pt x="34" y="18"/>
                    </a:cubicBezTo>
                    <a:cubicBezTo>
                      <a:pt x="37" y="18"/>
                      <a:pt x="42" y="29"/>
                      <a:pt x="47" y="29"/>
                    </a:cubicBezTo>
                    <a:cubicBezTo>
                      <a:pt x="51" y="29"/>
                      <a:pt x="49" y="33"/>
                      <a:pt x="51" y="35"/>
                    </a:cubicBezTo>
                    <a:cubicBezTo>
                      <a:pt x="52" y="36"/>
                      <a:pt x="55" y="36"/>
                      <a:pt x="56" y="37"/>
                    </a:cubicBezTo>
                    <a:cubicBezTo>
                      <a:pt x="57" y="37"/>
                      <a:pt x="59" y="40"/>
                      <a:pt x="60" y="40"/>
                    </a:cubicBezTo>
                    <a:cubicBezTo>
                      <a:pt x="61" y="41"/>
                      <a:pt x="59" y="43"/>
                      <a:pt x="60" y="44"/>
                    </a:cubicBezTo>
                    <a:cubicBezTo>
                      <a:pt x="61" y="45"/>
                      <a:pt x="63" y="47"/>
                      <a:pt x="64" y="48"/>
                    </a:cubicBezTo>
                    <a:cubicBezTo>
                      <a:pt x="65" y="49"/>
                      <a:pt x="66" y="53"/>
                      <a:pt x="69" y="53"/>
                    </a:cubicBezTo>
                    <a:cubicBezTo>
                      <a:pt x="70" y="53"/>
                      <a:pt x="72" y="57"/>
                      <a:pt x="73" y="57"/>
                    </a:cubicBezTo>
                    <a:cubicBezTo>
                      <a:pt x="75" y="59"/>
                      <a:pt x="74" y="66"/>
                      <a:pt x="77" y="66"/>
                    </a:cubicBezTo>
                    <a:cubicBezTo>
                      <a:pt x="79" y="67"/>
                      <a:pt x="79" y="72"/>
                      <a:pt x="79" y="74"/>
                    </a:cubicBezTo>
                    <a:cubicBezTo>
                      <a:pt x="78" y="77"/>
                      <a:pt x="74" y="80"/>
                      <a:pt x="80" y="80"/>
                    </a:cubicBezTo>
                    <a:cubicBezTo>
                      <a:pt x="80" y="86"/>
                      <a:pt x="74" y="82"/>
                      <a:pt x="71" y="81"/>
                    </a:cubicBezTo>
                    <a:cubicBezTo>
                      <a:pt x="69" y="81"/>
                      <a:pt x="66" y="82"/>
                      <a:pt x="64" y="81"/>
                    </a:cubicBezTo>
                    <a:cubicBezTo>
                      <a:pt x="63" y="81"/>
                      <a:pt x="64" y="78"/>
                      <a:pt x="64" y="78"/>
                    </a:cubicBezTo>
                    <a:cubicBezTo>
                      <a:pt x="63" y="77"/>
                      <a:pt x="61" y="78"/>
                      <a:pt x="60" y="78"/>
                    </a:cubicBezTo>
                    <a:cubicBezTo>
                      <a:pt x="58" y="76"/>
                      <a:pt x="55" y="70"/>
                      <a:pt x="51" y="70"/>
                    </a:cubicBezTo>
                    <a:cubicBezTo>
                      <a:pt x="51" y="69"/>
                      <a:pt x="52" y="68"/>
                      <a:pt x="52" y="66"/>
                    </a:cubicBezTo>
                    <a:cubicBezTo>
                      <a:pt x="52" y="64"/>
                      <a:pt x="51" y="65"/>
                      <a:pt x="51" y="66"/>
                    </a:cubicBezTo>
                    <a:cubicBezTo>
                      <a:pt x="48" y="67"/>
                      <a:pt x="50" y="63"/>
                      <a:pt x="49" y="63"/>
                    </a:cubicBezTo>
                    <a:cubicBezTo>
                      <a:pt x="48" y="62"/>
                      <a:pt x="46" y="63"/>
                      <a:pt x="45" y="63"/>
                    </a:cubicBezTo>
                    <a:cubicBezTo>
                      <a:pt x="43" y="60"/>
                      <a:pt x="43" y="55"/>
                      <a:pt x="38" y="55"/>
                    </a:cubicBezTo>
                    <a:cubicBezTo>
                      <a:pt x="40" y="48"/>
                      <a:pt x="34" y="48"/>
                      <a:pt x="34" y="42"/>
                    </a:cubicBezTo>
                    <a:cubicBezTo>
                      <a:pt x="32" y="42"/>
                      <a:pt x="32" y="44"/>
                      <a:pt x="32" y="46"/>
                    </a:cubicBezTo>
                    <a:cubicBezTo>
                      <a:pt x="29" y="44"/>
                      <a:pt x="30" y="40"/>
                      <a:pt x="28" y="37"/>
                    </a:cubicBezTo>
                    <a:cubicBezTo>
                      <a:pt x="28" y="36"/>
                      <a:pt x="25" y="34"/>
                      <a:pt x="24" y="33"/>
                    </a:cubicBezTo>
                    <a:cubicBezTo>
                      <a:pt x="24" y="32"/>
                      <a:pt x="23" y="31"/>
                      <a:pt x="21" y="31"/>
                    </a:cubicBezTo>
                    <a:cubicBezTo>
                      <a:pt x="22" y="27"/>
                      <a:pt x="20" y="26"/>
                      <a:pt x="19" y="24"/>
                    </a:cubicBezTo>
                    <a:cubicBezTo>
                      <a:pt x="18" y="21"/>
                      <a:pt x="15" y="21"/>
                      <a:pt x="13" y="20"/>
                    </a:cubicBezTo>
                    <a:cubicBezTo>
                      <a:pt x="13" y="20"/>
                      <a:pt x="9" y="16"/>
                      <a:pt x="10" y="16"/>
                    </a:cubicBezTo>
                    <a:cubicBezTo>
                      <a:pt x="8" y="12"/>
                      <a:pt x="14" y="9"/>
                      <a:pt x="8" y="1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7" name="任意多边形: 形状 136">
                <a:extLst>
                  <a:ext uri="{FF2B5EF4-FFF2-40B4-BE49-F238E27FC236}">
                    <a16:creationId xmlns:a16="http://schemas.microsoft.com/office/drawing/2014/main" id="{AB5A2E50-4BB7-4B68-9002-0D02C944277F}"/>
                  </a:ext>
                </a:extLst>
              </p:cNvPr>
              <p:cNvSpPr/>
              <p:nvPr/>
            </p:nvSpPr>
            <p:spPr bwMode="auto">
              <a:xfrm>
                <a:off x="6346564" y="2401194"/>
                <a:ext cx="119068" cy="217122"/>
              </a:xfrm>
              <a:custGeom>
                <a:avLst/>
                <a:gdLst>
                  <a:gd name="T0" fmla="*/ 43 w 57"/>
                  <a:gd name="T1" fmla="*/ 0 h 104"/>
                  <a:gd name="T2" fmla="*/ 50 w 57"/>
                  <a:gd name="T3" fmla="*/ 1 h 104"/>
                  <a:gd name="T4" fmla="*/ 47 w 57"/>
                  <a:gd name="T5" fmla="*/ 35 h 104"/>
                  <a:gd name="T6" fmla="*/ 43 w 57"/>
                  <a:gd name="T7" fmla="*/ 57 h 104"/>
                  <a:gd name="T8" fmla="*/ 37 w 57"/>
                  <a:gd name="T9" fmla="*/ 67 h 104"/>
                  <a:gd name="T10" fmla="*/ 36 w 57"/>
                  <a:gd name="T11" fmla="*/ 78 h 104"/>
                  <a:gd name="T12" fmla="*/ 36 w 57"/>
                  <a:gd name="T13" fmla="*/ 82 h 104"/>
                  <a:gd name="T14" fmla="*/ 32 w 57"/>
                  <a:gd name="T15" fmla="*/ 83 h 104"/>
                  <a:gd name="T16" fmla="*/ 30 w 57"/>
                  <a:gd name="T17" fmla="*/ 95 h 104"/>
                  <a:gd name="T18" fmla="*/ 28 w 57"/>
                  <a:gd name="T19" fmla="*/ 96 h 104"/>
                  <a:gd name="T20" fmla="*/ 26 w 57"/>
                  <a:gd name="T21" fmla="*/ 102 h 104"/>
                  <a:gd name="T22" fmla="*/ 8 w 57"/>
                  <a:gd name="T23" fmla="*/ 104 h 104"/>
                  <a:gd name="T24" fmla="*/ 6 w 57"/>
                  <a:gd name="T25" fmla="*/ 95 h 104"/>
                  <a:gd name="T26" fmla="*/ 4 w 57"/>
                  <a:gd name="T27" fmla="*/ 91 h 104"/>
                  <a:gd name="T28" fmla="*/ 0 w 57"/>
                  <a:gd name="T29" fmla="*/ 89 h 104"/>
                  <a:gd name="T30" fmla="*/ 0 w 57"/>
                  <a:gd name="T31" fmla="*/ 82 h 104"/>
                  <a:gd name="T32" fmla="*/ 2 w 57"/>
                  <a:gd name="T33" fmla="*/ 80 h 104"/>
                  <a:gd name="T34" fmla="*/ 0 w 57"/>
                  <a:gd name="T35" fmla="*/ 78 h 104"/>
                  <a:gd name="T36" fmla="*/ 4 w 57"/>
                  <a:gd name="T37" fmla="*/ 70 h 104"/>
                  <a:gd name="T38" fmla="*/ 4 w 57"/>
                  <a:gd name="T39" fmla="*/ 67 h 104"/>
                  <a:gd name="T40" fmla="*/ 8 w 57"/>
                  <a:gd name="T41" fmla="*/ 65 h 104"/>
                  <a:gd name="T42" fmla="*/ 11 w 57"/>
                  <a:gd name="T43" fmla="*/ 55 h 104"/>
                  <a:gd name="T44" fmla="*/ 8 w 57"/>
                  <a:gd name="T45" fmla="*/ 50 h 104"/>
                  <a:gd name="T46" fmla="*/ 8 w 57"/>
                  <a:gd name="T47" fmla="*/ 39 h 104"/>
                  <a:gd name="T48" fmla="*/ 11 w 57"/>
                  <a:gd name="T49" fmla="*/ 35 h 104"/>
                  <a:gd name="T50" fmla="*/ 17 w 57"/>
                  <a:gd name="T51" fmla="*/ 31 h 104"/>
                  <a:gd name="T52" fmla="*/ 26 w 57"/>
                  <a:gd name="T53" fmla="*/ 24 h 104"/>
                  <a:gd name="T54" fmla="*/ 32 w 57"/>
                  <a:gd name="T55" fmla="*/ 26 h 104"/>
                  <a:gd name="T56" fmla="*/ 34 w 57"/>
                  <a:gd name="T57" fmla="*/ 14 h 104"/>
                  <a:gd name="T58" fmla="*/ 39 w 57"/>
                  <a:gd name="T59" fmla="*/ 13 h 104"/>
                  <a:gd name="T60" fmla="*/ 43 w 57"/>
                  <a:gd name="T6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57" h="104">
                    <a:moveTo>
                      <a:pt x="43" y="0"/>
                    </a:moveTo>
                    <a:cubicBezTo>
                      <a:pt x="45" y="1"/>
                      <a:pt x="47" y="2"/>
                      <a:pt x="50" y="1"/>
                    </a:cubicBezTo>
                    <a:cubicBezTo>
                      <a:pt x="47" y="11"/>
                      <a:pt x="57" y="28"/>
                      <a:pt x="47" y="35"/>
                    </a:cubicBezTo>
                    <a:cubicBezTo>
                      <a:pt x="47" y="43"/>
                      <a:pt x="46" y="50"/>
                      <a:pt x="43" y="57"/>
                    </a:cubicBezTo>
                    <a:cubicBezTo>
                      <a:pt x="42" y="61"/>
                      <a:pt x="41" y="66"/>
                      <a:pt x="37" y="67"/>
                    </a:cubicBezTo>
                    <a:cubicBezTo>
                      <a:pt x="39" y="71"/>
                      <a:pt x="36" y="75"/>
                      <a:pt x="36" y="78"/>
                    </a:cubicBezTo>
                    <a:cubicBezTo>
                      <a:pt x="35" y="79"/>
                      <a:pt x="36" y="81"/>
                      <a:pt x="36" y="82"/>
                    </a:cubicBezTo>
                    <a:cubicBezTo>
                      <a:pt x="35" y="82"/>
                      <a:pt x="32" y="83"/>
                      <a:pt x="32" y="83"/>
                    </a:cubicBezTo>
                    <a:cubicBezTo>
                      <a:pt x="31" y="87"/>
                      <a:pt x="32" y="91"/>
                      <a:pt x="30" y="95"/>
                    </a:cubicBezTo>
                    <a:cubicBezTo>
                      <a:pt x="30" y="95"/>
                      <a:pt x="28" y="95"/>
                      <a:pt x="28" y="96"/>
                    </a:cubicBezTo>
                    <a:cubicBezTo>
                      <a:pt x="28" y="98"/>
                      <a:pt x="25" y="99"/>
                      <a:pt x="26" y="102"/>
                    </a:cubicBezTo>
                    <a:cubicBezTo>
                      <a:pt x="21" y="104"/>
                      <a:pt x="15" y="104"/>
                      <a:pt x="8" y="104"/>
                    </a:cubicBezTo>
                    <a:cubicBezTo>
                      <a:pt x="8" y="99"/>
                      <a:pt x="4" y="100"/>
                      <a:pt x="6" y="95"/>
                    </a:cubicBezTo>
                    <a:cubicBezTo>
                      <a:pt x="4" y="95"/>
                      <a:pt x="4" y="92"/>
                      <a:pt x="4" y="91"/>
                    </a:cubicBezTo>
                    <a:cubicBezTo>
                      <a:pt x="2" y="91"/>
                      <a:pt x="1" y="90"/>
                      <a:pt x="0" y="89"/>
                    </a:cubicBezTo>
                    <a:cubicBezTo>
                      <a:pt x="0" y="87"/>
                      <a:pt x="0" y="84"/>
                      <a:pt x="0" y="82"/>
                    </a:cubicBezTo>
                    <a:cubicBezTo>
                      <a:pt x="0" y="80"/>
                      <a:pt x="2" y="80"/>
                      <a:pt x="2" y="80"/>
                    </a:cubicBezTo>
                    <a:cubicBezTo>
                      <a:pt x="2" y="78"/>
                      <a:pt x="0" y="78"/>
                      <a:pt x="0" y="78"/>
                    </a:cubicBezTo>
                    <a:cubicBezTo>
                      <a:pt x="1" y="75"/>
                      <a:pt x="3" y="72"/>
                      <a:pt x="4" y="70"/>
                    </a:cubicBezTo>
                    <a:cubicBezTo>
                      <a:pt x="4" y="70"/>
                      <a:pt x="3" y="67"/>
                      <a:pt x="4" y="67"/>
                    </a:cubicBezTo>
                    <a:cubicBezTo>
                      <a:pt x="4" y="66"/>
                      <a:pt x="8" y="65"/>
                      <a:pt x="8" y="65"/>
                    </a:cubicBezTo>
                    <a:cubicBezTo>
                      <a:pt x="9" y="62"/>
                      <a:pt x="5" y="49"/>
                      <a:pt x="11" y="55"/>
                    </a:cubicBezTo>
                    <a:cubicBezTo>
                      <a:pt x="12" y="51"/>
                      <a:pt x="8" y="53"/>
                      <a:pt x="8" y="50"/>
                    </a:cubicBezTo>
                    <a:cubicBezTo>
                      <a:pt x="8" y="46"/>
                      <a:pt x="8" y="42"/>
                      <a:pt x="8" y="39"/>
                    </a:cubicBezTo>
                    <a:cubicBezTo>
                      <a:pt x="11" y="39"/>
                      <a:pt x="11" y="37"/>
                      <a:pt x="11" y="35"/>
                    </a:cubicBezTo>
                    <a:cubicBezTo>
                      <a:pt x="15" y="36"/>
                      <a:pt x="15" y="32"/>
                      <a:pt x="17" y="31"/>
                    </a:cubicBezTo>
                    <a:cubicBezTo>
                      <a:pt x="19" y="30"/>
                      <a:pt x="27" y="31"/>
                      <a:pt x="26" y="24"/>
                    </a:cubicBezTo>
                    <a:cubicBezTo>
                      <a:pt x="29" y="23"/>
                      <a:pt x="29" y="26"/>
                      <a:pt x="32" y="26"/>
                    </a:cubicBezTo>
                    <a:cubicBezTo>
                      <a:pt x="30" y="20"/>
                      <a:pt x="34" y="19"/>
                      <a:pt x="34" y="14"/>
                    </a:cubicBezTo>
                    <a:cubicBezTo>
                      <a:pt x="39" y="17"/>
                      <a:pt x="38" y="2"/>
                      <a:pt x="39" y="13"/>
                    </a:cubicBezTo>
                    <a:cubicBezTo>
                      <a:pt x="46" y="10"/>
                      <a:pt x="40" y="2"/>
                      <a:pt x="43" y="0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  <p:sp>
            <p:nvSpPr>
              <p:cNvPr id="138" name="任意多边形: 形状 137">
                <a:extLst>
                  <a:ext uri="{FF2B5EF4-FFF2-40B4-BE49-F238E27FC236}">
                    <a16:creationId xmlns:a16="http://schemas.microsoft.com/office/drawing/2014/main" id="{C7CDAE02-59FD-4AA1-9E8D-ABBEC616BA73}"/>
                  </a:ext>
                </a:extLst>
              </p:cNvPr>
              <p:cNvSpPr/>
              <p:nvPr/>
            </p:nvSpPr>
            <p:spPr bwMode="auto">
              <a:xfrm>
                <a:off x="7448976" y="2389989"/>
                <a:ext cx="638757" cy="469263"/>
              </a:xfrm>
              <a:custGeom>
                <a:avLst/>
                <a:gdLst>
                  <a:gd name="T0" fmla="*/ 178 w 307"/>
                  <a:gd name="T1" fmla="*/ 19 h 226"/>
                  <a:gd name="T2" fmla="*/ 171 w 307"/>
                  <a:gd name="T3" fmla="*/ 22 h 226"/>
                  <a:gd name="T4" fmla="*/ 180 w 307"/>
                  <a:gd name="T5" fmla="*/ 34 h 226"/>
                  <a:gd name="T6" fmla="*/ 206 w 307"/>
                  <a:gd name="T7" fmla="*/ 48 h 226"/>
                  <a:gd name="T8" fmla="*/ 214 w 307"/>
                  <a:gd name="T9" fmla="*/ 37 h 226"/>
                  <a:gd name="T10" fmla="*/ 216 w 307"/>
                  <a:gd name="T11" fmla="*/ 30 h 226"/>
                  <a:gd name="T12" fmla="*/ 218 w 307"/>
                  <a:gd name="T13" fmla="*/ 13 h 226"/>
                  <a:gd name="T14" fmla="*/ 223 w 307"/>
                  <a:gd name="T15" fmla="*/ 4 h 226"/>
                  <a:gd name="T16" fmla="*/ 229 w 307"/>
                  <a:gd name="T17" fmla="*/ 11 h 226"/>
                  <a:gd name="T18" fmla="*/ 238 w 307"/>
                  <a:gd name="T19" fmla="*/ 30 h 226"/>
                  <a:gd name="T20" fmla="*/ 247 w 307"/>
                  <a:gd name="T21" fmla="*/ 43 h 226"/>
                  <a:gd name="T22" fmla="*/ 257 w 307"/>
                  <a:gd name="T23" fmla="*/ 56 h 226"/>
                  <a:gd name="T24" fmla="*/ 262 w 307"/>
                  <a:gd name="T25" fmla="*/ 71 h 226"/>
                  <a:gd name="T26" fmla="*/ 268 w 307"/>
                  <a:gd name="T27" fmla="*/ 75 h 226"/>
                  <a:gd name="T28" fmla="*/ 279 w 307"/>
                  <a:gd name="T29" fmla="*/ 82 h 226"/>
                  <a:gd name="T30" fmla="*/ 288 w 307"/>
                  <a:gd name="T31" fmla="*/ 101 h 226"/>
                  <a:gd name="T32" fmla="*/ 292 w 307"/>
                  <a:gd name="T33" fmla="*/ 104 h 226"/>
                  <a:gd name="T34" fmla="*/ 303 w 307"/>
                  <a:gd name="T35" fmla="*/ 112 h 226"/>
                  <a:gd name="T36" fmla="*/ 307 w 307"/>
                  <a:gd name="T37" fmla="*/ 143 h 226"/>
                  <a:gd name="T38" fmla="*/ 301 w 307"/>
                  <a:gd name="T39" fmla="*/ 158 h 226"/>
                  <a:gd name="T40" fmla="*/ 301 w 307"/>
                  <a:gd name="T41" fmla="*/ 164 h 226"/>
                  <a:gd name="T42" fmla="*/ 298 w 307"/>
                  <a:gd name="T43" fmla="*/ 175 h 226"/>
                  <a:gd name="T44" fmla="*/ 287 w 307"/>
                  <a:gd name="T45" fmla="*/ 185 h 226"/>
                  <a:gd name="T46" fmla="*/ 277 w 307"/>
                  <a:gd name="T47" fmla="*/ 212 h 226"/>
                  <a:gd name="T48" fmla="*/ 260 w 307"/>
                  <a:gd name="T49" fmla="*/ 220 h 226"/>
                  <a:gd name="T50" fmla="*/ 253 w 307"/>
                  <a:gd name="T51" fmla="*/ 226 h 226"/>
                  <a:gd name="T52" fmla="*/ 238 w 307"/>
                  <a:gd name="T53" fmla="*/ 222 h 226"/>
                  <a:gd name="T54" fmla="*/ 205 w 307"/>
                  <a:gd name="T55" fmla="*/ 216 h 226"/>
                  <a:gd name="T56" fmla="*/ 203 w 307"/>
                  <a:gd name="T57" fmla="*/ 205 h 226"/>
                  <a:gd name="T58" fmla="*/ 201 w 307"/>
                  <a:gd name="T59" fmla="*/ 199 h 226"/>
                  <a:gd name="T60" fmla="*/ 186 w 307"/>
                  <a:gd name="T61" fmla="*/ 188 h 226"/>
                  <a:gd name="T62" fmla="*/ 178 w 307"/>
                  <a:gd name="T63" fmla="*/ 179 h 226"/>
                  <a:gd name="T64" fmla="*/ 164 w 307"/>
                  <a:gd name="T65" fmla="*/ 173 h 226"/>
                  <a:gd name="T66" fmla="*/ 156 w 307"/>
                  <a:gd name="T67" fmla="*/ 170 h 226"/>
                  <a:gd name="T68" fmla="*/ 121 w 307"/>
                  <a:gd name="T69" fmla="*/ 162 h 226"/>
                  <a:gd name="T70" fmla="*/ 102 w 307"/>
                  <a:gd name="T71" fmla="*/ 168 h 226"/>
                  <a:gd name="T72" fmla="*/ 95 w 307"/>
                  <a:gd name="T73" fmla="*/ 171 h 226"/>
                  <a:gd name="T74" fmla="*/ 89 w 307"/>
                  <a:gd name="T75" fmla="*/ 177 h 226"/>
                  <a:gd name="T76" fmla="*/ 85 w 307"/>
                  <a:gd name="T77" fmla="*/ 177 h 226"/>
                  <a:gd name="T78" fmla="*/ 52 w 307"/>
                  <a:gd name="T79" fmla="*/ 183 h 226"/>
                  <a:gd name="T80" fmla="*/ 46 w 307"/>
                  <a:gd name="T81" fmla="*/ 186 h 226"/>
                  <a:gd name="T82" fmla="*/ 14 w 307"/>
                  <a:gd name="T83" fmla="*/ 192 h 226"/>
                  <a:gd name="T84" fmla="*/ 18 w 307"/>
                  <a:gd name="T85" fmla="*/ 171 h 226"/>
                  <a:gd name="T86" fmla="*/ 14 w 307"/>
                  <a:gd name="T87" fmla="*/ 160 h 226"/>
                  <a:gd name="T88" fmla="*/ 14 w 307"/>
                  <a:gd name="T89" fmla="*/ 153 h 226"/>
                  <a:gd name="T90" fmla="*/ 9 w 307"/>
                  <a:gd name="T91" fmla="*/ 142 h 226"/>
                  <a:gd name="T92" fmla="*/ 7 w 307"/>
                  <a:gd name="T93" fmla="*/ 132 h 226"/>
                  <a:gd name="T94" fmla="*/ 3 w 307"/>
                  <a:gd name="T95" fmla="*/ 121 h 226"/>
                  <a:gd name="T96" fmla="*/ 5 w 307"/>
                  <a:gd name="T97" fmla="*/ 112 h 226"/>
                  <a:gd name="T98" fmla="*/ 5 w 307"/>
                  <a:gd name="T99" fmla="*/ 88 h 226"/>
                  <a:gd name="T100" fmla="*/ 26 w 307"/>
                  <a:gd name="T101" fmla="*/ 75 h 226"/>
                  <a:gd name="T102" fmla="*/ 50 w 307"/>
                  <a:gd name="T103" fmla="*/ 69 h 226"/>
                  <a:gd name="T104" fmla="*/ 63 w 307"/>
                  <a:gd name="T105" fmla="*/ 63 h 226"/>
                  <a:gd name="T106" fmla="*/ 68 w 307"/>
                  <a:gd name="T107" fmla="*/ 43 h 226"/>
                  <a:gd name="T108" fmla="*/ 85 w 307"/>
                  <a:gd name="T109" fmla="*/ 43 h 226"/>
                  <a:gd name="T110" fmla="*/ 89 w 307"/>
                  <a:gd name="T111" fmla="*/ 30 h 226"/>
                  <a:gd name="T112" fmla="*/ 104 w 307"/>
                  <a:gd name="T113" fmla="*/ 20 h 226"/>
                  <a:gd name="T114" fmla="*/ 115 w 307"/>
                  <a:gd name="T115" fmla="*/ 26 h 226"/>
                  <a:gd name="T116" fmla="*/ 119 w 307"/>
                  <a:gd name="T117" fmla="*/ 28 h 226"/>
                  <a:gd name="T118" fmla="*/ 123 w 307"/>
                  <a:gd name="T119" fmla="*/ 24 h 226"/>
                  <a:gd name="T120" fmla="*/ 136 w 307"/>
                  <a:gd name="T121" fmla="*/ 13 h 226"/>
                  <a:gd name="T122" fmla="*/ 145 w 307"/>
                  <a:gd name="T123" fmla="*/ 9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07" h="226">
                    <a:moveTo>
                      <a:pt x="178" y="9"/>
                    </a:moveTo>
                    <a:cubicBezTo>
                      <a:pt x="178" y="12"/>
                      <a:pt x="178" y="16"/>
                      <a:pt x="178" y="19"/>
                    </a:cubicBezTo>
                    <a:cubicBezTo>
                      <a:pt x="177" y="19"/>
                      <a:pt x="175" y="19"/>
                      <a:pt x="173" y="19"/>
                    </a:cubicBezTo>
                    <a:cubicBezTo>
                      <a:pt x="175" y="21"/>
                      <a:pt x="174" y="22"/>
                      <a:pt x="171" y="22"/>
                    </a:cubicBezTo>
                    <a:cubicBezTo>
                      <a:pt x="174" y="26"/>
                      <a:pt x="171" y="25"/>
                      <a:pt x="171" y="30"/>
                    </a:cubicBezTo>
                    <a:cubicBezTo>
                      <a:pt x="173" y="33"/>
                      <a:pt x="176" y="34"/>
                      <a:pt x="180" y="34"/>
                    </a:cubicBezTo>
                    <a:cubicBezTo>
                      <a:pt x="181" y="42"/>
                      <a:pt x="193" y="38"/>
                      <a:pt x="193" y="47"/>
                    </a:cubicBezTo>
                    <a:cubicBezTo>
                      <a:pt x="198" y="47"/>
                      <a:pt x="204" y="46"/>
                      <a:pt x="206" y="48"/>
                    </a:cubicBezTo>
                    <a:cubicBezTo>
                      <a:pt x="210" y="48"/>
                      <a:pt x="207" y="40"/>
                      <a:pt x="214" y="43"/>
                    </a:cubicBezTo>
                    <a:cubicBezTo>
                      <a:pt x="213" y="42"/>
                      <a:pt x="211" y="37"/>
                      <a:pt x="214" y="37"/>
                    </a:cubicBezTo>
                    <a:cubicBezTo>
                      <a:pt x="216" y="37"/>
                      <a:pt x="213" y="34"/>
                      <a:pt x="214" y="32"/>
                    </a:cubicBezTo>
                    <a:cubicBezTo>
                      <a:pt x="214" y="32"/>
                      <a:pt x="216" y="31"/>
                      <a:pt x="216" y="30"/>
                    </a:cubicBezTo>
                    <a:cubicBezTo>
                      <a:pt x="216" y="28"/>
                      <a:pt x="218" y="26"/>
                      <a:pt x="218" y="22"/>
                    </a:cubicBezTo>
                    <a:cubicBezTo>
                      <a:pt x="217" y="21"/>
                      <a:pt x="215" y="19"/>
                      <a:pt x="218" y="13"/>
                    </a:cubicBezTo>
                    <a:cubicBezTo>
                      <a:pt x="218" y="13"/>
                      <a:pt x="221" y="13"/>
                      <a:pt x="221" y="13"/>
                    </a:cubicBezTo>
                    <a:cubicBezTo>
                      <a:pt x="223" y="11"/>
                      <a:pt x="221" y="5"/>
                      <a:pt x="223" y="4"/>
                    </a:cubicBezTo>
                    <a:cubicBezTo>
                      <a:pt x="227" y="3"/>
                      <a:pt x="224" y="9"/>
                      <a:pt x="227" y="11"/>
                    </a:cubicBezTo>
                    <a:cubicBezTo>
                      <a:pt x="227" y="11"/>
                      <a:pt x="229" y="11"/>
                      <a:pt x="229" y="11"/>
                    </a:cubicBezTo>
                    <a:cubicBezTo>
                      <a:pt x="230" y="14"/>
                      <a:pt x="231" y="18"/>
                      <a:pt x="232" y="20"/>
                    </a:cubicBezTo>
                    <a:cubicBezTo>
                      <a:pt x="234" y="24"/>
                      <a:pt x="238" y="26"/>
                      <a:pt x="238" y="30"/>
                    </a:cubicBezTo>
                    <a:cubicBezTo>
                      <a:pt x="243" y="25"/>
                      <a:pt x="240" y="33"/>
                      <a:pt x="246" y="32"/>
                    </a:cubicBezTo>
                    <a:cubicBezTo>
                      <a:pt x="245" y="36"/>
                      <a:pt x="245" y="40"/>
                      <a:pt x="247" y="43"/>
                    </a:cubicBezTo>
                    <a:cubicBezTo>
                      <a:pt x="250" y="46"/>
                      <a:pt x="247" y="50"/>
                      <a:pt x="249" y="56"/>
                    </a:cubicBezTo>
                    <a:cubicBezTo>
                      <a:pt x="254" y="50"/>
                      <a:pt x="250" y="55"/>
                      <a:pt x="257" y="56"/>
                    </a:cubicBezTo>
                    <a:cubicBezTo>
                      <a:pt x="257" y="59"/>
                      <a:pt x="255" y="59"/>
                      <a:pt x="255" y="61"/>
                    </a:cubicBezTo>
                    <a:cubicBezTo>
                      <a:pt x="258" y="64"/>
                      <a:pt x="263" y="64"/>
                      <a:pt x="262" y="71"/>
                    </a:cubicBezTo>
                    <a:cubicBezTo>
                      <a:pt x="264" y="71"/>
                      <a:pt x="267" y="70"/>
                      <a:pt x="268" y="71"/>
                    </a:cubicBezTo>
                    <a:cubicBezTo>
                      <a:pt x="268" y="71"/>
                      <a:pt x="267" y="74"/>
                      <a:pt x="268" y="75"/>
                    </a:cubicBezTo>
                    <a:cubicBezTo>
                      <a:pt x="268" y="75"/>
                      <a:pt x="271" y="74"/>
                      <a:pt x="272" y="75"/>
                    </a:cubicBezTo>
                    <a:cubicBezTo>
                      <a:pt x="274" y="77"/>
                      <a:pt x="273" y="83"/>
                      <a:pt x="279" y="82"/>
                    </a:cubicBezTo>
                    <a:cubicBezTo>
                      <a:pt x="279" y="87"/>
                      <a:pt x="282" y="92"/>
                      <a:pt x="285" y="95"/>
                    </a:cubicBezTo>
                    <a:cubicBezTo>
                      <a:pt x="286" y="97"/>
                      <a:pt x="287" y="99"/>
                      <a:pt x="288" y="101"/>
                    </a:cubicBezTo>
                    <a:cubicBezTo>
                      <a:pt x="289" y="101"/>
                      <a:pt x="291" y="100"/>
                      <a:pt x="292" y="101"/>
                    </a:cubicBezTo>
                    <a:cubicBezTo>
                      <a:pt x="293" y="101"/>
                      <a:pt x="291" y="104"/>
                      <a:pt x="292" y="104"/>
                    </a:cubicBezTo>
                    <a:cubicBezTo>
                      <a:pt x="294" y="106"/>
                      <a:pt x="297" y="105"/>
                      <a:pt x="296" y="104"/>
                    </a:cubicBezTo>
                    <a:cubicBezTo>
                      <a:pt x="300" y="108"/>
                      <a:pt x="297" y="113"/>
                      <a:pt x="303" y="112"/>
                    </a:cubicBezTo>
                    <a:cubicBezTo>
                      <a:pt x="299" y="117"/>
                      <a:pt x="304" y="124"/>
                      <a:pt x="305" y="132"/>
                    </a:cubicBezTo>
                    <a:cubicBezTo>
                      <a:pt x="306" y="137"/>
                      <a:pt x="303" y="141"/>
                      <a:pt x="307" y="143"/>
                    </a:cubicBezTo>
                    <a:cubicBezTo>
                      <a:pt x="303" y="146"/>
                      <a:pt x="304" y="149"/>
                      <a:pt x="303" y="157"/>
                    </a:cubicBezTo>
                    <a:cubicBezTo>
                      <a:pt x="303" y="156"/>
                      <a:pt x="300" y="157"/>
                      <a:pt x="301" y="158"/>
                    </a:cubicBezTo>
                    <a:cubicBezTo>
                      <a:pt x="302" y="158"/>
                      <a:pt x="303" y="158"/>
                      <a:pt x="303" y="158"/>
                    </a:cubicBezTo>
                    <a:cubicBezTo>
                      <a:pt x="303" y="159"/>
                      <a:pt x="302" y="163"/>
                      <a:pt x="301" y="164"/>
                    </a:cubicBezTo>
                    <a:cubicBezTo>
                      <a:pt x="301" y="164"/>
                      <a:pt x="298" y="166"/>
                      <a:pt x="298" y="166"/>
                    </a:cubicBezTo>
                    <a:cubicBezTo>
                      <a:pt x="297" y="168"/>
                      <a:pt x="301" y="171"/>
                      <a:pt x="298" y="175"/>
                    </a:cubicBezTo>
                    <a:cubicBezTo>
                      <a:pt x="294" y="175"/>
                      <a:pt x="295" y="180"/>
                      <a:pt x="290" y="179"/>
                    </a:cubicBezTo>
                    <a:cubicBezTo>
                      <a:pt x="291" y="183"/>
                      <a:pt x="290" y="185"/>
                      <a:pt x="287" y="185"/>
                    </a:cubicBezTo>
                    <a:cubicBezTo>
                      <a:pt x="288" y="192"/>
                      <a:pt x="284" y="194"/>
                      <a:pt x="285" y="201"/>
                    </a:cubicBezTo>
                    <a:cubicBezTo>
                      <a:pt x="277" y="200"/>
                      <a:pt x="278" y="207"/>
                      <a:pt x="277" y="212"/>
                    </a:cubicBezTo>
                    <a:cubicBezTo>
                      <a:pt x="275" y="212"/>
                      <a:pt x="272" y="212"/>
                      <a:pt x="272" y="214"/>
                    </a:cubicBezTo>
                    <a:cubicBezTo>
                      <a:pt x="271" y="218"/>
                      <a:pt x="264" y="218"/>
                      <a:pt x="260" y="220"/>
                    </a:cubicBezTo>
                    <a:cubicBezTo>
                      <a:pt x="259" y="221"/>
                      <a:pt x="258" y="223"/>
                      <a:pt x="257" y="224"/>
                    </a:cubicBezTo>
                    <a:cubicBezTo>
                      <a:pt x="255" y="224"/>
                      <a:pt x="253" y="223"/>
                      <a:pt x="253" y="226"/>
                    </a:cubicBezTo>
                    <a:cubicBezTo>
                      <a:pt x="249" y="223"/>
                      <a:pt x="247" y="219"/>
                      <a:pt x="242" y="218"/>
                    </a:cubicBezTo>
                    <a:cubicBezTo>
                      <a:pt x="238" y="216"/>
                      <a:pt x="239" y="221"/>
                      <a:pt x="238" y="222"/>
                    </a:cubicBezTo>
                    <a:cubicBezTo>
                      <a:pt x="234" y="224"/>
                      <a:pt x="228" y="221"/>
                      <a:pt x="225" y="226"/>
                    </a:cubicBezTo>
                    <a:cubicBezTo>
                      <a:pt x="218" y="222"/>
                      <a:pt x="213" y="217"/>
                      <a:pt x="205" y="216"/>
                    </a:cubicBezTo>
                    <a:cubicBezTo>
                      <a:pt x="207" y="214"/>
                      <a:pt x="207" y="212"/>
                      <a:pt x="205" y="207"/>
                    </a:cubicBezTo>
                    <a:cubicBezTo>
                      <a:pt x="204" y="206"/>
                      <a:pt x="203" y="207"/>
                      <a:pt x="203" y="205"/>
                    </a:cubicBezTo>
                    <a:cubicBezTo>
                      <a:pt x="203" y="205"/>
                      <a:pt x="203" y="203"/>
                      <a:pt x="203" y="203"/>
                    </a:cubicBezTo>
                    <a:cubicBezTo>
                      <a:pt x="202" y="201"/>
                      <a:pt x="197" y="200"/>
                      <a:pt x="201" y="199"/>
                    </a:cubicBezTo>
                    <a:cubicBezTo>
                      <a:pt x="200" y="198"/>
                      <a:pt x="192" y="194"/>
                      <a:pt x="191" y="198"/>
                    </a:cubicBezTo>
                    <a:cubicBezTo>
                      <a:pt x="189" y="195"/>
                      <a:pt x="189" y="190"/>
                      <a:pt x="186" y="188"/>
                    </a:cubicBezTo>
                    <a:cubicBezTo>
                      <a:pt x="185" y="184"/>
                      <a:pt x="187" y="183"/>
                      <a:pt x="188" y="181"/>
                    </a:cubicBezTo>
                    <a:cubicBezTo>
                      <a:pt x="186" y="179"/>
                      <a:pt x="184" y="180"/>
                      <a:pt x="178" y="179"/>
                    </a:cubicBezTo>
                    <a:cubicBezTo>
                      <a:pt x="175" y="181"/>
                      <a:pt x="175" y="188"/>
                      <a:pt x="167" y="186"/>
                    </a:cubicBezTo>
                    <a:cubicBezTo>
                      <a:pt x="169" y="179"/>
                      <a:pt x="162" y="181"/>
                      <a:pt x="164" y="173"/>
                    </a:cubicBezTo>
                    <a:cubicBezTo>
                      <a:pt x="159" y="173"/>
                      <a:pt x="158" y="170"/>
                      <a:pt x="152" y="171"/>
                    </a:cubicBezTo>
                    <a:cubicBezTo>
                      <a:pt x="152" y="170"/>
                      <a:pt x="155" y="170"/>
                      <a:pt x="156" y="170"/>
                    </a:cubicBezTo>
                    <a:cubicBezTo>
                      <a:pt x="151" y="164"/>
                      <a:pt x="147" y="169"/>
                      <a:pt x="137" y="168"/>
                    </a:cubicBezTo>
                    <a:cubicBezTo>
                      <a:pt x="131" y="166"/>
                      <a:pt x="126" y="164"/>
                      <a:pt x="121" y="162"/>
                    </a:cubicBezTo>
                    <a:cubicBezTo>
                      <a:pt x="116" y="164"/>
                      <a:pt x="111" y="163"/>
                      <a:pt x="109" y="168"/>
                    </a:cubicBezTo>
                    <a:cubicBezTo>
                      <a:pt x="107" y="168"/>
                      <a:pt x="104" y="167"/>
                      <a:pt x="102" y="168"/>
                    </a:cubicBezTo>
                    <a:cubicBezTo>
                      <a:pt x="100" y="168"/>
                      <a:pt x="101" y="169"/>
                      <a:pt x="100" y="170"/>
                    </a:cubicBezTo>
                    <a:cubicBezTo>
                      <a:pt x="97" y="170"/>
                      <a:pt x="98" y="166"/>
                      <a:pt x="95" y="171"/>
                    </a:cubicBezTo>
                    <a:cubicBezTo>
                      <a:pt x="94" y="172"/>
                      <a:pt x="92" y="173"/>
                      <a:pt x="93" y="175"/>
                    </a:cubicBezTo>
                    <a:cubicBezTo>
                      <a:pt x="90" y="173"/>
                      <a:pt x="89" y="169"/>
                      <a:pt x="89" y="177"/>
                    </a:cubicBezTo>
                    <a:cubicBezTo>
                      <a:pt x="87" y="177"/>
                      <a:pt x="87" y="175"/>
                      <a:pt x="85" y="175"/>
                    </a:cubicBezTo>
                    <a:cubicBezTo>
                      <a:pt x="83" y="175"/>
                      <a:pt x="85" y="177"/>
                      <a:pt x="85" y="177"/>
                    </a:cubicBezTo>
                    <a:cubicBezTo>
                      <a:pt x="83" y="181"/>
                      <a:pt x="77" y="179"/>
                      <a:pt x="76" y="185"/>
                    </a:cubicBezTo>
                    <a:cubicBezTo>
                      <a:pt x="71" y="181"/>
                      <a:pt x="60" y="183"/>
                      <a:pt x="52" y="183"/>
                    </a:cubicBezTo>
                    <a:cubicBezTo>
                      <a:pt x="49" y="182"/>
                      <a:pt x="51" y="186"/>
                      <a:pt x="50" y="186"/>
                    </a:cubicBezTo>
                    <a:cubicBezTo>
                      <a:pt x="49" y="187"/>
                      <a:pt x="47" y="186"/>
                      <a:pt x="46" y="186"/>
                    </a:cubicBezTo>
                    <a:cubicBezTo>
                      <a:pt x="44" y="187"/>
                      <a:pt x="43" y="188"/>
                      <a:pt x="40" y="188"/>
                    </a:cubicBezTo>
                    <a:cubicBezTo>
                      <a:pt x="35" y="190"/>
                      <a:pt x="26" y="194"/>
                      <a:pt x="14" y="192"/>
                    </a:cubicBezTo>
                    <a:cubicBezTo>
                      <a:pt x="15" y="187"/>
                      <a:pt x="14" y="181"/>
                      <a:pt x="20" y="181"/>
                    </a:cubicBezTo>
                    <a:cubicBezTo>
                      <a:pt x="19" y="178"/>
                      <a:pt x="22" y="172"/>
                      <a:pt x="18" y="171"/>
                    </a:cubicBezTo>
                    <a:cubicBezTo>
                      <a:pt x="13" y="171"/>
                      <a:pt x="20" y="170"/>
                      <a:pt x="18" y="164"/>
                    </a:cubicBezTo>
                    <a:cubicBezTo>
                      <a:pt x="16" y="159"/>
                      <a:pt x="16" y="168"/>
                      <a:pt x="14" y="160"/>
                    </a:cubicBezTo>
                    <a:cubicBezTo>
                      <a:pt x="14" y="160"/>
                      <a:pt x="15" y="157"/>
                      <a:pt x="14" y="157"/>
                    </a:cubicBezTo>
                    <a:cubicBezTo>
                      <a:pt x="12" y="154"/>
                      <a:pt x="15" y="156"/>
                      <a:pt x="14" y="153"/>
                    </a:cubicBezTo>
                    <a:cubicBezTo>
                      <a:pt x="14" y="149"/>
                      <a:pt x="10" y="146"/>
                      <a:pt x="13" y="143"/>
                    </a:cubicBezTo>
                    <a:cubicBezTo>
                      <a:pt x="13" y="141"/>
                      <a:pt x="10" y="143"/>
                      <a:pt x="9" y="142"/>
                    </a:cubicBezTo>
                    <a:cubicBezTo>
                      <a:pt x="8" y="141"/>
                      <a:pt x="9" y="139"/>
                      <a:pt x="9" y="138"/>
                    </a:cubicBezTo>
                    <a:cubicBezTo>
                      <a:pt x="9" y="138"/>
                      <a:pt x="7" y="132"/>
                      <a:pt x="7" y="132"/>
                    </a:cubicBezTo>
                    <a:cubicBezTo>
                      <a:pt x="4" y="130"/>
                      <a:pt x="8" y="131"/>
                      <a:pt x="7" y="129"/>
                    </a:cubicBezTo>
                    <a:cubicBezTo>
                      <a:pt x="6" y="126"/>
                      <a:pt x="2" y="125"/>
                      <a:pt x="3" y="121"/>
                    </a:cubicBezTo>
                    <a:cubicBezTo>
                      <a:pt x="8" y="122"/>
                      <a:pt x="5" y="114"/>
                      <a:pt x="9" y="114"/>
                    </a:cubicBezTo>
                    <a:cubicBezTo>
                      <a:pt x="9" y="111"/>
                      <a:pt x="6" y="113"/>
                      <a:pt x="5" y="112"/>
                    </a:cubicBezTo>
                    <a:cubicBezTo>
                      <a:pt x="4" y="110"/>
                      <a:pt x="6" y="105"/>
                      <a:pt x="1" y="106"/>
                    </a:cubicBezTo>
                    <a:cubicBezTo>
                      <a:pt x="0" y="98"/>
                      <a:pt x="4" y="94"/>
                      <a:pt x="5" y="88"/>
                    </a:cubicBezTo>
                    <a:cubicBezTo>
                      <a:pt x="7" y="91"/>
                      <a:pt x="14" y="89"/>
                      <a:pt x="14" y="84"/>
                    </a:cubicBezTo>
                    <a:cubicBezTo>
                      <a:pt x="15" y="80"/>
                      <a:pt x="26" y="83"/>
                      <a:pt x="26" y="75"/>
                    </a:cubicBezTo>
                    <a:cubicBezTo>
                      <a:pt x="36" y="76"/>
                      <a:pt x="41" y="71"/>
                      <a:pt x="50" y="71"/>
                    </a:cubicBezTo>
                    <a:cubicBezTo>
                      <a:pt x="52" y="71"/>
                      <a:pt x="50" y="68"/>
                      <a:pt x="50" y="69"/>
                    </a:cubicBezTo>
                    <a:cubicBezTo>
                      <a:pt x="53" y="65"/>
                      <a:pt x="59" y="68"/>
                      <a:pt x="59" y="61"/>
                    </a:cubicBezTo>
                    <a:cubicBezTo>
                      <a:pt x="61" y="62"/>
                      <a:pt x="61" y="63"/>
                      <a:pt x="63" y="63"/>
                    </a:cubicBezTo>
                    <a:cubicBezTo>
                      <a:pt x="67" y="64"/>
                      <a:pt x="62" y="55"/>
                      <a:pt x="68" y="58"/>
                    </a:cubicBezTo>
                    <a:cubicBezTo>
                      <a:pt x="67" y="50"/>
                      <a:pt x="68" y="51"/>
                      <a:pt x="68" y="43"/>
                    </a:cubicBezTo>
                    <a:cubicBezTo>
                      <a:pt x="73" y="43"/>
                      <a:pt x="76" y="45"/>
                      <a:pt x="80" y="47"/>
                    </a:cubicBezTo>
                    <a:cubicBezTo>
                      <a:pt x="82" y="45"/>
                      <a:pt x="82" y="42"/>
                      <a:pt x="85" y="43"/>
                    </a:cubicBezTo>
                    <a:cubicBezTo>
                      <a:pt x="83" y="39"/>
                      <a:pt x="90" y="36"/>
                      <a:pt x="85" y="35"/>
                    </a:cubicBezTo>
                    <a:cubicBezTo>
                      <a:pt x="86" y="33"/>
                      <a:pt x="89" y="33"/>
                      <a:pt x="89" y="30"/>
                    </a:cubicBezTo>
                    <a:cubicBezTo>
                      <a:pt x="95" y="31"/>
                      <a:pt x="91" y="23"/>
                      <a:pt x="98" y="26"/>
                    </a:cubicBezTo>
                    <a:cubicBezTo>
                      <a:pt x="100" y="24"/>
                      <a:pt x="102" y="22"/>
                      <a:pt x="104" y="20"/>
                    </a:cubicBezTo>
                    <a:cubicBezTo>
                      <a:pt x="106" y="22"/>
                      <a:pt x="109" y="23"/>
                      <a:pt x="113" y="22"/>
                    </a:cubicBezTo>
                    <a:cubicBezTo>
                      <a:pt x="109" y="26"/>
                      <a:pt x="114" y="24"/>
                      <a:pt x="115" y="26"/>
                    </a:cubicBezTo>
                    <a:cubicBezTo>
                      <a:pt x="115" y="26"/>
                      <a:pt x="115" y="28"/>
                      <a:pt x="115" y="28"/>
                    </a:cubicBezTo>
                    <a:cubicBezTo>
                      <a:pt x="116" y="28"/>
                      <a:pt x="118" y="27"/>
                      <a:pt x="119" y="28"/>
                    </a:cubicBezTo>
                    <a:cubicBezTo>
                      <a:pt x="119" y="28"/>
                      <a:pt x="121" y="33"/>
                      <a:pt x="126" y="32"/>
                    </a:cubicBezTo>
                    <a:cubicBezTo>
                      <a:pt x="129" y="33"/>
                      <a:pt x="127" y="22"/>
                      <a:pt x="123" y="24"/>
                    </a:cubicBezTo>
                    <a:cubicBezTo>
                      <a:pt x="124" y="22"/>
                      <a:pt x="126" y="21"/>
                      <a:pt x="128" y="20"/>
                    </a:cubicBezTo>
                    <a:cubicBezTo>
                      <a:pt x="128" y="16"/>
                      <a:pt x="131" y="13"/>
                      <a:pt x="136" y="13"/>
                    </a:cubicBezTo>
                    <a:cubicBezTo>
                      <a:pt x="135" y="9"/>
                      <a:pt x="137" y="7"/>
                      <a:pt x="141" y="7"/>
                    </a:cubicBezTo>
                    <a:cubicBezTo>
                      <a:pt x="138" y="13"/>
                      <a:pt x="140" y="10"/>
                      <a:pt x="145" y="9"/>
                    </a:cubicBezTo>
                    <a:cubicBezTo>
                      <a:pt x="153" y="0"/>
                      <a:pt x="168" y="9"/>
                      <a:pt x="178" y="9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anchor="ctr"/>
              <a:lstStyle/>
              <a:p>
                <a:pPr algn="ctr"/>
                <a:endParaRPr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BC75C4A4-363F-4B62-984D-C0BA1984D143}"/>
                </a:ext>
              </a:extLst>
            </p:cNvPr>
            <p:cNvGrpSpPr/>
            <p:nvPr/>
          </p:nvGrpSpPr>
          <p:grpSpPr>
            <a:xfrm>
              <a:off x="4587259" y="1974715"/>
              <a:ext cx="2908571" cy="2908571"/>
              <a:chOff x="4488867" y="1821867"/>
              <a:chExt cx="3214266" cy="3214266"/>
            </a:xfrm>
          </p:grpSpPr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5C19466B-8E6B-41E8-8F43-508E1BB07FB2}"/>
                  </a:ext>
                </a:extLst>
              </p:cNvPr>
              <p:cNvSpPr/>
              <p:nvPr/>
            </p:nvSpPr>
            <p:spPr bwMode="auto">
              <a:xfrm>
                <a:off x="4488867" y="3424170"/>
                <a:ext cx="1613574" cy="1611963"/>
              </a:xfrm>
              <a:custGeom>
                <a:avLst/>
                <a:gdLst>
                  <a:gd name="connsiteX0" fmla="*/ 0 w 1613574"/>
                  <a:gd name="connsiteY0" fmla="*/ 0 h 1611963"/>
                  <a:gd name="connsiteX1" fmla="*/ 365319 w 1613574"/>
                  <a:gd name="connsiteY1" fmla="*/ 0 h 1611963"/>
                  <a:gd name="connsiteX2" fmla="*/ 369704 w 1613574"/>
                  <a:gd name="connsiteY2" fmla="*/ 0 h 1611963"/>
                  <a:gd name="connsiteX3" fmla="*/ 369460 w 1613574"/>
                  <a:gd name="connsiteY3" fmla="*/ 4830 h 1611963"/>
                  <a:gd name="connsiteX4" fmla="*/ 1607133 w 1613574"/>
                  <a:gd name="connsiteY4" fmla="*/ 1242502 h 1611963"/>
                  <a:gd name="connsiteX5" fmla="*/ 1613574 w 1613574"/>
                  <a:gd name="connsiteY5" fmla="*/ 1242177 h 1611963"/>
                  <a:gd name="connsiteX6" fmla="*/ 1613574 w 1613574"/>
                  <a:gd name="connsiteY6" fmla="*/ 1244216 h 1611963"/>
                  <a:gd name="connsiteX7" fmla="*/ 1613574 w 1613574"/>
                  <a:gd name="connsiteY7" fmla="*/ 1611963 h 1611963"/>
                  <a:gd name="connsiteX8" fmla="*/ 0 w 1613574"/>
                  <a:gd name="connsiteY8" fmla="*/ 0 h 1611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3574" h="1611963">
                    <a:moveTo>
                      <a:pt x="0" y="0"/>
                    </a:moveTo>
                    <a:cubicBezTo>
                      <a:pt x="0" y="0"/>
                      <a:pt x="0" y="0"/>
                      <a:pt x="365319" y="0"/>
                    </a:cubicBezTo>
                    <a:lnTo>
                      <a:pt x="369704" y="0"/>
                    </a:lnTo>
                    <a:lnTo>
                      <a:pt x="369460" y="4830"/>
                    </a:lnTo>
                    <a:cubicBezTo>
                      <a:pt x="369460" y="688377"/>
                      <a:pt x="923585" y="1242502"/>
                      <a:pt x="1607133" y="1242502"/>
                    </a:cubicBezTo>
                    <a:lnTo>
                      <a:pt x="1613574" y="1242177"/>
                    </a:lnTo>
                    <a:lnTo>
                      <a:pt x="1613574" y="1244216"/>
                    </a:lnTo>
                    <a:cubicBezTo>
                      <a:pt x="1613574" y="1324682"/>
                      <a:pt x="1613574" y="1441722"/>
                      <a:pt x="1613574" y="1611963"/>
                    </a:cubicBezTo>
                    <a:cubicBezTo>
                      <a:pt x="724291" y="1611963"/>
                      <a:pt x="0" y="888396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EDE78358-B8CD-421F-AC98-5B0BDCB67936}"/>
                  </a:ext>
                </a:extLst>
              </p:cNvPr>
              <p:cNvSpPr/>
              <p:nvPr/>
            </p:nvSpPr>
            <p:spPr bwMode="auto">
              <a:xfrm>
                <a:off x="4488867" y="1821867"/>
                <a:ext cx="1613574" cy="1613574"/>
              </a:xfrm>
              <a:custGeom>
                <a:avLst/>
                <a:gdLst>
                  <a:gd name="connsiteX0" fmla="*/ 1613574 w 1613574"/>
                  <a:gd name="connsiteY0" fmla="*/ 0 h 1613574"/>
                  <a:gd name="connsiteX1" fmla="*/ 1613574 w 1613574"/>
                  <a:gd name="connsiteY1" fmla="*/ 363445 h 1613574"/>
                  <a:gd name="connsiteX2" fmla="*/ 1613574 w 1613574"/>
                  <a:gd name="connsiteY2" fmla="*/ 369786 h 1613574"/>
                  <a:gd name="connsiteX3" fmla="*/ 1607133 w 1613574"/>
                  <a:gd name="connsiteY3" fmla="*/ 369461 h 1613574"/>
                  <a:gd name="connsiteX4" fmla="*/ 369460 w 1613574"/>
                  <a:gd name="connsiteY4" fmla="*/ 1607133 h 1613574"/>
                  <a:gd name="connsiteX5" fmla="*/ 369786 w 1613574"/>
                  <a:gd name="connsiteY5" fmla="*/ 1613574 h 1613574"/>
                  <a:gd name="connsiteX6" fmla="*/ 368115 w 1613574"/>
                  <a:gd name="connsiteY6" fmla="*/ 1613574 h 1613574"/>
                  <a:gd name="connsiteX7" fmla="*/ 0 w 1613574"/>
                  <a:gd name="connsiteY7" fmla="*/ 1613574 h 1613574"/>
                  <a:gd name="connsiteX8" fmla="*/ 1613574 w 1613574"/>
                  <a:gd name="connsiteY8" fmla="*/ 0 h 1613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3574" h="1613574">
                    <a:moveTo>
                      <a:pt x="1613574" y="0"/>
                    </a:moveTo>
                    <a:cubicBezTo>
                      <a:pt x="1613574" y="0"/>
                      <a:pt x="1613574" y="0"/>
                      <a:pt x="1613574" y="363445"/>
                    </a:cubicBezTo>
                    <a:lnTo>
                      <a:pt x="1613574" y="369786"/>
                    </a:lnTo>
                    <a:lnTo>
                      <a:pt x="1607133" y="369461"/>
                    </a:lnTo>
                    <a:cubicBezTo>
                      <a:pt x="923585" y="369461"/>
                      <a:pt x="369460" y="923586"/>
                      <a:pt x="369460" y="1607133"/>
                    </a:cubicBezTo>
                    <a:lnTo>
                      <a:pt x="369786" y="1613574"/>
                    </a:lnTo>
                    <a:lnTo>
                      <a:pt x="368115" y="1613574"/>
                    </a:lnTo>
                    <a:cubicBezTo>
                      <a:pt x="287569" y="1613574"/>
                      <a:pt x="170411" y="1613574"/>
                      <a:pt x="0" y="1613574"/>
                    </a:cubicBezTo>
                    <a:cubicBezTo>
                      <a:pt x="0" y="724291"/>
                      <a:pt x="724291" y="0"/>
                      <a:pt x="1613574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C700F865-871A-437D-8E21-ADAE2A75E6DC}"/>
                  </a:ext>
                </a:extLst>
              </p:cNvPr>
              <p:cNvSpPr/>
              <p:nvPr/>
            </p:nvSpPr>
            <p:spPr bwMode="auto">
              <a:xfrm>
                <a:off x="6091169" y="3424170"/>
                <a:ext cx="1611964" cy="1611963"/>
              </a:xfrm>
              <a:custGeom>
                <a:avLst/>
                <a:gdLst>
                  <a:gd name="connsiteX0" fmla="*/ 1242260 w 1611964"/>
                  <a:gd name="connsiteY0" fmla="*/ 0 h 1611963"/>
                  <a:gd name="connsiteX1" fmla="*/ 1244217 w 1611964"/>
                  <a:gd name="connsiteY1" fmla="*/ 0 h 1611963"/>
                  <a:gd name="connsiteX2" fmla="*/ 1611964 w 1611964"/>
                  <a:gd name="connsiteY2" fmla="*/ 0 h 1611963"/>
                  <a:gd name="connsiteX3" fmla="*/ 0 w 1611964"/>
                  <a:gd name="connsiteY3" fmla="*/ 1611963 h 1611963"/>
                  <a:gd name="connsiteX4" fmla="*/ 0 w 1611964"/>
                  <a:gd name="connsiteY4" fmla="*/ 1247009 h 1611963"/>
                  <a:gd name="connsiteX5" fmla="*/ 0 w 1611964"/>
                  <a:gd name="connsiteY5" fmla="*/ 1242258 h 1611963"/>
                  <a:gd name="connsiteX6" fmla="*/ 4831 w 1611964"/>
                  <a:gd name="connsiteY6" fmla="*/ 1242502 h 1611963"/>
                  <a:gd name="connsiteX7" fmla="*/ 1242504 w 1611964"/>
                  <a:gd name="connsiteY7" fmla="*/ 4830 h 1611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1611964" h="1611963">
                    <a:moveTo>
                      <a:pt x="1242260" y="0"/>
                    </a:moveTo>
                    <a:lnTo>
                      <a:pt x="1244217" y="0"/>
                    </a:lnTo>
                    <a:cubicBezTo>
                      <a:pt x="1324683" y="0"/>
                      <a:pt x="1441723" y="0"/>
                      <a:pt x="1611964" y="0"/>
                    </a:cubicBezTo>
                    <a:cubicBezTo>
                      <a:pt x="1611964" y="888396"/>
                      <a:pt x="888396" y="1611963"/>
                      <a:pt x="0" y="1611963"/>
                    </a:cubicBezTo>
                    <a:cubicBezTo>
                      <a:pt x="0" y="1611963"/>
                      <a:pt x="0" y="1611963"/>
                      <a:pt x="0" y="1247009"/>
                    </a:cubicBezTo>
                    <a:lnTo>
                      <a:pt x="0" y="1242258"/>
                    </a:lnTo>
                    <a:lnTo>
                      <a:pt x="4831" y="1242502"/>
                    </a:lnTo>
                    <a:cubicBezTo>
                      <a:pt x="688379" y="1242502"/>
                      <a:pt x="1242504" y="688377"/>
                      <a:pt x="1242504" y="483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6FBAA959-2685-4FF1-9443-EEBC83C517B3}"/>
                  </a:ext>
                </a:extLst>
              </p:cNvPr>
              <p:cNvSpPr/>
              <p:nvPr/>
            </p:nvSpPr>
            <p:spPr bwMode="auto">
              <a:xfrm>
                <a:off x="6091169" y="1821867"/>
                <a:ext cx="1611964" cy="1613574"/>
              </a:xfrm>
              <a:custGeom>
                <a:avLst/>
                <a:gdLst>
                  <a:gd name="connsiteX0" fmla="*/ 0 w 1611964"/>
                  <a:gd name="connsiteY0" fmla="*/ 0 h 1613574"/>
                  <a:gd name="connsiteX1" fmla="*/ 1611964 w 1611964"/>
                  <a:gd name="connsiteY1" fmla="*/ 1613574 h 1613574"/>
                  <a:gd name="connsiteX2" fmla="*/ 1247010 w 1611964"/>
                  <a:gd name="connsiteY2" fmla="*/ 1613574 h 1613574"/>
                  <a:gd name="connsiteX3" fmla="*/ 1242179 w 1611964"/>
                  <a:gd name="connsiteY3" fmla="*/ 1613574 h 1613574"/>
                  <a:gd name="connsiteX4" fmla="*/ 1242504 w 1611964"/>
                  <a:gd name="connsiteY4" fmla="*/ 1607133 h 1613574"/>
                  <a:gd name="connsiteX5" fmla="*/ 4831 w 1611964"/>
                  <a:gd name="connsiteY5" fmla="*/ 369461 h 1613574"/>
                  <a:gd name="connsiteX6" fmla="*/ 0 w 1611964"/>
                  <a:gd name="connsiteY6" fmla="*/ 369705 h 1613574"/>
                  <a:gd name="connsiteX7" fmla="*/ 0 w 1611964"/>
                  <a:gd name="connsiteY7" fmla="*/ 366227 h 1613574"/>
                  <a:gd name="connsiteX8" fmla="*/ 0 w 1611964"/>
                  <a:gd name="connsiteY8" fmla="*/ 0 h 161357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611964" h="1613574">
                    <a:moveTo>
                      <a:pt x="0" y="0"/>
                    </a:moveTo>
                    <a:cubicBezTo>
                      <a:pt x="888396" y="0"/>
                      <a:pt x="1611964" y="724291"/>
                      <a:pt x="1611964" y="1613574"/>
                    </a:cubicBezTo>
                    <a:cubicBezTo>
                      <a:pt x="1611964" y="1613574"/>
                      <a:pt x="1611964" y="1613574"/>
                      <a:pt x="1247010" y="1613574"/>
                    </a:cubicBezTo>
                    <a:lnTo>
                      <a:pt x="1242179" y="1613574"/>
                    </a:lnTo>
                    <a:lnTo>
                      <a:pt x="1242504" y="1607133"/>
                    </a:lnTo>
                    <a:cubicBezTo>
                      <a:pt x="1242504" y="923586"/>
                      <a:pt x="688379" y="369461"/>
                      <a:pt x="4831" y="369461"/>
                    </a:cubicBezTo>
                    <a:lnTo>
                      <a:pt x="0" y="369705"/>
                    </a:lnTo>
                    <a:lnTo>
                      <a:pt x="0" y="366227"/>
                    </a:lnTo>
                    <a:cubicBezTo>
                      <a:pt x="0" y="286094"/>
                      <a:pt x="0" y="169537"/>
                      <a:pt x="0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5080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wrap="square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6641A70A-ADE4-48C2-822A-C7781DB35547}"/>
                </a:ext>
              </a:extLst>
            </p:cNvPr>
            <p:cNvSpPr/>
            <p:nvPr/>
          </p:nvSpPr>
          <p:spPr>
            <a:xfrm>
              <a:off x="4755054" y="2276333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1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391F2DEB-5EBE-430A-89E2-319DD2B2627B}"/>
                </a:ext>
              </a:extLst>
            </p:cNvPr>
            <p:cNvSpPr/>
            <p:nvPr/>
          </p:nvSpPr>
          <p:spPr>
            <a:xfrm>
              <a:off x="6755960" y="2276333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2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椭圆 9">
              <a:extLst>
                <a:ext uri="{FF2B5EF4-FFF2-40B4-BE49-F238E27FC236}">
                  <a16:creationId xmlns:a16="http://schemas.microsoft.com/office/drawing/2014/main" id="{E12F3321-6D19-44BE-B8D0-41BD72A935B9}"/>
                </a:ext>
              </a:extLst>
            </p:cNvPr>
            <p:cNvSpPr/>
            <p:nvPr/>
          </p:nvSpPr>
          <p:spPr>
            <a:xfrm>
              <a:off x="4755054" y="4048016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4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1" name="椭圆 10">
              <a:extLst>
                <a:ext uri="{FF2B5EF4-FFF2-40B4-BE49-F238E27FC236}">
                  <a16:creationId xmlns:a16="http://schemas.microsoft.com/office/drawing/2014/main" id="{D9A435BB-9CDE-4E94-A268-FE83A999DC95}"/>
                </a:ext>
              </a:extLst>
            </p:cNvPr>
            <p:cNvSpPr/>
            <p:nvPr/>
          </p:nvSpPr>
          <p:spPr>
            <a:xfrm>
              <a:off x="6755960" y="4048016"/>
              <a:ext cx="689718" cy="689717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90000" tIns="46800" rIns="90000" bIns="46800" anchor="ctr">
              <a:normAutofit/>
            </a:bodyPr>
            <a:lstStyle/>
            <a:p>
              <a:pPr algn="ctr"/>
              <a:r>
                <a:rPr lang="en-US" sz="1600" i="1" dirty="0">
                  <a:solidFill>
                    <a:schemeClr val="tx1"/>
                  </a:solidFill>
                  <a:cs typeface="+mn-ea"/>
                  <a:sym typeface="+mn-lt"/>
                </a:rPr>
                <a:t>Q3</a:t>
              </a:r>
              <a:endParaRPr sz="1600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45E6488B-42D4-478B-99FE-3243456B0734}"/>
                </a:ext>
              </a:extLst>
            </p:cNvPr>
            <p:cNvSpPr/>
            <p:nvPr/>
          </p:nvSpPr>
          <p:spPr bwMode="auto">
            <a:xfrm>
              <a:off x="5755818" y="2794896"/>
              <a:ext cx="627888" cy="647304"/>
            </a:xfrm>
            <a:custGeom>
              <a:avLst/>
              <a:gdLst>
                <a:gd name="T0" fmla="*/ 5363 w 5499"/>
                <a:gd name="T1" fmla="*/ 3729 h 5677"/>
                <a:gd name="T2" fmla="*/ 4520 w 5499"/>
                <a:gd name="T3" fmla="*/ 2649 h 5677"/>
                <a:gd name="T4" fmla="*/ 3673 w 5499"/>
                <a:gd name="T5" fmla="*/ 3040 h 5677"/>
                <a:gd name="T6" fmla="*/ 3023 w 5499"/>
                <a:gd name="T7" fmla="*/ 2741 h 5677"/>
                <a:gd name="T8" fmla="*/ 3454 w 5499"/>
                <a:gd name="T9" fmla="*/ 1972 h 5677"/>
                <a:gd name="T10" fmla="*/ 3507 w 5499"/>
                <a:gd name="T11" fmla="*/ 1328 h 5677"/>
                <a:gd name="T12" fmla="*/ 2170 w 5499"/>
                <a:gd name="T13" fmla="*/ 0 h 5677"/>
                <a:gd name="T14" fmla="*/ 1102 w 5499"/>
                <a:gd name="T15" fmla="*/ 1508 h 5677"/>
                <a:gd name="T16" fmla="*/ 1279 w 5499"/>
                <a:gd name="T17" fmla="*/ 2144 h 5677"/>
                <a:gd name="T18" fmla="*/ 1534 w 5499"/>
                <a:gd name="T19" fmla="*/ 2877 h 5677"/>
                <a:gd name="T20" fmla="*/ 3 w 5499"/>
                <a:gd name="T21" fmla="*/ 5432 h 5677"/>
                <a:gd name="T22" fmla="*/ 4372 w 5499"/>
                <a:gd name="T23" fmla="*/ 5653 h 5677"/>
                <a:gd name="T24" fmla="*/ 4996 w 5499"/>
                <a:gd name="T25" fmla="*/ 5161 h 5677"/>
                <a:gd name="T26" fmla="*/ 5363 w 5499"/>
                <a:gd name="T27" fmla="*/ 3960 h 5677"/>
                <a:gd name="T28" fmla="*/ 2075 w 5499"/>
                <a:gd name="T29" fmla="*/ 3721 h 5677"/>
                <a:gd name="T30" fmla="*/ 1829 w 5499"/>
                <a:gd name="T31" fmla="*/ 3415 h 5677"/>
                <a:gd name="T32" fmla="*/ 1924 w 5499"/>
                <a:gd name="T33" fmla="*/ 2970 h 5677"/>
                <a:gd name="T34" fmla="*/ 2135 w 5499"/>
                <a:gd name="T35" fmla="*/ 3252 h 5677"/>
                <a:gd name="T36" fmla="*/ 2140 w 5499"/>
                <a:gd name="T37" fmla="*/ 3663 h 5677"/>
                <a:gd name="T38" fmla="*/ 2592 w 5499"/>
                <a:gd name="T39" fmla="*/ 3721 h 5677"/>
                <a:gd name="T40" fmla="*/ 2492 w 5499"/>
                <a:gd name="T41" fmla="*/ 3318 h 5677"/>
                <a:gd name="T42" fmla="*/ 2533 w 5499"/>
                <a:gd name="T43" fmla="*/ 3090 h 5677"/>
                <a:gd name="T44" fmla="*/ 2807 w 5499"/>
                <a:gd name="T45" fmla="*/ 2972 h 5677"/>
                <a:gd name="T46" fmla="*/ 2825 w 5499"/>
                <a:gd name="T47" fmla="*/ 3454 h 5677"/>
                <a:gd name="T48" fmla="*/ 1776 w 5499"/>
                <a:gd name="T49" fmla="*/ 2351 h 5677"/>
                <a:gd name="T50" fmla="*/ 1477 w 5499"/>
                <a:gd name="T51" fmla="*/ 1747 h 5677"/>
                <a:gd name="T52" fmla="*/ 1513 w 5499"/>
                <a:gd name="T53" fmla="*/ 1522 h 5677"/>
                <a:gd name="T54" fmla="*/ 1575 w 5499"/>
                <a:gd name="T55" fmla="*/ 1348 h 5677"/>
                <a:gd name="T56" fmla="*/ 2781 w 5499"/>
                <a:gd name="T57" fmla="*/ 1554 h 5677"/>
                <a:gd name="T58" fmla="*/ 3119 w 5499"/>
                <a:gd name="T59" fmla="*/ 1522 h 5677"/>
                <a:gd name="T60" fmla="*/ 3219 w 5499"/>
                <a:gd name="T61" fmla="*/ 1693 h 5677"/>
                <a:gd name="T62" fmla="*/ 3123 w 5499"/>
                <a:gd name="T63" fmla="*/ 1815 h 5677"/>
                <a:gd name="T64" fmla="*/ 5035 w 5499"/>
                <a:gd name="T65" fmla="*/ 4769 h 5677"/>
                <a:gd name="T66" fmla="*/ 4520 w 5499"/>
                <a:gd name="T67" fmla="*/ 5367 h 5677"/>
                <a:gd name="T68" fmla="*/ 3887 w 5499"/>
                <a:gd name="T69" fmla="*/ 4672 h 5677"/>
                <a:gd name="T70" fmla="*/ 4121 w 5499"/>
                <a:gd name="T71" fmla="*/ 4395 h 5677"/>
                <a:gd name="T72" fmla="*/ 4693 w 5499"/>
                <a:gd name="T73" fmla="*/ 4475 h 5677"/>
                <a:gd name="T74" fmla="*/ 3985 w 5499"/>
                <a:gd name="T75" fmla="*/ 4136 h 5677"/>
                <a:gd name="T76" fmla="*/ 4355 w 5499"/>
                <a:gd name="T77" fmla="*/ 3316 h 5677"/>
                <a:gd name="T78" fmla="*/ 4686 w 5499"/>
                <a:gd name="T79" fmla="*/ 3124 h 5677"/>
                <a:gd name="T80" fmla="*/ 5064 w 5499"/>
                <a:gd name="T81" fmla="*/ 3650 h 5677"/>
                <a:gd name="T82" fmla="*/ 4693 w 5499"/>
                <a:gd name="T83" fmla="*/ 3744 h 5677"/>
                <a:gd name="T84" fmla="*/ 4379 w 5499"/>
                <a:gd name="T85" fmla="*/ 3819 h 5677"/>
                <a:gd name="T86" fmla="*/ 5110 w 5499"/>
                <a:gd name="T87" fmla="*/ 4137 h 56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5499" h="5677">
                  <a:moveTo>
                    <a:pt x="5363" y="3960"/>
                  </a:moveTo>
                  <a:cubicBezTo>
                    <a:pt x="5342" y="3930"/>
                    <a:pt x="5320" y="3902"/>
                    <a:pt x="5296" y="3876"/>
                  </a:cubicBezTo>
                  <a:cubicBezTo>
                    <a:pt x="5326" y="3832"/>
                    <a:pt x="5349" y="3782"/>
                    <a:pt x="5363" y="3729"/>
                  </a:cubicBezTo>
                  <a:cubicBezTo>
                    <a:pt x="5405" y="3570"/>
                    <a:pt x="5363" y="3403"/>
                    <a:pt x="5251" y="3283"/>
                  </a:cubicBezTo>
                  <a:cubicBezTo>
                    <a:pt x="5178" y="3205"/>
                    <a:pt x="5093" y="3143"/>
                    <a:pt x="4995" y="3096"/>
                  </a:cubicBezTo>
                  <a:cubicBezTo>
                    <a:pt x="4980" y="2847"/>
                    <a:pt x="4773" y="2649"/>
                    <a:pt x="4520" y="2649"/>
                  </a:cubicBezTo>
                  <a:cubicBezTo>
                    <a:pt x="4272" y="2649"/>
                    <a:pt x="4067" y="2841"/>
                    <a:pt x="4047" y="3085"/>
                  </a:cubicBezTo>
                  <a:cubicBezTo>
                    <a:pt x="4017" y="3098"/>
                    <a:pt x="3989" y="3112"/>
                    <a:pt x="3962" y="3128"/>
                  </a:cubicBezTo>
                  <a:lnTo>
                    <a:pt x="3673" y="3040"/>
                  </a:lnTo>
                  <a:cubicBezTo>
                    <a:pt x="3673" y="3040"/>
                    <a:pt x="3673" y="3041"/>
                    <a:pt x="3673" y="3041"/>
                  </a:cubicBezTo>
                  <a:lnTo>
                    <a:pt x="3133" y="2877"/>
                  </a:lnTo>
                  <a:cubicBezTo>
                    <a:pt x="3116" y="2825"/>
                    <a:pt x="3077" y="2779"/>
                    <a:pt x="3023" y="2741"/>
                  </a:cubicBezTo>
                  <a:cubicBezTo>
                    <a:pt x="3083" y="2675"/>
                    <a:pt x="3133" y="2608"/>
                    <a:pt x="3171" y="2553"/>
                  </a:cubicBezTo>
                  <a:cubicBezTo>
                    <a:pt x="3261" y="2421"/>
                    <a:pt x="3337" y="2280"/>
                    <a:pt x="3389" y="2144"/>
                  </a:cubicBezTo>
                  <a:cubicBezTo>
                    <a:pt x="3414" y="2087"/>
                    <a:pt x="3436" y="2029"/>
                    <a:pt x="3454" y="1972"/>
                  </a:cubicBezTo>
                  <a:cubicBezTo>
                    <a:pt x="3524" y="1914"/>
                    <a:pt x="3565" y="1826"/>
                    <a:pt x="3565" y="1734"/>
                  </a:cubicBezTo>
                  <a:lnTo>
                    <a:pt x="3565" y="1508"/>
                  </a:lnTo>
                  <a:cubicBezTo>
                    <a:pt x="3565" y="1443"/>
                    <a:pt x="3545" y="1380"/>
                    <a:pt x="3507" y="1328"/>
                  </a:cubicBezTo>
                  <a:lnTo>
                    <a:pt x="3507" y="1010"/>
                  </a:lnTo>
                  <a:cubicBezTo>
                    <a:pt x="3507" y="453"/>
                    <a:pt x="3054" y="0"/>
                    <a:pt x="2497" y="0"/>
                  </a:cubicBezTo>
                  <a:lnTo>
                    <a:pt x="2170" y="0"/>
                  </a:lnTo>
                  <a:cubicBezTo>
                    <a:pt x="1613" y="0"/>
                    <a:pt x="1160" y="453"/>
                    <a:pt x="1160" y="1010"/>
                  </a:cubicBezTo>
                  <a:lnTo>
                    <a:pt x="1160" y="1328"/>
                  </a:lnTo>
                  <a:cubicBezTo>
                    <a:pt x="1122" y="1380"/>
                    <a:pt x="1102" y="1444"/>
                    <a:pt x="1102" y="1508"/>
                  </a:cubicBezTo>
                  <a:lnTo>
                    <a:pt x="1102" y="1734"/>
                  </a:lnTo>
                  <a:cubicBezTo>
                    <a:pt x="1102" y="1826"/>
                    <a:pt x="1143" y="1914"/>
                    <a:pt x="1213" y="1972"/>
                  </a:cubicBezTo>
                  <a:cubicBezTo>
                    <a:pt x="1231" y="2029"/>
                    <a:pt x="1253" y="2087"/>
                    <a:pt x="1279" y="2144"/>
                  </a:cubicBezTo>
                  <a:cubicBezTo>
                    <a:pt x="1331" y="2280"/>
                    <a:pt x="1406" y="2421"/>
                    <a:pt x="1496" y="2552"/>
                  </a:cubicBezTo>
                  <a:cubicBezTo>
                    <a:pt x="1534" y="2608"/>
                    <a:pt x="1584" y="2674"/>
                    <a:pt x="1644" y="2740"/>
                  </a:cubicBezTo>
                  <a:cubicBezTo>
                    <a:pt x="1590" y="2779"/>
                    <a:pt x="1551" y="2825"/>
                    <a:pt x="1534" y="2877"/>
                  </a:cubicBezTo>
                  <a:lnTo>
                    <a:pt x="814" y="3095"/>
                  </a:lnTo>
                  <a:cubicBezTo>
                    <a:pt x="307" y="3241"/>
                    <a:pt x="3" y="5432"/>
                    <a:pt x="3" y="5432"/>
                  </a:cubicBezTo>
                  <a:lnTo>
                    <a:pt x="3" y="5432"/>
                  </a:lnTo>
                  <a:cubicBezTo>
                    <a:pt x="1" y="5442"/>
                    <a:pt x="0" y="5452"/>
                    <a:pt x="0" y="5462"/>
                  </a:cubicBezTo>
                  <a:cubicBezTo>
                    <a:pt x="0" y="5567"/>
                    <a:pt x="86" y="5653"/>
                    <a:pt x="191" y="5653"/>
                  </a:cubicBezTo>
                  <a:lnTo>
                    <a:pt x="4372" y="5653"/>
                  </a:lnTo>
                  <a:cubicBezTo>
                    <a:pt x="4418" y="5668"/>
                    <a:pt x="4468" y="5677"/>
                    <a:pt x="4520" y="5677"/>
                  </a:cubicBezTo>
                  <a:cubicBezTo>
                    <a:pt x="4783" y="5677"/>
                    <a:pt x="4996" y="5464"/>
                    <a:pt x="4996" y="5202"/>
                  </a:cubicBezTo>
                  <a:lnTo>
                    <a:pt x="4996" y="5161"/>
                  </a:lnTo>
                  <a:cubicBezTo>
                    <a:pt x="5091" y="5119"/>
                    <a:pt x="5175" y="5063"/>
                    <a:pt x="5248" y="4994"/>
                  </a:cubicBezTo>
                  <a:cubicBezTo>
                    <a:pt x="5412" y="4838"/>
                    <a:pt x="5499" y="4635"/>
                    <a:pt x="5499" y="4406"/>
                  </a:cubicBezTo>
                  <a:cubicBezTo>
                    <a:pt x="5499" y="4239"/>
                    <a:pt x="5453" y="4089"/>
                    <a:pt x="5363" y="3960"/>
                  </a:cubicBezTo>
                  <a:close/>
                  <a:moveTo>
                    <a:pt x="2140" y="3663"/>
                  </a:moveTo>
                  <a:cubicBezTo>
                    <a:pt x="2137" y="3689"/>
                    <a:pt x="2118" y="3711"/>
                    <a:pt x="2093" y="3718"/>
                  </a:cubicBezTo>
                  <a:cubicBezTo>
                    <a:pt x="2087" y="3720"/>
                    <a:pt x="2081" y="3721"/>
                    <a:pt x="2075" y="3721"/>
                  </a:cubicBezTo>
                  <a:cubicBezTo>
                    <a:pt x="2055" y="3721"/>
                    <a:pt x="2036" y="3711"/>
                    <a:pt x="2024" y="3695"/>
                  </a:cubicBezTo>
                  <a:lnTo>
                    <a:pt x="1842" y="3454"/>
                  </a:lnTo>
                  <a:cubicBezTo>
                    <a:pt x="1833" y="3442"/>
                    <a:pt x="1829" y="3429"/>
                    <a:pt x="1829" y="3415"/>
                  </a:cubicBezTo>
                  <a:lnTo>
                    <a:pt x="1829" y="3028"/>
                  </a:lnTo>
                  <a:cubicBezTo>
                    <a:pt x="1829" y="3005"/>
                    <a:pt x="1841" y="2984"/>
                    <a:pt x="1860" y="2972"/>
                  </a:cubicBezTo>
                  <a:cubicBezTo>
                    <a:pt x="1880" y="2961"/>
                    <a:pt x="1904" y="2960"/>
                    <a:pt x="1924" y="2970"/>
                  </a:cubicBezTo>
                  <a:cubicBezTo>
                    <a:pt x="1977" y="2998"/>
                    <a:pt x="2030" y="3017"/>
                    <a:pt x="2081" y="3026"/>
                  </a:cubicBezTo>
                  <a:cubicBezTo>
                    <a:pt x="2112" y="3032"/>
                    <a:pt x="2135" y="3059"/>
                    <a:pt x="2135" y="3090"/>
                  </a:cubicBezTo>
                  <a:lnTo>
                    <a:pt x="2135" y="3252"/>
                  </a:lnTo>
                  <a:cubicBezTo>
                    <a:pt x="2144" y="3255"/>
                    <a:pt x="2152" y="3261"/>
                    <a:pt x="2159" y="3268"/>
                  </a:cubicBezTo>
                  <a:cubicBezTo>
                    <a:pt x="2171" y="3282"/>
                    <a:pt x="2177" y="3300"/>
                    <a:pt x="2175" y="3318"/>
                  </a:cubicBezTo>
                  <a:lnTo>
                    <a:pt x="2140" y="3663"/>
                  </a:lnTo>
                  <a:close/>
                  <a:moveTo>
                    <a:pt x="2825" y="3454"/>
                  </a:moveTo>
                  <a:lnTo>
                    <a:pt x="2644" y="3695"/>
                  </a:lnTo>
                  <a:cubicBezTo>
                    <a:pt x="2631" y="3711"/>
                    <a:pt x="2612" y="3721"/>
                    <a:pt x="2592" y="3721"/>
                  </a:cubicBezTo>
                  <a:cubicBezTo>
                    <a:pt x="2586" y="3721"/>
                    <a:pt x="2580" y="3720"/>
                    <a:pt x="2574" y="3718"/>
                  </a:cubicBezTo>
                  <a:cubicBezTo>
                    <a:pt x="2549" y="3711"/>
                    <a:pt x="2530" y="3689"/>
                    <a:pt x="2527" y="3662"/>
                  </a:cubicBezTo>
                  <a:lnTo>
                    <a:pt x="2492" y="3318"/>
                  </a:lnTo>
                  <a:cubicBezTo>
                    <a:pt x="2490" y="3300"/>
                    <a:pt x="2496" y="3282"/>
                    <a:pt x="2508" y="3268"/>
                  </a:cubicBezTo>
                  <a:cubicBezTo>
                    <a:pt x="2515" y="3261"/>
                    <a:pt x="2523" y="3255"/>
                    <a:pt x="2533" y="3252"/>
                  </a:cubicBezTo>
                  <a:lnTo>
                    <a:pt x="2533" y="3090"/>
                  </a:lnTo>
                  <a:cubicBezTo>
                    <a:pt x="2533" y="3059"/>
                    <a:pt x="2555" y="3032"/>
                    <a:pt x="2586" y="3026"/>
                  </a:cubicBezTo>
                  <a:cubicBezTo>
                    <a:pt x="2637" y="3017"/>
                    <a:pt x="2690" y="2998"/>
                    <a:pt x="2743" y="2971"/>
                  </a:cubicBezTo>
                  <a:cubicBezTo>
                    <a:pt x="2763" y="2960"/>
                    <a:pt x="2787" y="2961"/>
                    <a:pt x="2807" y="2972"/>
                  </a:cubicBezTo>
                  <a:cubicBezTo>
                    <a:pt x="2826" y="2984"/>
                    <a:pt x="2838" y="3005"/>
                    <a:pt x="2838" y="3028"/>
                  </a:cubicBezTo>
                  <a:lnTo>
                    <a:pt x="2838" y="3415"/>
                  </a:lnTo>
                  <a:cubicBezTo>
                    <a:pt x="2838" y="3429"/>
                    <a:pt x="2834" y="3442"/>
                    <a:pt x="2825" y="3454"/>
                  </a:cubicBezTo>
                  <a:close/>
                  <a:moveTo>
                    <a:pt x="2508" y="2684"/>
                  </a:moveTo>
                  <a:lnTo>
                    <a:pt x="2160" y="2684"/>
                  </a:lnTo>
                  <a:cubicBezTo>
                    <a:pt x="2083" y="2684"/>
                    <a:pt x="1934" y="2581"/>
                    <a:pt x="1776" y="2351"/>
                  </a:cubicBezTo>
                  <a:cubicBezTo>
                    <a:pt x="1651" y="2170"/>
                    <a:pt x="1564" y="1970"/>
                    <a:pt x="1544" y="1815"/>
                  </a:cubicBezTo>
                  <a:lnTo>
                    <a:pt x="1540" y="1788"/>
                  </a:lnTo>
                  <a:lnTo>
                    <a:pt x="1477" y="1747"/>
                  </a:lnTo>
                  <a:cubicBezTo>
                    <a:pt x="1459" y="1735"/>
                    <a:pt x="1448" y="1715"/>
                    <a:pt x="1448" y="1693"/>
                  </a:cubicBezTo>
                  <a:lnTo>
                    <a:pt x="1448" y="1586"/>
                  </a:lnTo>
                  <a:cubicBezTo>
                    <a:pt x="1448" y="1551"/>
                    <a:pt x="1477" y="1522"/>
                    <a:pt x="1513" y="1522"/>
                  </a:cubicBezTo>
                  <a:lnTo>
                    <a:pt x="1539" y="1522"/>
                  </a:lnTo>
                  <a:lnTo>
                    <a:pt x="1539" y="1406"/>
                  </a:lnTo>
                  <a:cubicBezTo>
                    <a:pt x="1539" y="1382"/>
                    <a:pt x="1553" y="1359"/>
                    <a:pt x="1575" y="1348"/>
                  </a:cubicBezTo>
                  <a:cubicBezTo>
                    <a:pt x="1664" y="1304"/>
                    <a:pt x="1841" y="1229"/>
                    <a:pt x="2024" y="1229"/>
                  </a:cubicBezTo>
                  <a:cubicBezTo>
                    <a:pt x="2170" y="1229"/>
                    <a:pt x="2292" y="1278"/>
                    <a:pt x="2384" y="1374"/>
                  </a:cubicBezTo>
                  <a:cubicBezTo>
                    <a:pt x="2500" y="1493"/>
                    <a:pt x="2633" y="1554"/>
                    <a:pt x="2781" y="1554"/>
                  </a:cubicBezTo>
                  <a:cubicBezTo>
                    <a:pt x="2864" y="1554"/>
                    <a:pt x="2950" y="1534"/>
                    <a:pt x="3037" y="1495"/>
                  </a:cubicBezTo>
                  <a:cubicBezTo>
                    <a:pt x="3057" y="1486"/>
                    <a:pt x="3080" y="1488"/>
                    <a:pt x="3098" y="1500"/>
                  </a:cubicBezTo>
                  <a:cubicBezTo>
                    <a:pt x="3107" y="1506"/>
                    <a:pt x="3114" y="1513"/>
                    <a:pt x="3119" y="1522"/>
                  </a:cubicBezTo>
                  <a:lnTo>
                    <a:pt x="3154" y="1522"/>
                  </a:lnTo>
                  <a:cubicBezTo>
                    <a:pt x="3190" y="1522"/>
                    <a:pt x="3219" y="1551"/>
                    <a:pt x="3219" y="1586"/>
                  </a:cubicBezTo>
                  <a:lnTo>
                    <a:pt x="3219" y="1693"/>
                  </a:lnTo>
                  <a:cubicBezTo>
                    <a:pt x="3219" y="1715"/>
                    <a:pt x="3208" y="1735"/>
                    <a:pt x="3190" y="1747"/>
                  </a:cubicBezTo>
                  <a:lnTo>
                    <a:pt x="3127" y="1788"/>
                  </a:lnTo>
                  <a:lnTo>
                    <a:pt x="3123" y="1815"/>
                  </a:lnTo>
                  <a:cubicBezTo>
                    <a:pt x="3103" y="1970"/>
                    <a:pt x="3016" y="2170"/>
                    <a:pt x="2891" y="2351"/>
                  </a:cubicBezTo>
                  <a:cubicBezTo>
                    <a:pt x="2733" y="2581"/>
                    <a:pt x="2584" y="2684"/>
                    <a:pt x="2508" y="2684"/>
                  </a:cubicBezTo>
                  <a:close/>
                  <a:moveTo>
                    <a:pt x="5035" y="4769"/>
                  </a:moveTo>
                  <a:cubicBezTo>
                    <a:pt x="4947" y="4852"/>
                    <a:pt x="4830" y="4908"/>
                    <a:pt x="4686" y="4935"/>
                  </a:cubicBezTo>
                  <a:lnTo>
                    <a:pt x="4686" y="5202"/>
                  </a:lnTo>
                  <a:cubicBezTo>
                    <a:pt x="4686" y="5293"/>
                    <a:pt x="4612" y="5367"/>
                    <a:pt x="4520" y="5367"/>
                  </a:cubicBezTo>
                  <a:cubicBezTo>
                    <a:pt x="4429" y="5367"/>
                    <a:pt x="4355" y="5293"/>
                    <a:pt x="4355" y="5202"/>
                  </a:cubicBezTo>
                  <a:lnTo>
                    <a:pt x="4355" y="4944"/>
                  </a:lnTo>
                  <a:cubicBezTo>
                    <a:pt x="4144" y="4915"/>
                    <a:pt x="3987" y="4824"/>
                    <a:pt x="3887" y="4672"/>
                  </a:cubicBezTo>
                  <a:cubicBezTo>
                    <a:pt x="3857" y="4626"/>
                    <a:pt x="3851" y="4567"/>
                    <a:pt x="3873" y="4516"/>
                  </a:cubicBezTo>
                  <a:cubicBezTo>
                    <a:pt x="3895" y="4465"/>
                    <a:pt x="3941" y="4428"/>
                    <a:pt x="3995" y="4418"/>
                  </a:cubicBezTo>
                  <a:lnTo>
                    <a:pt x="4121" y="4395"/>
                  </a:lnTo>
                  <a:cubicBezTo>
                    <a:pt x="4185" y="4383"/>
                    <a:pt x="4250" y="4410"/>
                    <a:pt x="4287" y="4463"/>
                  </a:cubicBezTo>
                  <a:cubicBezTo>
                    <a:pt x="4334" y="4531"/>
                    <a:pt x="4414" y="4565"/>
                    <a:pt x="4524" y="4565"/>
                  </a:cubicBezTo>
                  <a:cubicBezTo>
                    <a:pt x="4693" y="4565"/>
                    <a:pt x="4693" y="4498"/>
                    <a:pt x="4693" y="4475"/>
                  </a:cubicBezTo>
                  <a:cubicBezTo>
                    <a:pt x="4693" y="4443"/>
                    <a:pt x="4681" y="4420"/>
                    <a:pt x="4656" y="4402"/>
                  </a:cubicBezTo>
                  <a:cubicBezTo>
                    <a:pt x="4629" y="4384"/>
                    <a:pt x="4581" y="4367"/>
                    <a:pt x="4512" y="4353"/>
                  </a:cubicBezTo>
                  <a:cubicBezTo>
                    <a:pt x="4237" y="4297"/>
                    <a:pt x="4059" y="4224"/>
                    <a:pt x="3985" y="4136"/>
                  </a:cubicBezTo>
                  <a:cubicBezTo>
                    <a:pt x="3909" y="4048"/>
                    <a:pt x="3872" y="3948"/>
                    <a:pt x="3872" y="3833"/>
                  </a:cubicBezTo>
                  <a:cubicBezTo>
                    <a:pt x="3872" y="3707"/>
                    <a:pt x="3914" y="3595"/>
                    <a:pt x="3995" y="3497"/>
                  </a:cubicBezTo>
                  <a:cubicBezTo>
                    <a:pt x="4074" y="3403"/>
                    <a:pt x="4195" y="3342"/>
                    <a:pt x="4355" y="3316"/>
                  </a:cubicBezTo>
                  <a:lnTo>
                    <a:pt x="4355" y="3124"/>
                  </a:lnTo>
                  <a:cubicBezTo>
                    <a:pt x="4355" y="3033"/>
                    <a:pt x="4429" y="2959"/>
                    <a:pt x="4520" y="2959"/>
                  </a:cubicBezTo>
                  <a:cubicBezTo>
                    <a:pt x="4612" y="2959"/>
                    <a:pt x="4686" y="3033"/>
                    <a:pt x="4686" y="3124"/>
                  </a:cubicBezTo>
                  <a:lnTo>
                    <a:pt x="4686" y="3319"/>
                  </a:lnTo>
                  <a:cubicBezTo>
                    <a:pt x="4829" y="3346"/>
                    <a:pt x="4940" y="3404"/>
                    <a:pt x="5024" y="3494"/>
                  </a:cubicBezTo>
                  <a:cubicBezTo>
                    <a:pt x="5063" y="3536"/>
                    <a:pt x="5078" y="3595"/>
                    <a:pt x="5064" y="3650"/>
                  </a:cubicBezTo>
                  <a:cubicBezTo>
                    <a:pt x="5049" y="3705"/>
                    <a:pt x="5007" y="3749"/>
                    <a:pt x="4953" y="3766"/>
                  </a:cubicBezTo>
                  <a:lnTo>
                    <a:pt x="4867" y="3793"/>
                  </a:lnTo>
                  <a:cubicBezTo>
                    <a:pt x="4805" y="3812"/>
                    <a:pt x="4737" y="3793"/>
                    <a:pt x="4693" y="3744"/>
                  </a:cubicBezTo>
                  <a:cubicBezTo>
                    <a:pt x="4650" y="3696"/>
                    <a:pt x="4586" y="3671"/>
                    <a:pt x="4503" y="3671"/>
                  </a:cubicBezTo>
                  <a:cubicBezTo>
                    <a:pt x="4436" y="3671"/>
                    <a:pt x="4356" y="3687"/>
                    <a:pt x="4356" y="3763"/>
                  </a:cubicBezTo>
                  <a:cubicBezTo>
                    <a:pt x="4356" y="3785"/>
                    <a:pt x="4364" y="3804"/>
                    <a:pt x="4379" y="3819"/>
                  </a:cubicBezTo>
                  <a:cubicBezTo>
                    <a:pt x="4396" y="3835"/>
                    <a:pt x="4444" y="3852"/>
                    <a:pt x="4521" y="3870"/>
                  </a:cubicBezTo>
                  <a:cubicBezTo>
                    <a:pt x="4701" y="3909"/>
                    <a:pt x="4832" y="3945"/>
                    <a:pt x="4910" y="3976"/>
                  </a:cubicBezTo>
                  <a:cubicBezTo>
                    <a:pt x="4990" y="4008"/>
                    <a:pt x="5057" y="4062"/>
                    <a:pt x="5110" y="4137"/>
                  </a:cubicBezTo>
                  <a:cubicBezTo>
                    <a:pt x="5162" y="4213"/>
                    <a:pt x="5189" y="4303"/>
                    <a:pt x="5189" y="4406"/>
                  </a:cubicBezTo>
                  <a:cubicBezTo>
                    <a:pt x="5189" y="4550"/>
                    <a:pt x="5137" y="4672"/>
                    <a:pt x="5035" y="47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0B6E5FD5-A833-4736-8FE3-5E41D730087E}"/>
                </a:ext>
              </a:extLst>
            </p:cNvPr>
            <p:cNvSpPr txBox="1"/>
            <p:nvPr/>
          </p:nvSpPr>
          <p:spPr>
            <a:xfrm>
              <a:off x="5376038" y="3451675"/>
              <a:ext cx="1387448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algn="ct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DCCC23F2-1E4F-4321-A9F4-B354ADAEC557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3433811"/>
              <a:ext cx="379402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060A4BE6-AA38-4F0A-A992-1E7CD0EE6293}"/>
                </a:ext>
              </a:extLst>
            </p:cNvPr>
            <p:cNvCxnSpPr>
              <a:cxnSpLocks/>
            </p:cNvCxnSpPr>
            <p:nvPr/>
          </p:nvCxnSpPr>
          <p:spPr>
            <a:xfrm>
              <a:off x="7726461" y="3433811"/>
              <a:ext cx="379402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FAA034FA-D461-484D-9534-972C90AA2488}"/>
                </a:ext>
              </a:extLst>
            </p:cNvPr>
            <p:cNvGrpSpPr/>
            <p:nvPr/>
          </p:nvGrpSpPr>
          <p:grpSpPr>
            <a:xfrm>
              <a:off x="673101" y="1419801"/>
              <a:ext cx="2428318" cy="1094393"/>
              <a:chOff x="673101" y="1535685"/>
              <a:chExt cx="2098380" cy="1094393"/>
            </a:xfrm>
          </p:grpSpPr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61E909B5-8FBF-4805-B31C-F4EF2C6F0053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DC4001D2-ACA8-4231-A4CA-34B9A7B3E204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D4FDFE46-738D-4D92-A99C-4F0B3B67EF3C}"/>
                </a:ext>
              </a:extLst>
            </p:cNvPr>
            <p:cNvGrpSpPr/>
            <p:nvPr/>
          </p:nvGrpSpPr>
          <p:grpSpPr>
            <a:xfrm>
              <a:off x="673101" y="4163105"/>
              <a:ext cx="2428318" cy="1094393"/>
              <a:chOff x="673101" y="1535685"/>
              <a:chExt cx="2098380" cy="1094393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1AC58C3F-A6EE-4B56-8964-9CF1949AA58F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F8122052-C694-40D7-B0CF-A4BAE1B7942D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742F39A7-90DA-4B4E-831F-58B513692123}"/>
                </a:ext>
              </a:extLst>
            </p:cNvPr>
            <p:cNvGrpSpPr/>
            <p:nvPr/>
          </p:nvGrpSpPr>
          <p:grpSpPr>
            <a:xfrm>
              <a:off x="9090600" y="1419801"/>
              <a:ext cx="2428318" cy="1094393"/>
              <a:chOff x="673101" y="1535685"/>
              <a:chExt cx="2098380" cy="1094393"/>
            </a:xfrm>
          </p:grpSpPr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33213192-4BFF-4518-963C-AD0E8CD08D44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7C0E56B8-16A8-490E-92E2-19912B4EBB40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28E0420B-14C8-4F5F-89FB-9D2D5416757A}"/>
                </a:ext>
              </a:extLst>
            </p:cNvPr>
            <p:cNvGrpSpPr/>
            <p:nvPr/>
          </p:nvGrpSpPr>
          <p:grpSpPr>
            <a:xfrm>
              <a:off x="9090600" y="4163105"/>
              <a:ext cx="2428318" cy="1094393"/>
              <a:chOff x="673101" y="1535685"/>
              <a:chExt cx="2098380" cy="1094393"/>
            </a:xfrm>
          </p:grpSpPr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2499157A-727E-4CB0-AC03-079625A7BEBB}"/>
                  </a:ext>
                </a:extLst>
              </p:cNvPr>
              <p:cNvSpPr txBox="1"/>
              <p:nvPr/>
            </p:nvSpPr>
            <p:spPr>
              <a:xfrm>
                <a:off x="673101" y="1535685"/>
                <a:ext cx="2098380" cy="483522"/>
              </a:xfrm>
              <a:prstGeom prst="rect">
                <a:avLst/>
              </a:prstGeom>
              <a:noFill/>
            </p:spPr>
            <p:txBody>
              <a:bodyPr wrap="none" rtlCol="0" anchor="b">
                <a:normAutofit/>
              </a:bodyPr>
              <a:lstStyle/>
              <a:p>
                <a:pPr lvl="0" algn="r" defTabSz="914378">
                  <a:spcBef>
                    <a:spcPct val="0"/>
                  </a:spcBef>
                  <a:defRPr/>
                </a:pPr>
                <a:r>
                  <a:rPr lang="en-US" altLang="zh-CN" b="1">
                    <a:cs typeface="+mn-ea"/>
                    <a:sym typeface="+mn-lt"/>
                  </a:rPr>
                  <a:t>Text here</a:t>
                </a:r>
                <a:endParaRPr lang="zh-CN" altLang="en-US" b="1" dirty="0">
                  <a:cs typeface="+mn-ea"/>
                  <a:sym typeface="+mn-lt"/>
                </a:endParaRPr>
              </a:p>
            </p:txBody>
          </p:sp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51A2F8BC-5197-4F71-8787-7832F9D2144B}"/>
                  </a:ext>
                </a:extLst>
              </p:cNvPr>
              <p:cNvSpPr/>
              <p:nvPr/>
            </p:nvSpPr>
            <p:spPr bwMode="auto">
              <a:xfrm>
                <a:off x="673101" y="2019207"/>
                <a:ext cx="2098380" cy="61087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0000" tIns="46800" rIns="90000" bIns="46800" anchor="t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30000"/>
                  </a:lnSpc>
                </a:pPr>
                <a:r>
                  <a:rPr lang="en-US" altLang="zh-CN" sz="1100">
                    <a:cs typeface="+mn-ea"/>
                    <a:sym typeface="+mn-lt"/>
                  </a:rPr>
                  <a:t>…… 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28448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0F50799-BFDE-477F-9236-29C494E001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F85C6DB-D162-4530-841A-387AEA173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FB1A492-EACB-4240-9988-8F96C9461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203B982-4856-4F52-B538-11167F2082CF}"/>
              </a:ext>
            </a:extLst>
          </p:cNvPr>
          <p:cNvGrpSpPr>
            <a:grpSpLocks noChangeAspect="1"/>
          </p:cNvGrpSpPr>
          <p:nvPr/>
        </p:nvGrpSpPr>
        <p:grpSpPr>
          <a:xfrm>
            <a:off x="672083" y="1399294"/>
            <a:ext cx="10847833" cy="4837994"/>
            <a:chOff x="672083" y="1399294"/>
            <a:chExt cx="10847833" cy="4837994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6F8C9F2B-4EBF-4D6A-A62B-D6B31C9E6C8F}"/>
                </a:ext>
              </a:extLst>
            </p:cNvPr>
            <p:cNvGrpSpPr/>
            <p:nvPr/>
          </p:nvGrpSpPr>
          <p:grpSpPr>
            <a:xfrm>
              <a:off x="5226152" y="1399294"/>
              <a:ext cx="3392747" cy="3152848"/>
              <a:chOff x="5226152" y="1399294"/>
              <a:chExt cx="3392747" cy="3152848"/>
            </a:xfrm>
          </p:grpSpPr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AD807E39-BFD8-4F96-ADE5-4F568C171C1A}"/>
                  </a:ext>
                </a:extLst>
              </p:cNvPr>
              <p:cNvSpPr/>
              <p:nvPr/>
            </p:nvSpPr>
            <p:spPr>
              <a:xfrm rot="21412315" flipH="1">
                <a:off x="6949878" y="1399294"/>
                <a:ext cx="1669021" cy="310941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642" y="0"/>
                    </a:moveTo>
                    <a:lnTo>
                      <a:pt x="0" y="21117"/>
                    </a:lnTo>
                    <a:lnTo>
                      <a:pt x="1654" y="21600"/>
                    </a:lnTo>
                    <a:lnTo>
                      <a:pt x="21600" y="156"/>
                    </a:lnTo>
                    <a:lnTo>
                      <a:pt x="19642" y="0"/>
                    </a:ln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2" name="任意多边形: 形状 21">
                <a:extLst>
                  <a:ext uri="{FF2B5EF4-FFF2-40B4-BE49-F238E27FC236}">
                    <a16:creationId xmlns:a16="http://schemas.microsoft.com/office/drawing/2014/main" id="{AD042E71-FACA-4147-B9FB-8C3CAFCE8A96}"/>
                  </a:ext>
                </a:extLst>
              </p:cNvPr>
              <p:cNvSpPr/>
              <p:nvPr/>
            </p:nvSpPr>
            <p:spPr>
              <a:xfrm rot="21412315" flipH="1">
                <a:off x="5420891" y="1465157"/>
                <a:ext cx="3071741" cy="3086985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3" name="任意多边形: 形状 22">
                <a:extLst>
                  <a:ext uri="{FF2B5EF4-FFF2-40B4-BE49-F238E27FC236}">
                    <a16:creationId xmlns:a16="http://schemas.microsoft.com/office/drawing/2014/main" id="{586088FD-47CD-4521-9BB9-05BD44271C05}"/>
                  </a:ext>
                </a:extLst>
              </p:cNvPr>
              <p:cNvSpPr/>
              <p:nvPr/>
            </p:nvSpPr>
            <p:spPr>
              <a:xfrm rot="21412315" flipH="1">
                <a:off x="6343384" y="2377356"/>
                <a:ext cx="1155652" cy="2128636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9211" y="0"/>
                    </a:moveTo>
                    <a:lnTo>
                      <a:pt x="0" y="20894"/>
                    </a:lnTo>
                    <a:lnTo>
                      <a:pt x="2389" y="21600"/>
                    </a:lnTo>
                    <a:lnTo>
                      <a:pt x="21600" y="706"/>
                    </a:lnTo>
                    <a:cubicBezTo>
                      <a:pt x="21600" y="706"/>
                      <a:pt x="19211" y="0"/>
                      <a:pt x="19211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4" name="任意多边形: 形状 23">
                <a:extLst>
                  <a:ext uri="{FF2B5EF4-FFF2-40B4-BE49-F238E27FC236}">
                    <a16:creationId xmlns:a16="http://schemas.microsoft.com/office/drawing/2014/main" id="{040438C7-77D6-44FF-BA57-0B2A1E31A3D3}"/>
                  </a:ext>
                </a:extLst>
              </p:cNvPr>
              <p:cNvSpPr/>
              <p:nvPr/>
            </p:nvSpPr>
            <p:spPr>
              <a:xfrm rot="21412315" flipH="1">
                <a:off x="5324800" y="2477731"/>
                <a:ext cx="2048794" cy="2059100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6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6" y="0"/>
                      <a:pt x="10836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5F10F2F4-EB9A-4851-B05C-2A0C555954D2}"/>
                  </a:ext>
                </a:extLst>
              </p:cNvPr>
              <p:cNvSpPr/>
              <p:nvPr/>
            </p:nvSpPr>
            <p:spPr>
              <a:xfrm rot="21412315" flipH="1">
                <a:off x="5735270" y="3380285"/>
                <a:ext cx="646997" cy="110965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7332" y="0"/>
                    </a:moveTo>
                    <a:lnTo>
                      <a:pt x="0" y="20246"/>
                    </a:lnTo>
                    <a:lnTo>
                      <a:pt x="4266" y="21600"/>
                    </a:lnTo>
                    <a:lnTo>
                      <a:pt x="21600" y="1354"/>
                    </a:lnTo>
                    <a:cubicBezTo>
                      <a:pt x="21600" y="1354"/>
                      <a:pt x="17332" y="0"/>
                      <a:pt x="173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6350" cap="flat">
                <a:solidFill>
                  <a:srgbClr val="CFCFCF"/>
                </a:solidFill>
                <a:prstDash val="solid"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6" name="任意多边形: 形状 25">
                <a:extLst>
                  <a:ext uri="{FF2B5EF4-FFF2-40B4-BE49-F238E27FC236}">
                    <a16:creationId xmlns:a16="http://schemas.microsoft.com/office/drawing/2014/main" id="{6289EDD3-85F9-414C-92A4-1DFC03732032}"/>
                  </a:ext>
                </a:extLst>
              </p:cNvPr>
              <p:cNvSpPr/>
              <p:nvPr/>
            </p:nvSpPr>
            <p:spPr>
              <a:xfrm rot="21412315" flipH="1">
                <a:off x="5226152" y="3463117"/>
                <a:ext cx="1034837" cy="104012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10838" y="0"/>
                    </a:moveTo>
                    <a:lnTo>
                      <a:pt x="0" y="21600"/>
                    </a:lnTo>
                    <a:lnTo>
                      <a:pt x="21600" y="18579"/>
                    </a:lnTo>
                    <a:cubicBezTo>
                      <a:pt x="21600" y="18579"/>
                      <a:pt x="10838" y="0"/>
                      <a:pt x="10838" y="0"/>
                    </a:cubicBez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12700" cap="flat">
                <a:noFill/>
                <a:miter lim="400000"/>
              </a:ln>
              <a:effectLst/>
            </p:spPr>
            <p:txBody>
              <a:bodyPr wrap="square" lIns="91440" tIns="45720" rIns="91440" bIns="45720" anchor="ctr">
                <a:noAutofit/>
              </a:bodyPr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7" name="椭圆 6">
              <a:extLst>
                <a:ext uri="{FF2B5EF4-FFF2-40B4-BE49-F238E27FC236}">
                  <a16:creationId xmlns:a16="http://schemas.microsoft.com/office/drawing/2014/main" id="{E22CA93C-43B0-4482-BF11-91D542CEB85F}"/>
                </a:ext>
              </a:extLst>
            </p:cNvPr>
            <p:cNvSpPr/>
            <p:nvPr/>
          </p:nvSpPr>
          <p:spPr>
            <a:xfrm>
              <a:off x="7505818" y="2380597"/>
              <a:ext cx="922958" cy="922956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/>
              <a:r>
                <a:rPr lang="en-US" altLang="zh-CN">
                  <a:solidFill>
                    <a:schemeClr val="tx1"/>
                  </a:solidFill>
                  <a:cs typeface="+mn-ea"/>
                  <a:sym typeface="+mn-lt"/>
                </a:rPr>
                <a:t>1</a:t>
              </a:r>
              <a:endParaRPr lang="en-US" altLang="zh-CN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8" name="椭圆 7">
              <a:extLst>
                <a:ext uri="{FF2B5EF4-FFF2-40B4-BE49-F238E27FC236}">
                  <a16:creationId xmlns:a16="http://schemas.microsoft.com/office/drawing/2014/main" id="{2E32E13E-D710-4642-B955-57480CABB9BC}"/>
                </a:ext>
              </a:extLst>
            </p:cNvPr>
            <p:cNvSpPr/>
            <p:nvPr/>
          </p:nvSpPr>
          <p:spPr>
            <a:xfrm>
              <a:off x="5087888" y="4150088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3</a:t>
              </a:r>
              <a:endParaRPr lang="en-US" altLang="zh-CN" sz="1800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9" name="椭圆 8">
              <a:extLst>
                <a:ext uri="{FF2B5EF4-FFF2-40B4-BE49-F238E27FC236}">
                  <a16:creationId xmlns:a16="http://schemas.microsoft.com/office/drawing/2014/main" id="{06A272F3-C880-4595-B9BA-0383397CB615}"/>
                </a:ext>
              </a:extLst>
            </p:cNvPr>
            <p:cNvSpPr/>
            <p:nvPr/>
          </p:nvSpPr>
          <p:spPr>
            <a:xfrm>
              <a:off x="7282282" y="4152505"/>
              <a:ext cx="593984" cy="593982"/>
            </a:xfrm>
            <a:prstGeom prst="ellipse">
              <a:avLst/>
            </a:prstGeom>
            <a:solidFill>
              <a:schemeClr val="bg1"/>
            </a:solidFill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Autofit/>
            </a:bodyPr>
            <a:lstStyle/>
            <a:p>
              <a:pPr algn="ctr" defTabSz="914377"/>
              <a:r>
                <a:rPr lang="en-US" altLang="zh-CN" sz="1800">
                  <a:solidFill>
                    <a:schemeClr val="tx1"/>
                  </a:solidFill>
                  <a:cs typeface="+mn-ea"/>
                  <a:sym typeface="+mn-lt"/>
                </a:rPr>
                <a:t>2</a:t>
              </a:r>
            </a:p>
          </p:txBody>
        </p:sp>
        <p:sp>
          <p:nvSpPr>
            <p:cNvPr id="10" name="矩形: 剪去左右顶角 9">
              <a:extLst>
                <a:ext uri="{FF2B5EF4-FFF2-40B4-BE49-F238E27FC236}">
                  <a16:creationId xmlns:a16="http://schemas.microsoft.com/office/drawing/2014/main" id="{998FB89B-94D0-41E1-B5C1-AA418FDB780A}"/>
                </a:ext>
              </a:extLst>
            </p:cNvPr>
            <p:cNvSpPr/>
            <p:nvPr/>
          </p:nvSpPr>
          <p:spPr>
            <a:xfrm>
              <a:off x="4367810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1" name="文本框 10">
              <a:extLst>
                <a:ext uri="{FF2B5EF4-FFF2-40B4-BE49-F238E27FC236}">
                  <a16:creationId xmlns:a16="http://schemas.microsoft.com/office/drawing/2014/main" id="{8178FB4B-C75D-4D59-A03E-1BE99E998060}"/>
                </a:ext>
              </a:extLst>
            </p:cNvPr>
            <p:cNvSpPr txBox="1"/>
            <p:nvPr/>
          </p:nvSpPr>
          <p:spPr bwMode="auto">
            <a:xfrm>
              <a:off x="4367809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2" name="矩形: 剪去左右顶角 11">
              <a:extLst>
                <a:ext uri="{FF2B5EF4-FFF2-40B4-BE49-F238E27FC236}">
                  <a16:creationId xmlns:a16="http://schemas.microsoft.com/office/drawing/2014/main" id="{A8542C11-9F1A-492A-8631-AFFA3189D55C}"/>
                </a:ext>
              </a:extLst>
            </p:cNvPr>
            <p:cNvSpPr/>
            <p:nvPr/>
          </p:nvSpPr>
          <p:spPr>
            <a:xfrm>
              <a:off x="7282283" y="5423565"/>
              <a:ext cx="2448270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754D7AC4-6A85-4631-9A30-F1115126AFC1}"/>
                </a:ext>
              </a:extLst>
            </p:cNvPr>
            <p:cNvSpPr txBox="1"/>
            <p:nvPr/>
          </p:nvSpPr>
          <p:spPr bwMode="auto">
            <a:xfrm>
              <a:off x="7282282" y="4891337"/>
              <a:ext cx="2448270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4" name="矩形: 剪去左右顶角 13">
              <a:extLst>
                <a:ext uri="{FF2B5EF4-FFF2-40B4-BE49-F238E27FC236}">
                  <a16:creationId xmlns:a16="http://schemas.microsoft.com/office/drawing/2014/main" id="{740CBEBA-0B64-4A71-A759-860D88262133}"/>
                </a:ext>
              </a:extLst>
            </p:cNvPr>
            <p:cNvSpPr/>
            <p:nvPr/>
          </p:nvSpPr>
          <p:spPr>
            <a:xfrm>
              <a:off x="8780063" y="2786672"/>
              <a:ext cx="2739853" cy="678785"/>
            </a:xfrm>
            <a:prstGeom prst="snip2SameRect">
              <a:avLst>
                <a:gd name="adj1" fmla="val 0"/>
                <a:gd name="adj2" fmla="val 0"/>
              </a:avLst>
            </a:prstGeom>
            <a:ln>
              <a:noFill/>
            </a:ln>
          </p:spPr>
          <p:txBody>
            <a:bodyPr wrap="square" lIns="91440" tIns="45720" rIns="91440" bIns="45720" anchor="t">
              <a:noAutofit/>
            </a:bodyPr>
            <a:lstStyle/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 marL="172800" indent="-17280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A4C4378-4A70-460F-AE06-ED27695C5AE7}"/>
                </a:ext>
              </a:extLst>
            </p:cNvPr>
            <p:cNvSpPr txBox="1"/>
            <p:nvPr/>
          </p:nvSpPr>
          <p:spPr bwMode="auto">
            <a:xfrm>
              <a:off x="8780062" y="2254444"/>
              <a:ext cx="2739853" cy="5162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spcBef>
                  <a:spcPct val="0"/>
                </a:spcBef>
              </a:pPr>
              <a:r>
                <a:rPr lang="en-US" altLang="zh-CN" b="1" dirty="0">
                  <a:cs typeface="+mn-ea"/>
                  <a:sym typeface="+mn-lt"/>
                </a:rPr>
                <a:t>Text Here</a:t>
              </a:r>
            </a:p>
          </p:txBody>
        </p: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E29AEA8C-67DE-43BC-9FDF-CD91CC281074}"/>
                </a:ext>
              </a:extLst>
            </p:cNvPr>
            <p:cNvCxnSpPr>
              <a:cxnSpLocks/>
            </p:cNvCxnSpPr>
            <p:nvPr/>
          </p:nvCxnSpPr>
          <p:spPr>
            <a:xfrm>
              <a:off x="6582147" y="5013176"/>
              <a:ext cx="0" cy="1089174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4FF319A3-38DA-4528-A470-E914D98045E0}"/>
                </a:ext>
              </a:extLst>
            </p:cNvPr>
            <p:cNvSpPr txBox="1"/>
            <p:nvPr/>
          </p:nvSpPr>
          <p:spPr>
            <a:xfrm>
              <a:off x="776857" y="2493631"/>
              <a:ext cx="397094" cy="374930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prstTxWarp prst="textPlain">
                <a:avLst/>
              </a:prstTxWarp>
              <a:noAutofit/>
            </a:bodyPr>
            <a:lstStyle/>
            <a:p>
              <a:r>
                <a:rPr lang="en-US" sz="4800" dirty="0">
                  <a:cs typeface="+mn-ea"/>
                  <a:sym typeface="+mn-lt"/>
                </a:rPr>
                <a:t>“</a:t>
              </a: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90562A9E-115B-4C67-8B3D-CDD7543EBEE9}"/>
                </a:ext>
              </a:extLst>
            </p:cNvPr>
            <p:cNvSpPr/>
            <p:nvPr/>
          </p:nvSpPr>
          <p:spPr>
            <a:xfrm>
              <a:off x="672084" y="2935236"/>
              <a:ext cx="3227854" cy="407934"/>
            </a:xfrm>
            <a:prstGeom prst="rect">
              <a:avLst/>
            </a:prstGeom>
          </p:spPr>
          <p:txBody>
            <a:bodyPr wrap="square" lIns="91440" tIns="45720" rIns="91440" bIns="45720" anchor="ctr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800" b="1" dirty="0">
                  <a:cs typeface="+mn-ea"/>
                  <a:sym typeface="+mn-lt"/>
                </a:rPr>
                <a:t>Supporting text here</a:t>
              </a:r>
              <a:endParaRPr lang="zh-CN" altLang="en-US" sz="1800" b="1" dirty="0">
                <a:cs typeface="+mn-ea"/>
                <a:sym typeface="+mn-lt"/>
              </a:endParaRPr>
            </a:p>
          </p:txBody>
        </p:sp>
        <p:sp>
          <p:nvSpPr>
            <p:cNvPr id="19" name="矩形 18">
              <a:extLst>
                <a:ext uri="{FF2B5EF4-FFF2-40B4-BE49-F238E27FC236}">
                  <a16:creationId xmlns:a16="http://schemas.microsoft.com/office/drawing/2014/main" id="{C4168F20-2B2B-4B0A-98FA-24BB474C67E2}"/>
                </a:ext>
              </a:extLst>
            </p:cNvPr>
            <p:cNvSpPr/>
            <p:nvPr/>
          </p:nvSpPr>
          <p:spPr>
            <a:xfrm>
              <a:off x="672083" y="3343170"/>
              <a:ext cx="3227855" cy="1114060"/>
            </a:xfrm>
            <a:prstGeom prst="rect">
              <a:avLst/>
            </a:prstGeom>
          </p:spPr>
          <p:txBody>
            <a:bodyPr wrap="square" lIns="91440" tIns="45720" rIns="91440" bIns="45720" anchor="t">
              <a:noAutofit/>
            </a:bodyPr>
            <a:lstStyle/>
            <a:p>
              <a:pPr>
                <a:lnSpc>
                  <a:spcPct val="12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Supporting text here</a:t>
              </a:r>
            </a:p>
            <a:p>
              <a:pPr>
                <a:lnSpc>
                  <a:spcPct val="12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…</a:t>
              </a:r>
            </a:p>
          </p:txBody>
        </p:sp>
        <p:cxnSp>
          <p:nvCxnSpPr>
            <p:cNvPr id="20" name="直接连接符 19">
              <a:extLst>
                <a:ext uri="{FF2B5EF4-FFF2-40B4-BE49-F238E27FC236}">
                  <a16:creationId xmlns:a16="http://schemas.microsoft.com/office/drawing/2014/main" id="{6FE0273A-4806-404E-878E-E79C906C5FDB}"/>
                </a:ext>
              </a:extLst>
            </p:cNvPr>
            <p:cNvCxnSpPr>
              <a:cxnSpLocks/>
            </p:cNvCxnSpPr>
            <p:nvPr/>
          </p:nvCxnSpPr>
          <p:spPr>
            <a:xfrm>
              <a:off x="3647728" y="1451468"/>
              <a:ext cx="0" cy="4785820"/>
            </a:xfrm>
            <a:prstGeom prst="line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53775361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FC4BF9CA-DC4D-40AD-9E16-0E845E1DD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E6E3219-D1BE-43BB-BE95-73A67B5E34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7FE35337-DDB0-458E-904A-F4CA8E0800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65A8D42-F081-411A-A5AE-97F9F03F9A0B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981812"/>
            <a:ext cx="10850563" cy="3657600"/>
            <a:chOff x="669925" y="1981812"/>
            <a:chExt cx="10850563" cy="3657600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A46BADC-B60B-4B64-947A-F76DFA4460AD}"/>
                </a:ext>
              </a:extLst>
            </p:cNvPr>
            <p:cNvCxnSpPr>
              <a:cxnSpLocks/>
            </p:cNvCxnSpPr>
            <p:nvPr/>
          </p:nvCxnSpPr>
          <p:spPr>
            <a:xfrm>
              <a:off x="669925" y="3810612"/>
              <a:ext cx="3473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89B844CE-60DA-4BFD-8903-D9E736021AC4}"/>
                </a:ext>
              </a:extLst>
            </p:cNvPr>
            <p:cNvSpPr/>
            <p:nvPr/>
          </p:nvSpPr>
          <p:spPr>
            <a:xfrm>
              <a:off x="4267200" y="1981812"/>
              <a:ext cx="1828800" cy="1828800"/>
            </a:xfrm>
            <a:custGeom>
              <a:avLst/>
              <a:gdLst>
                <a:gd name="connsiteX0" fmla="*/ 1828800 w 1828800"/>
                <a:gd name="connsiteY0" fmla="*/ 0 h 1828800"/>
                <a:gd name="connsiteX1" fmla="*/ 1828800 w 1828800"/>
                <a:gd name="connsiteY1" fmla="*/ 828410 h 1828800"/>
                <a:gd name="connsiteX2" fmla="*/ 828410 w 1828800"/>
                <a:gd name="connsiteY2" fmla="*/ 1828800 h 1828800"/>
                <a:gd name="connsiteX3" fmla="*/ 0 w 1828800"/>
                <a:gd name="connsiteY3" fmla="*/ 1828800 h 1828800"/>
                <a:gd name="connsiteX4" fmla="*/ 182880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1828800" y="0"/>
                  </a:moveTo>
                  <a:lnTo>
                    <a:pt x="1828800" y="828410"/>
                  </a:lnTo>
                  <a:cubicBezTo>
                    <a:pt x="1276300" y="828410"/>
                    <a:pt x="828410" y="1276300"/>
                    <a:pt x="828410" y="1828800"/>
                  </a:cubicBezTo>
                  <a:lnTo>
                    <a:pt x="0" y="1828800"/>
                  </a:lnTo>
                  <a:cubicBezTo>
                    <a:pt x="0" y="818782"/>
                    <a:pt x="818782" y="0"/>
                    <a:pt x="182880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071216FB-78BE-4232-9514-5F344D05BF67}"/>
                </a:ext>
              </a:extLst>
            </p:cNvPr>
            <p:cNvSpPr/>
            <p:nvPr/>
          </p:nvSpPr>
          <p:spPr>
            <a:xfrm>
              <a:off x="6096000" y="1981812"/>
              <a:ext cx="1828800" cy="1828800"/>
            </a:xfrm>
            <a:custGeom>
              <a:avLst/>
              <a:gdLst>
                <a:gd name="connsiteX0" fmla="*/ 0 w 1828800"/>
                <a:gd name="connsiteY0" fmla="*/ 0 h 1828800"/>
                <a:gd name="connsiteX1" fmla="*/ 1828800 w 1828800"/>
                <a:gd name="connsiteY1" fmla="*/ 1828800 h 1828800"/>
                <a:gd name="connsiteX2" fmla="*/ 1000390 w 1828800"/>
                <a:gd name="connsiteY2" fmla="*/ 1828800 h 1828800"/>
                <a:gd name="connsiteX3" fmla="*/ 0 w 1828800"/>
                <a:gd name="connsiteY3" fmla="*/ 82841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cubicBezTo>
                    <a:pt x="1010018" y="0"/>
                    <a:pt x="1828800" y="818782"/>
                    <a:pt x="1828800" y="1828800"/>
                  </a:cubicBezTo>
                  <a:lnTo>
                    <a:pt x="1000390" y="1828800"/>
                  </a:lnTo>
                  <a:cubicBezTo>
                    <a:pt x="1000390" y="1276300"/>
                    <a:pt x="552500" y="828410"/>
                    <a:pt x="0" y="82841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80271364-68D5-45E9-BD88-0FAC44623FFF}"/>
                </a:ext>
              </a:extLst>
            </p:cNvPr>
            <p:cNvSpPr/>
            <p:nvPr/>
          </p:nvSpPr>
          <p:spPr>
            <a:xfrm>
              <a:off x="4267200" y="3810612"/>
              <a:ext cx="1828800" cy="1828800"/>
            </a:xfrm>
            <a:custGeom>
              <a:avLst/>
              <a:gdLst>
                <a:gd name="connsiteX0" fmla="*/ 0 w 1828800"/>
                <a:gd name="connsiteY0" fmla="*/ 0 h 1828800"/>
                <a:gd name="connsiteX1" fmla="*/ 828410 w 1828800"/>
                <a:gd name="connsiteY1" fmla="*/ 0 h 1828800"/>
                <a:gd name="connsiteX2" fmla="*/ 1828800 w 1828800"/>
                <a:gd name="connsiteY2" fmla="*/ 1000390 h 1828800"/>
                <a:gd name="connsiteX3" fmla="*/ 1828800 w 1828800"/>
                <a:gd name="connsiteY3" fmla="*/ 1828800 h 1828800"/>
                <a:gd name="connsiteX4" fmla="*/ 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0" y="0"/>
                  </a:moveTo>
                  <a:lnTo>
                    <a:pt x="828410" y="0"/>
                  </a:lnTo>
                  <a:cubicBezTo>
                    <a:pt x="828410" y="552500"/>
                    <a:pt x="1276300" y="1000390"/>
                    <a:pt x="1828800" y="1000390"/>
                  </a:cubicBezTo>
                  <a:lnTo>
                    <a:pt x="1828800" y="1828800"/>
                  </a:lnTo>
                  <a:cubicBezTo>
                    <a:pt x="818782" y="1828800"/>
                    <a:pt x="0" y="1010018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917FBDDF-595F-44CA-B7FF-263D965A4FD2}"/>
                </a:ext>
              </a:extLst>
            </p:cNvPr>
            <p:cNvSpPr/>
            <p:nvPr/>
          </p:nvSpPr>
          <p:spPr>
            <a:xfrm>
              <a:off x="6096000" y="3810612"/>
              <a:ext cx="1828800" cy="1828800"/>
            </a:xfrm>
            <a:custGeom>
              <a:avLst/>
              <a:gdLst>
                <a:gd name="connsiteX0" fmla="*/ 1000390 w 1828800"/>
                <a:gd name="connsiteY0" fmla="*/ 0 h 1828800"/>
                <a:gd name="connsiteX1" fmla="*/ 1828800 w 1828800"/>
                <a:gd name="connsiteY1" fmla="*/ 0 h 1828800"/>
                <a:gd name="connsiteX2" fmla="*/ 0 w 1828800"/>
                <a:gd name="connsiteY2" fmla="*/ 1828800 h 1828800"/>
                <a:gd name="connsiteX3" fmla="*/ 0 w 1828800"/>
                <a:gd name="connsiteY3" fmla="*/ 1000390 h 1828800"/>
                <a:gd name="connsiteX4" fmla="*/ 1000390 w 1828800"/>
                <a:gd name="connsiteY4" fmla="*/ 0 h 18288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828800" h="1828800">
                  <a:moveTo>
                    <a:pt x="1000390" y="0"/>
                  </a:moveTo>
                  <a:lnTo>
                    <a:pt x="1828800" y="0"/>
                  </a:lnTo>
                  <a:cubicBezTo>
                    <a:pt x="1828800" y="1010018"/>
                    <a:pt x="1010018" y="1828800"/>
                    <a:pt x="0" y="1828800"/>
                  </a:cubicBezTo>
                  <a:lnTo>
                    <a:pt x="0" y="1000390"/>
                  </a:lnTo>
                  <a:cubicBezTo>
                    <a:pt x="552500" y="1000390"/>
                    <a:pt x="1000390" y="552500"/>
                    <a:pt x="100039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弧形 10">
              <a:extLst>
                <a:ext uri="{FF2B5EF4-FFF2-40B4-BE49-F238E27FC236}">
                  <a16:creationId xmlns:a16="http://schemas.microsoft.com/office/drawing/2014/main" id="{8739F28E-EABA-44C2-8292-FBA564871727}"/>
                </a:ext>
              </a:extLst>
            </p:cNvPr>
            <p:cNvSpPr/>
            <p:nvPr/>
          </p:nvSpPr>
          <p:spPr>
            <a:xfrm>
              <a:off x="5282736" y="2997348"/>
              <a:ext cx="1626528" cy="1626528"/>
            </a:xfrm>
            <a:prstGeom prst="arc">
              <a:avLst>
                <a:gd name="adj1" fmla="val 16200000"/>
                <a:gd name="adj2" fmla="val 12593692"/>
              </a:avLst>
            </a:prstGeom>
            <a:ln w="101600" cap="rnd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D59817A-C56A-4B32-97B6-B281EBF7A8BB}"/>
                </a:ext>
              </a:extLst>
            </p:cNvPr>
            <p:cNvSpPr txBox="1"/>
            <p:nvPr/>
          </p:nvSpPr>
          <p:spPr>
            <a:xfrm>
              <a:off x="5353053" y="3919089"/>
              <a:ext cx="1485898" cy="323165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normAutofit/>
            </a:bodyPr>
            <a:lstStyle/>
            <a:p>
              <a:pPr algn="ctr">
                <a:spcBef>
                  <a:spcPct val="0"/>
                </a:spcBef>
              </a:pPr>
              <a:r>
                <a:rPr lang="en-US" altLang="zh-CN" sz="1200">
                  <a:cs typeface="+mn-ea"/>
                  <a:sym typeface="+mn-lt"/>
                </a:rPr>
                <a:t>…Text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5F7CADFF-8E57-4883-9FCD-4503AFDC63ED}"/>
                </a:ext>
              </a:extLst>
            </p:cNvPr>
            <p:cNvSpPr/>
            <p:nvPr/>
          </p:nvSpPr>
          <p:spPr>
            <a:xfrm>
              <a:off x="5643795" y="3391769"/>
              <a:ext cx="904414" cy="523006"/>
            </a:xfrm>
            <a:prstGeom prst="rect">
              <a:avLst/>
            </a:prstGeom>
          </p:spPr>
          <p:txBody>
            <a:bodyPr wrap="square" lIns="91440" tIns="45720" rIns="91440" bIns="45720" anchor="ctr">
              <a:normAutofit/>
            </a:bodyPr>
            <a:lstStyle/>
            <a:p>
              <a:pPr lvl="0" algn="ctr"/>
              <a:r>
                <a:rPr lang="en-US" altLang="zh-CN" sz="2400" b="1">
                  <a:solidFill>
                    <a:sysClr val="windowText" lastClr="000000"/>
                  </a:solidFill>
                  <a:cs typeface="+mn-ea"/>
                  <a:sym typeface="+mn-lt"/>
                </a:rPr>
                <a:t>95%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04D955C7-B323-4907-959D-6EC05218B24B}"/>
                </a:ext>
              </a:extLst>
            </p:cNvPr>
            <p:cNvGrpSpPr/>
            <p:nvPr/>
          </p:nvGrpSpPr>
          <p:grpSpPr>
            <a:xfrm>
              <a:off x="4456743" y="2360898"/>
              <a:ext cx="636450" cy="636450"/>
              <a:chOff x="1781542" y="2092055"/>
              <a:chExt cx="1153768" cy="1153768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DE10733D-B809-4EE5-BEE5-77A36133EEE9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4FA2BB7B-1612-442A-A376-AA336644F8BA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4FA114BC-AA1A-477E-965F-1BAA91215E3A}"/>
                </a:ext>
              </a:extLst>
            </p:cNvPr>
            <p:cNvGrpSpPr/>
            <p:nvPr/>
          </p:nvGrpSpPr>
          <p:grpSpPr>
            <a:xfrm>
              <a:off x="7111536" y="2360898"/>
              <a:ext cx="636450" cy="636450"/>
              <a:chOff x="1781542" y="2092055"/>
              <a:chExt cx="1153768" cy="115376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DEA5D0FD-E46F-4887-AF23-769BDC3216AB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C4EBF9A7-C54B-4F6A-AB81-FA33D90D89A0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BA92B6D0-7F15-40FC-AF81-0E1A7BFFC63A}"/>
                </a:ext>
              </a:extLst>
            </p:cNvPr>
            <p:cNvGrpSpPr/>
            <p:nvPr/>
          </p:nvGrpSpPr>
          <p:grpSpPr>
            <a:xfrm>
              <a:off x="4456743" y="4623876"/>
              <a:ext cx="636450" cy="636450"/>
              <a:chOff x="1781542" y="2092055"/>
              <a:chExt cx="1153768" cy="115376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CDA0A867-E89F-44C8-9322-67E8D3FD4096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D991D603-92F2-42DD-AD05-E4E12D3A4697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099D45F-AE68-465E-BA44-9A9EE9A3BEB8}"/>
                </a:ext>
              </a:extLst>
            </p:cNvPr>
            <p:cNvGrpSpPr/>
            <p:nvPr/>
          </p:nvGrpSpPr>
          <p:grpSpPr>
            <a:xfrm>
              <a:off x="7111536" y="4623876"/>
              <a:ext cx="636450" cy="636450"/>
              <a:chOff x="1781542" y="2092055"/>
              <a:chExt cx="1153768" cy="1153768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300C882C-C300-4615-A670-891182A293F4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38100" cap="rnd">
                <a:solidFill>
                  <a:schemeClr val="bg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8E087CE9-CFA1-4AC0-AE02-0E8D788D2C0F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18" name="直接连接符 17">
              <a:extLst>
                <a:ext uri="{FF2B5EF4-FFF2-40B4-BE49-F238E27FC236}">
                  <a16:creationId xmlns:a16="http://schemas.microsoft.com/office/drawing/2014/main" id="{75148CCF-4C7D-438E-9B28-E584D8A402FE}"/>
                </a:ext>
              </a:extLst>
            </p:cNvPr>
            <p:cNvCxnSpPr>
              <a:cxnSpLocks/>
            </p:cNvCxnSpPr>
            <p:nvPr/>
          </p:nvCxnSpPr>
          <p:spPr>
            <a:xfrm>
              <a:off x="8047038" y="3810612"/>
              <a:ext cx="3473450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BEA74819-78CE-4708-A975-B3207BD8D2EB}"/>
                </a:ext>
              </a:extLst>
            </p:cNvPr>
            <p:cNvGrpSpPr/>
            <p:nvPr/>
          </p:nvGrpSpPr>
          <p:grpSpPr>
            <a:xfrm>
              <a:off x="963044" y="2165255"/>
              <a:ext cx="2621280" cy="1226514"/>
              <a:chOff x="660400" y="1766959"/>
              <a:chExt cx="2011803" cy="1226514"/>
            </a:xfrm>
          </p:grpSpPr>
          <p:sp>
            <p:nvSpPr>
              <p:cNvPr id="29" name="文本框 28">
                <a:extLst>
                  <a:ext uri="{FF2B5EF4-FFF2-40B4-BE49-F238E27FC236}">
                    <a16:creationId xmlns:a16="http://schemas.microsoft.com/office/drawing/2014/main" id="{B3659473-2D64-41EE-919B-6B4D5B7426F3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F9FE30CC-EAFE-45E4-87D3-4D46999E9AF5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551A10DD-665B-4FD3-9053-F49541EA7B22}"/>
                </a:ext>
              </a:extLst>
            </p:cNvPr>
            <p:cNvGrpSpPr/>
            <p:nvPr/>
          </p:nvGrpSpPr>
          <p:grpSpPr>
            <a:xfrm>
              <a:off x="963044" y="4412898"/>
              <a:ext cx="2621280" cy="1226514"/>
              <a:chOff x="660400" y="1766959"/>
              <a:chExt cx="2011803" cy="1226514"/>
            </a:xfrm>
          </p:grpSpPr>
          <p:sp>
            <p:nvSpPr>
              <p:cNvPr id="27" name="文本框 26">
                <a:extLst>
                  <a:ext uri="{FF2B5EF4-FFF2-40B4-BE49-F238E27FC236}">
                    <a16:creationId xmlns:a16="http://schemas.microsoft.com/office/drawing/2014/main" id="{F434EF19-A701-4CD5-BEAA-6E56EEE939B1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E8F48B72-40DE-4CAD-93FB-90A8B8F5EC8E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6D2D475-5559-45E7-BD84-327353A7E09D}"/>
                </a:ext>
              </a:extLst>
            </p:cNvPr>
            <p:cNvGrpSpPr/>
            <p:nvPr/>
          </p:nvGrpSpPr>
          <p:grpSpPr>
            <a:xfrm>
              <a:off x="8563994" y="2165255"/>
              <a:ext cx="2621280" cy="1226514"/>
              <a:chOff x="660400" y="1766959"/>
              <a:chExt cx="2011803" cy="1226514"/>
            </a:xfrm>
          </p:grpSpPr>
          <p:sp>
            <p:nvSpPr>
              <p:cNvPr id="25" name="文本框 24">
                <a:extLst>
                  <a:ext uri="{FF2B5EF4-FFF2-40B4-BE49-F238E27FC236}">
                    <a16:creationId xmlns:a16="http://schemas.microsoft.com/office/drawing/2014/main" id="{D353C37F-1BB3-4859-84CA-3C18A1E35F2F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878F2FDE-5B00-44C5-A6F2-7EC82C751987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4E6D90B4-B490-4EE4-B91C-DE0FE3B1E8C9}"/>
                </a:ext>
              </a:extLst>
            </p:cNvPr>
            <p:cNvGrpSpPr/>
            <p:nvPr/>
          </p:nvGrpSpPr>
          <p:grpSpPr>
            <a:xfrm>
              <a:off x="8563994" y="4412898"/>
              <a:ext cx="2621280" cy="1226514"/>
              <a:chOff x="660400" y="1766959"/>
              <a:chExt cx="2011803" cy="1226514"/>
            </a:xfrm>
          </p:grpSpPr>
          <p:sp>
            <p:nvSpPr>
              <p:cNvPr id="23" name="文本框 22">
                <a:extLst>
                  <a:ext uri="{FF2B5EF4-FFF2-40B4-BE49-F238E27FC236}">
                    <a16:creationId xmlns:a16="http://schemas.microsoft.com/office/drawing/2014/main" id="{08798F12-C223-4B3E-8781-BA04E712478C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07DC874F-BD58-4307-8718-F60EA83DD194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85305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DE59E3F-6E9B-4506-9578-A3948B116C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B1A8135-3940-4EDF-93A2-CFF70FD920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324610B5-24C9-4804-BAD7-820CFBF1E2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1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B84AC07C-5123-4126-A7F9-CCCC0F6665FF}"/>
              </a:ext>
            </a:extLst>
          </p:cNvPr>
          <p:cNvGrpSpPr>
            <a:grpSpLocks noChangeAspect="1"/>
          </p:cNvGrpSpPr>
          <p:nvPr/>
        </p:nvGrpSpPr>
        <p:grpSpPr>
          <a:xfrm>
            <a:off x="963044" y="1454446"/>
            <a:ext cx="10555856" cy="4381204"/>
            <a:chOff x="963044" y="1454446"/>
            <a:chExt cx="10555856" cy="4381204"/>
          </a:xfrm>
        </p:grpSpPr>
        <p:sp>
          <p:nvSpPr>
            <p:cNvPr id="6" name="文本框 5">
              <a:extLst>
                <a:ext uri="{FF2B5EF4-FFF2-40B4-BE49-F238E27FC236}">
                  <a16:creationId xmlns:a16="http://schemas.microsoft.com/office/drawing/2014/main" id="{57B6000A-BC26-4226-9679-D7E0ABB9EB17}"/>
                </a:ext>
              </a:extLst>
            </p:cNvPr>
            <p:cNvSpPr txBox="1"/>
            <p:nvPr/>
          </p:nvSpPr>
          <p:spPr>
            <a:xfrm>
              <a:off x="9305925" y="1685289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 dirty="0">
                  <a:cs typeface="+mn-ea"/>
                  <a:sym typeface="+mn-lt"/>
                </a:rPr>
                <a:t>Supporting </a:t>
              </a:r>
              <a:r>
                <a:rPr lang="en-US" altLang="zh-CN">
                  <a:cs typeface="+mn-ea"/>
                  <a:sym typeface="+mn-lt"/>
                </a:rPr>
                <a:t>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3233B575-1BF3-4794-8025-9ECCF325317C}"/>
                </a:ext>
              </a:extLst>
            </p:cNvPr>
            <p:cNvSpPr txBox="1"/>
            <p:nvPr/>
          </p:nvSpPr>
          <p:spPr>
            <a:xfrm>
              <a:off x="9305925" y="2556391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379FA9ED-2A36-4C2F-8BD5-6D0F80FD81F7}"/>
                </a:ext>
              </a:extLst>
            </p:cNvPr>
            <p:cNvSpPr txBox="1"/>
            <p:nvPr/>
          </p:nvSpPr>
          <p:spPr>
            <a:xfrm>
              <a:off x="9305925" y="3427492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9" name="文本框 8">
              <a:extLst>
                <a:ext uri="{FF2B5EF4-FFF2-40B4-BE49-F238E27FC236}">
                  <a16:creationId xmlns:a16="http://schemas.microsoft.com/office/drawing/2014/main" id="{88A62A2B-6CA5-44F6-966C-3589C572843A}"/>
                </a:ext>
              </a:extLst>
            </p:cNvPr>
            <p:cNvSpPr txBox="1"/>
            <p:nvPr/>
          </p:nvSpPr>
          <p:spPr>
            <a:xfrm>
              <a:off x="9305925" y="4298594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80B6B95E-0886-4E02-B393-4BB8A08692E6}"/>
                </a:ext>
              </a:extLst>
            </p:cNvPr>
            <p:cNvSpPr txBox="1"/>
            <p:nvPr/>
          </p:nvSpPr>
          <p:spPr>
            <a:xfrm>
              <a:off x="9305925" y="5169695"/>
              <a:ext cx="2212975" cy="640259"/>
            </a:xfrm>
            <a:prstGeom prst="rect">
              <a:avLst/>
            </a:prstGeom>
            <a:noFill/>
            <a:ln w="3175">
              <a:noFill/>
            </a:ln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algn="ctr" defTabSz="609585">
                <a:lnSpc>
                  <a:spcPct val="150000"/>
                </a:lnSpc>
                <a:spcBef>
                  <a:spcPct val="0"/>
                </a:spcBef>
                <a:defRPr sz="1100"/>
              </a:lvl1pPr>
              <a:lvl2pPr marL="609585" defTabSz="609585">
                <a:defRPr sz="2400"/>
              </a:lvl2pPr>
              <a:lvl3pPr marL="1219170" defTabSz="609585">
                <a:defRPr sz="2400"/>
              </a:lvl3pPr>
              <a:lvl4pPr marL="1828754" defTabSz="609585">
                <a:defRPr sz="2400"/>
              </a:lvl4pPr>
              <a:lvl5pPr marL="2438339" defTabSz="609585">
                <a:defRPr sz="2400"/>
              </a:lvl5pPr>
              <a:lvl6pPr marL="3047924" defTabSz="609585">
                <a:defRPr sz="2400"/>
              </a:lvl6pPr>
              <a:lvl7pPr marL="3657509" defTabSz="609585">
                <a:defRPr sz="2400"/>
              </a:lvl7pPr>
              <a:lvl8pPr marL="4267093" defTabSz="609585">
                <a:defRPr sz="2400"/>
              </a:lvl8pPr>
              <a:lvl9pPr marL="4876678" defTabSz="609585">
                <a:defRPr sz="2400"/>
              </a:lvl9pPr>
            </a:lstStyle>
            <a:p>
              <a:pPr algn="r"/>
              <a:r>
                <a:rPr lang="en-US" altLang="zh-CN">
                  <a:cs typeface="+mn-ea"/>
                  <a:sym typeface="+mn-lt"/>
                </a:rPr>
                <a:t>Supporting text here.</a:t>
              </a:r>
            </a:p>
            <a:p>
              <a:pPr algn="r"/>
              <a:r>
                <a:rPr lang="en-US" altLang="zh-CN">
                  <a:cs typeface="+mn-ea"/>
                  <a:sym typeface="+mn-lt"/>
                </a:rPr>
                <a:t>… …</a:t>
              </a:r>
              <a:endParaRPr lang="en-US" altLang="zh-CN" dirty="0">
                <a:cs typeface="+mn-ea"/>
                <a:sym typeface="+mn-lt"/>
              </a:endParaRPr>
            </a:p>
          </p:txBody>
        </p: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AC01876B-18FA-4F16-A001-E570FFFC922E}"/>
                </a:ext>
              </a:extLst>
            </p:cNvPr>
            <p:cNvCxnSpPr>
              <a:stCxn id="16" idx="0"/>
            </p:cNvCxnSpPr>
            <p:nvPr/>
          </p:nvCxnSpPr>
          <p:spPr>
            <a:xfrm>
              <a:off x="5584411" y="2325548"/>
              <a:ext cx="593448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0402676D-E47F-4CE6-BC8D-4756E2635FDF}"/>
                </a:ext>
              </a:extLst>
            </p:cNvPr>
            <p:cNvCxnSpPr>
              <a:stCxn id="17" idx="0"/>
            </p:cNvCxnSpPr>
            <p:nvPr/>
          </p:nvCxnSpPr>
          <p:spPr>
            <a:xfrm>
              <a:off x="5079172" y="3196649"/>
              <a:ext cx="643972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3331760B-05E2-4467-A0D7-F4F757B4508E}"/>
                </a:ext>
              </a:extLst>
            </p:cNvPr>
            <p:cNvCxnSpPr>
              <a:stCxn id="18" idx="0"/>
            </p:cNvCxnSpPr>
            <p:nvPr/>
          </p:nvCxnSpPr>
          <p:spPr>
            <a:xfrm>
              <a:off x="4573933" y="4067751"/>
              <a:ext cx="6944967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882A8E9D-56EE-47EA-8DD0-865B50368EFA}"/>
                </a:ext>
              </a:extLst>
            </p:cNvPr>
            <p:cNvCxnSpPr>
              <a:stCxn id="19" idx="0"/>
            </p:cNvCxnSpPr>
            <p:nvPr/>
          </p:nvCxnSpPr>
          <p:spPr>
            <a:xfrm>
              <a:off x="4068694" y="4938852"/>
              <a:ext cx="745020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4973146A-BADB-4F9B-A1DB-B447A3EC4775}"/>
                </a:ext>
              </a:extLst>
            </p:cNvPr>
            <p:cNvSpPr/>
            <p:nvPr/>
          </p:nvSpPr>
          <p:spPr>
            <a:xfrm>
              <a:off x="5584411" y="1454446"/>
              <a:ext cx="1010478" cy="871102"/>
            </a:xfrm>
            <a:custGeom>
              <a:avLst/>
              <a:gdLst>
                <a:gd name="connsiteX0" fmla="*/ 543195 w 1086391"/>
                <a:gd name="connsiteY0" fmla="*/ 0 h 936544"/>
                <a:gd name="connsiteX1" fmla="*/ 1086391 w 1086391"/>
                <a:gd name="connsiteY1" fmla="*/ 936544 h 936544"/>
                <a:gd name="connsiteX2" fmla="*/ 0 w 1086391"/>
                <a:gd name="connsiteY2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086391" h="936544">
                  <a:moveTo>
                    <a:pt x="543195" y="0"/>
                  </a:moveTo>
                  <a:lnTo>
                    <a:pt x="1086391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accent1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 dirty="0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A8D31178-4E86-40D2-B541-B028B51C5F07}"/>
                </a:ext>
              </a:extLst>
            </p:cNvPr>
            <p:cNvSpPr/>
            <p:nvPr/>
          </p:nvSpPr>
          <p:spPr>
            <a:xfrm>
              <a:off x="5079172" y="2325548"/>
              <a:ext cx="2020956" cy="871102"/>
            </a:xfrm>
            <a:custGeom>
              <a:avLst/>
              <a:gdLst>
                <a:gd name="connsiteX0" fmla="*/ 543196 w 2172782"/>
                <a:gd name="connsiteY0" fmla="*/ 0 h 936544"/>
                <a:gd name="connsiteX1" fmla="*/ 1629587 w 2172782"/>
                <a:gd name="connsiteY1" fmla="*/ 0 h 936544"/>
                <a:gd name="connsiteX2" fmla="*/ 2172782 w 2172782"/>
                <a:gd name="connsiteY2" fmla="*/ 936544 h 936544"/>
                <a:gd name="connsiteX3" fmla="*/ 0 w 2172782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172782" h="936544">
                  <a:moveTo>
                    <a:pt x="543196" y="0"/>
                  </a:moveTo>
                  <a:lnTo>
                    <a:pt x="1629587" y="0"/>
                  </a:lnTo>
                  <a:lnTo>
                    <a:pt x="2172782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10119672-47C8-4429-8E00-E79AE68B45EC}"/>
                </a:ext>
              </a:extLst>
            </p:cNvPr>
            <p:cNvSpPr/>
            <p:nvPr/>
          </p:nvSpPr>
          <p:spPr>
            <a:xfrm>
              <a:off x="4573934" y="3196649"/>
              <a:ext cx="3031433" cy="871102"/>
            </a:xfrm>
            <a:custGeom>
              <a:avLst/>
              <a:gdLst>
                <a:gd name="connsiteX0" fmla="*/ 543195 w 3259173"/>
                <a:gd name="connsiteY0" fmla="*/ 0 h 936544"/>
                <a:gd name="connsiteX1" fmla="*/ 2715977 w 3259173"/>
                <a:gd name="connsiteY1" fmla="*/ 0 h 936544"/>
                <a:gd name="connsiteX2" fmla="*/ 3259173 w 3259173"/>
                <a:gd name="connsiteY2" fmla="*/ 936544 h 936544"/>
                <a:gd name="connsiteX3" fmla="*/ 0 w 3259173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59173" h="936544">
                  <a:moveTo>
                    <a:pt x="543195" y="0"/>
                  </a:moveTo>
                  <a:lnTo>
                    <a:pt x="2715977" y="0"/>
                  </a:lnTo>
                  <a:lnTo>
                    <a:pt x="3259173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 dirty="0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AFBFFBC4-DCC6-4B42-967A-72E895E1344F}"/>
                </a:ext>
              </a:extLst>
            </p:cNvPr>
            <p:cNvSpPr/>
            <p:nvPr/>
          </p:nvSpPr>
          <p:spPr>
            <a:xfrm>
              <a:off x="4068694" y="4067751"/>
              <a:ext cx="4041912" cy="871102"/>
            </a:xfrm>
            <a:custGeom>
              <a:avLst/>
              <a:gdLst>
                <a:gd name="connsiteX0" fmla="*/ 543196 w 4345565"/>
                <a:gd name="connsiteY0" fmla="*/ 0 h 936544"/>
                <a:gd name="connsiteX1" fmla="*/ 3802369 w 4345565"/>
                <a:gd name="connsiteY1" fmla="*/ 0 h 936544"/>
                <a:gd name="connsiteX2" fmla="*/ 4345565 w 4345565"/>
                <a:gd name="connsiteY2" fmla="*/ 936544 h 936544"/>
                <a:gd name="connsiteX3" fmla="*/ 0 w 4345565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345565" h="936544">
                  <a:moveTo>
                    <a:pt x="543196" y="0"/>
                  </a:moveTo>
                  <a:lnTo>
                    <a:pt x="3802369" y="0"/>
                  </a:lnTo>
                  <a:lnTo>
                    <a:pt x="4345565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 dirty="0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B10E98D2-75F0-4552-84A5-8FD2D2C63118}"/>
                </a:ext>
              </a:extLst>
            </p:cNvPr>
            <p:cNvSpPr/>
            <p:nvPr/>
          </p:nvSpPr>
          <p:spPr>
            <a:xfrm>
              <a:off x="3563455" y="4938852"/>
              <a:ext cx="5052390" cy="871102"/>
            </a:xfrm>
            <a:custGeom>
              <a:avLst/>
              <a:gdLst>
                <a:gd name="connsiteX0" fmla="*/ 543196 w 5431956"/>
                <a:gd name="connsiteY0" fmla="*/ 0 h 936544"/>
                <a:gd name="connsiteX1" fmla="*/ 4888761 w 5431956"/>
                <a:gd name="connsiteY1" fmla="*/ 0 h 936544"/>
                <a:gd name="connsiteX2" fmla="*/ 5431956 w 5431956"/>
                <a:gd name="connsiteY2" fmla="*/ 936544 h 936544"/>
                <a:gd name="connsiteX3" fmla="*/ 0 w 5431956"/>
                <a:gd name="connsiteY3" fmla="*/ 936544 h 936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431956" h="936544">
                  <a:moveTo>
                    <a:pt x="543196" y="0"/>
                  </a:moveTo>
                  <a:lnTo>
                    <a:pt x="4888761" y="0"/>
                  </a:lnTo>
                  <a:lnTo>
                    <a:pt x="5431956" y="936544"/>
                  </a:lnTo>
                  <a:lnTo>
                    <a:pt x="0" y="936544"/>
                  </a:lnTo>
                  <a:close/>
                </a:path>
              </a:pathLst>
            </a:custGeom>
            <a:solidFill>
              <a:schemeClr val="accent2"/>
            </a:solidFill>
            <a:ln w="57150" cap="rnd">
              <a:solidFill>
                <a:schemeClr val="bg1"/>
              </a:solidFill>
              <a:prstDash val="solid"/>
              <a:round/>
              <a:headEnd/>
              <a:tailEnd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rmAutofit/>
            </a:bodyPr>
            <a:lstStyle/>
            <a:p>
              <a:pPr algn="ctr" defTabSz="914354">
                <a:lnSpc>
                  <a:spcPct val="150000"/>
                </a:lnSpc>
              </a:pPr>
              <a:r>
                <a:rPr lang="en-US" altLang="zh-CN" sz="1100" b="1" i="1">
                  <a:solidFill>
                    <a:schemeClr val="bg1"/>
                  </a:solidFill>
                  <a:cs typeface="+mn-ea"/>
                  <a:sym typeface="+mn-lt"/>
                </a:rPr>
                <a:t>Text</a:t>
              </a:r>
              <a:endParaRPr lang="zh-CN" altLang="en-US" sz="1100" b="1" i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15520820-1EED-47E1-BD5A-37C855BA89ED}"/>
                </a:ext>
              </a:extLst>
            </p:cNvPr>
            <p:cNvGrpSpPr/>
            <p:nvPr/>
          </p:nvGrpSpPr>
          <p:grpSpPr>
            <a:xfrm>
              <a:off x="1955459" y="1533823"/>
              <a:ext cx="636450" cy="636450"/>
              <a:chOff x="1781542" y="2092055"/>
              <a:chExt cx="1153768" cy="1153768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E670A388-D5A2-499E-A12B-D56FE159EC2E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E7FED716-0C24-443C-9A4A-74C51724E3C7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17AF0A7E-7599-4E74-99F1-DEF28509CF28}"/>
                </a:ext>
              </a:extLst>
            </p:cNvPr>
            <p:cNvGrpSpPr/>
            <p:nvPr/>
          </p:nvGrpSpPr>
          <p:grpSpPr>
            <a:xfrm>
              <a:off x="963044" y="2202690"/>
              <a:ext cx="2621280" cy="1226514"/>
              <a:chOff x="660400" y="1766959"/>
              <a:chExt cx="2011803" cy="1226514"/>
            </a:xfrm>
          </p:grpSpPr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7BA08205-F50D-4BB3-B6D3-FD1EF2184718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6701C2B5-535B-4D26-B64D-08884521A5CB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1822568C-6E56-4445-8B13-7D7AD7891093}"/>
                </a:ext>
              </a:extLst>
            </p:cNvPr>
            <p:cNvGrpSpPr/>
            <p:nvPr/>
          </p:nvGrpSpPr>
          <p:grpSpPr>
            <a:xfrm>
              <a:off x="1955459" y="3940269"/>
              <a:ext cx="636450" cy="636450"/>
              <a:chOff x="1781542" y="2092055"/>
              <a:chExt cx="1153768" cy="1153768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6ACF031B-88C6-4C85-8CE6-51D42034B657}"/>
                  </a:ext>
                </a:extLst>
              </p:cNvPr>
              <p:cNvSpPr/>
              <p:nvPr/>
            </p:nvSpPr>
            <p:spPr>
              <a:xfrm>
                <a:off x="1781542" y="2092055"/>
                <a:ext cx="1153768" cy="1153768"/>
              </a:xfrm>
              <a:prstGeom prst="ellipse">
                <a:avLst/>
              </a:prstGeom>
              <a:solidFill>
                <a:schemeClr val="bg1">
                  <a:lumMod val="95000"/>
                </a:schemeClr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77926512-C977-4842-9F6F-95C6C946E9E5}"/>
                  </a:ext>
                </a:extLst>
              </p:cNvPr>
              <p:cNvSpPr/>
              <p:nvPr/>
            </p:nvSpPr>
            <p:spPr>
              <a:xfrm>
                <a:off x="2096566" y="2379192"/>
                <a:ext cx="523720" cy="579494"/>
              </a:xfrm>
              <a:custGeom>
                <a:avLst/>
                <a:gdLst>
                  <a:gd name="connsiteX0" fmla="*/ 481589 w 546670"/>
                  <a:gd name="connsiteY0" fmla="*/ 391913 h 604887"/>
                  <a:gd name="connsiteX1" fmla="*/ 451551 w 546670"/>
                  <a:gd name="connsiteY1" fmla="*/ 406688 h 604887"/>
                  <a:gd name="connsiteX2" fmla="*/ 375678 w 546670"/>
                  <a:gd name="connsiteY2" fmla="*/ 429906 h 604887"/>
                  <a:gd name="connsiteX3" fmla="*/ 352427 w 546670"/>
                  <a:gd name="connsiteY3" fmla="*/ 505670 h 604887"/>
                  <a:gd name="connsiteX4" fmla="*/ 337631 w 546670"/>
                  <a:gd name="connsiteY4" fmla="*/ 535554 h 604887"/>
                  <a:gd name="connsiteX5" fmla="*/ 481589 w 546670"/>
                  <a:gd name="connsiteY5" fmla="*/ 391913 h 604887"/>
                  <a:gd name="connsiteX6" fmla="*/ 384133 w 546670"/>
                  <a:gd name="connsiteY6" fmla="*/ 226609 h 604887"/>
                  <a:gd name="connsiteX7" fmla="*/ 388361 w 546670"/>
                  <a:gd name="connsiteY7" fmla="*/ 302373 h 604887"/>
                  <a:gd name="connsiteX8" fmla="*/ 384133 w 546670"/>
                  <a:gd name="connsiteY8" fmla="*/ 378137 h 604887"/>
                  <a:gd name="connsiteX9" fmla="*/ 432639 w 546670"/>
                  <a:gd name="connsiteY9" fmla="*/ 362029 h 604887"/>
                  <a:gd name="connsiteX10" fmla="*/ 498165 w 546670"/>
                  <a:gd name="connsiteY10" fmla="*/ 302373 h 604887"/>
                  <a:gd name="connsiteX11" fmla="*/ 432639 w 546670"/>
                  <a:gd name="connsiteY11" fmla="*/ 242717 h 604887"/>
                  <a:gd name="connsiteX12" fmla="*/ 384133 w 546670"/>
                  <a:gd name="connsiteY12" fmla="*/ 226609 h 604887"/>
                  <a:gd name="connsiteX13" fmla="*/ 135706 w 546670"/>
                  <a:gd name="connsiteY13" fmla="*/ 175523 h 604887"/>
                  <a:gd name="connsiteX14" fmla="*/ 126473 w 546670"/>
                  <a:gd name="connsiteY14" fmla="*/ 178856 h 604887"/>
                  <a:gd name="connsiteX15" fmla="*/ 123248 w 546670"/>
                  <a:gd name="connsiteY15" fmla="*/ 182633 h 604887"/>
                  <a:gd name="connsiteX16" fmla="*/ 123248 w 546670"/>
                  <a:gd name="connsiteY16" fmla="*/ 192075 h 604887"/>
                  <a:gd name="connsiteX17" fmla="*/ 121801 w 546670"/>
                  <a:gd name="connsiteY17" fmla="*/ 193075 h 604887"/>
                  <a:gd name="connsiteX18" fmla="*/ 120912 w 546670"/>
                  <a:gd name="connsiteY18" fmla="*/ 196075 h 604887"/>
                  <a:gd name="connsiteX19" fmla="*/ 122914 w 546670"/>
                  <a:gd name="connsiteY19" fmla="*/ 216404 h 604887"/>
                  <a:gd name="connsiteX20" fmla="*/ 125695 w 546670"/>
                  <a:gd name="connsiteY20" fmla="*/ 219737 h 604887"/>
                  <a:gd name="connsiteX21" fmla="*/ 126807 w 546670"/>
                  <a:gd name="connsiteY21" fmla="*/ 219848 h 604887"/>
                  <a:gd name="connsiteX22" fmla="*/ 129810 w 546670"/>
                  <a:gd name="connsiteY22" fmla="*/ 218293 h 604887"/>
                  <a:gd name="connsiteX23" fmla="*/ 140600 w 546670"/>
                  <a:gd name="connsiteY23" fmla="*/ 204073 h 604887"/>
                  <a:gd name="connsiteX24" fmla="*/ 141379 w 546670"/>
                  <a:gd name="connsiteY24" fmla="*/ 201740 h 604887"/>
                  <a:gd name="connsiteX25" fmla="*/ 141379 w 546670"/>
                  <a:gd name="connsiteY25" fmla="*/ 178856 h 604887"/>
                  <a:gd name="connsiteX26" fmla="*/ 139488 w 546670"/>
                  <a:gd name="connsiteY26" fmla="*/ 175634 h 604887"/>
                  <a:gd name="connsiteX27" fmla="*/ 135706 w 546670"/>
                  <a:gd name="connsiteY27" fmla="*/ 175523 h 604887"/>
                  <a:gd name="connsiteX28" fmla="*/ 87208 w 546670"/>
                  <a:gd name="connsiteY28" fmla="*/ 175523 h 604887"/>
                  <a:gd name="connsiteX29" fmla="*/ 83537 w 546670"/>
                  <a:gd name="connsiteY29" fmla="*/ 175634 h 604887"/>
                  <a:gd name="connsiteX30" fmla="*/ 81646 w 546670"/>
                  <a:gd name="connsiteY30" fmla="*/ 178856 h 604887"/>
                  <a:gd name="connsiteX31" fmla="*/ 81646 w 546670"/>
                  <a:gd name="connsiteY31" fmla="*/ 201740 h 604887"/>
                  <a:gd name="connsiteX32" fmla="*/ 82425 w 546670"/>
                  <a:gd name="connsiteY32" fmla="*/ 204073 h 604887"/>
                  <a:gd name="connsiteX33" fmla="*/ 93103 w 546670"/>
                  <a:gd name="connsiteY33" fmla="*/ 218293 h 604887"/>
                  <a:gd name="connsiteX34" fmla="*/ 96218 w 546670"/>
                  <a:gd name="connsiteY34" fmla="*/ 219848 h 604887"/>
                  <a:gd name="connsiteX35" fmla="*/ 97219 w 546670"/>
                  <a:gd name="connsiteY35" fmla="*/ 219737 h 604887"/>
                  <a:gd name="connsiteX36" fmla="*/ 100000 w 546670"/>
                  <a:gd name="connsiteY36" fmla="*/ 216404 h 604887"/>
                  <a:gd name="connsiteX37" fmla="*/ 102113 w 546670"/>
                  <a:gd name="connsiteY37" fmla="*/ 196075 h 604887"/>
                  <a:gd name="connsiteX38" fmla="*/ 101112 w 546670"/>
                  <a:gd name="connsiteY38" fmla="*/ 193075 h 604887"/>
                  <a:gd name="connsiteX39" fmla="*/ 99666 w 546670"/>
                  <a:gd name="connsiteY39" fmla="*/ 192075 h 604887"/>
                  <a:gd name="connsiteX40" fmla="*/ 99666 w 546670"/>
                  <a:gd name="connsiteY40" fmla="*/ 182633 h 604887"/>
                  <a:gd name="connsiteX41" fmla="*/ 96551 w 546670"/>
                  <a:gd name="connsiteY41" fmla="*/ 178856 h 604887"/>
                  <a:gd name="connsiteX42" fmla="*/ 87208 w 546670"/>
                  <a:gd name="connsiteY42" fmla="*/ 175523 h 604887"/>
                  <a:gd name="connsiteX43" fmla="*/ 93214 w 546670"/>
                  <a:gd name="connsiteY43" fmla="*/ 72653 h 604887"/>
                  <a:gd name="connsiteX44" fmla="*/ 66629 w 546670"/>
                  <a:gd name="connsiteY44" fmla="*/ 79652 h 604887"/>
                  <a:gd name="connsiteX45" fmla="*/ 64516 w 546670"/>
                  <a:gd name="connsiteY45" fmla="*/ 83096 h 604887"/>
                  <a:gd name="connsiteX46" fmla="*/ 64516 w 546670"/>
                  <a:gd name="connsiteY46" fmla="*/ 89872 h 604887"/>
                  <a:gd name="connsiteX47" fmla="*/ 62959 w 546670"/>
                  <a:gd name="connsiteY47" fmla="*/ 89872 h 604887"/>
                  <a:gd name="connsiteX48" fmla="*/ 59065 w 546670"/>
                  <a:gd name="connsiteY48" fmla="*/ 93761 h 604887"/>
                  <a:gd name="connsiteX49" fmla="*/ 59065 w 546670"/>
                  <a:gd name="connsiteY49" fmla="*/ 99982 h 604887"/>
                  <a:gd name="connsiteX50" fmla="*/ 60845 w 546670"/>
                  <a:gd name="connsiteY50" fmla="*/ 103203 h 604887"/>
                  <a:gd name="connsiteX51" fmla="*/ 64516 w 546670"/>
                  <a:gd name="connsiteY51" fmla="*/ 105647 h 604887"/>
                  <a:gd name="connsiteX52" fmla="*/ 64738 w 546670"/>
                  <a:gd name="connsiteY52" fmla="*/ 107202 h 604887"/>
                  <a:gd name="connsiteX53" fmla="*/ 78531 w 546670"/>
                  <a:gd name="connsiteY53" fmla="*/ 138974 h 604887"/>
                  <a:gd name="connsiteX54" fmla="*/ 101223 w 546670"/>
                  <a:gd name="connsiteY54" fmla="*/ 158526 h 604887"/>
                  <a:gd name="connsiteX55" fmla="*/ 121801 w 546670"/>
                  <a:gd name="connsiteY55" fmla="*/ 158526 h 604887"/>
                  <a:gd name="connsiteX56" fmla="*/ 144493 w 546670"/>
                  <a:gd name="connsiteY56" fmla="*/ 138974 h 604887"/>
                  <a:gd name="connsiteX57" fmla="*/ 158175 w 546670"/>
                  <a:gd name="connsiteY57" fmla="*/ 107202 h 604887"/>
                  <a:gd name="connsiteX58" fmla="*/ 158398 w 546670"/>
                  <a:gd name="connsiteY58" fmla="*/ 105647 h 604887"/>
                  <a:gd name="connsiteX59" fmla="*/ 162179 w 546670"/>
                  <a:gd name="connsiteY59" fmla="*/ 103203 h 604887"/>
                  <a:gd name="connsiteX60" fmla="*/ 163848 w 546670"/>
                  <a:gd name="connsiteY60" fmla="*/ 100093 h 604887"/>
                  <a:gd name="connsiteX61" fmla="*/ 163848 w 546670"/>
                  <a:gd name="connsiteY61" fmla="*/ 93761 h 604887"/>
                  <a:gd name="connsiteX62" fmla="*/ 160066 w 546670"/>
                  <a:gd name="connsiteY62" fmla="*/ 89872 h 604887"/>
                  <a:gd name="connsiteX63" fmla="*/ 157953 w 546670"/>
                  <a:gd name="connsiteY63" fmla="*/ 89872 h 604887"/>
                  <a:gd name="connsiteX64" fmla="*/ 156729 w 546670"/>
                  <a:gd name="connsiteY64" fmla="*/ 88650 h 604887"/>
                  <a:gd name="connsiteX65" fmla="*/ 153058 w 546670"/>
                  <a:gd name="connsiteY65" fmla="*/ 88317 h 604887"/>
                  <a:gd name="connsiteX66" fmla="*/ 137930 w 546670"/>
                  <a:gd name="connsiteY66" fmla="*/ 91761 h 604887"/>
                  <a:gd name="connsiteX67" fmla="*/ 114460 w 546670"/>
                  <a:gd name="connsiteY67" fmla="*/ 81207 h 604887"/>
                  <a:gd name="connsiteX68" fmla="*/ 93214 w 546670"/>
                  <a:gd name="connsiteY68" fmla="*/ 72653 h 604887"/>
                  <a:gd name="connsiteX69" fmla="*/ 337631 w 546670"/>
                  <a:gd name="connsiteY69" fmla="*/ 69193 h 604887"/>
                  <a:gd name="connsiteX70" fmla="*/ 352427 w 546670"/>
                  <a:gd name="connsiteY70" fmla="*/ 99187 h 604887"/>
                  <a:gd name="connsiteX71" fmla="*/ 375678 w 546670"/>
                  <a:gd name="connsiteY71" fmla="*/ 174952 h 604887"/>
                  <a:gd name="connsiteX72" fmla="*/ 451551 w 546670"/>
                  <a:gd name="connsiteY72" fmla="*/ 198059 h 604887"/>
                  <a:gd name="connsiteX73" fmla="*/ 481589 w 546670"/>
                  <a:gd name="connsiteY73" fmla="*/ 212945 h 604887"/>
                  <a:gd name="connsiteX74" fmla="*/ 337631 w 546670"/>
                  <a:gd name="connsiteY74" fmla="*/ 69193 h 604887"/>
                  <a:gd name="connsiteX75" fmla="*/ 247963 w 546670"/>
                  <a:gd name="connsiteY75" fmla="*/ 4093 h 604887"/>
                  <a:gd name="connsiteX76" fmla="*/ 546670 w 546670"/>
                  <a:gd name="connsiteY76" fmla="*/ 302373 h 604887"/>
                  <a:gd name="connsiteX77" fmla="*/ 247963 w 546670"/>
                  <a:gd name="connsiteY77" fmla="*/ 600653 h 604887"/>
                  <a:gd name="connsiteX78" fmla="*/ 242957 w 546670"/>
                  <a:gd name="connsiteY78" fmla="*/ 600653 h 604887"/>
                  <a:gd name="connsiteX79" fmla="*/ 242957 w 546670"/>
                  <a:gd name="connsiteY79" fmla="*/ 551662 h 604887"/>
                  <a:gd name="connsiteX80" fmla="*/ 247963 w 546670"/>
                  <a:gd name="connsiteY80" fmla="*/ 552217 h 604887"/>
                  <a:gd name="connsiteX81" fmla="*/ 307705 w 546670"/>
                  <a:gd name="connsiteY81" fmla="*/ 486674 h 604887"/>
                  <a:gd name="connsiteX82" fmla="*/ 323836 w 546670"/>
                  <a:gd name="connsiteY82" fmla="*/ 438238 h 604887"/>
                  <a:gd name="connsiteX83" fmla="*/ 247963 w 546670"/>
                  <a:gd name="connsiteY83" fmla="*/ 442570 h 604887"/>
                  <a:gd name="connsiteX84" fmla="*/ 242957 w 546670"/>
                  <a:gd name="connsiteY84" fmla="*/ 442570 h 604887"/>
                  <a:gd name="connsiteX85" fmla="*/ 242957 w 546670"/>
                  <a:gd name="connsiteY85" fmla="*/ 394024 h 604887"/>
                  <a:gd name="connsiteX86" fmla="*/ 247963 w 546670"/>
                  <a:gd name="connsiteY86" fmla="*/ 394135 h 604887"/>
                  <a:gd name="connsiteX87" fmla="*/ 333848 w 546670"/>
                  <a:gd name="connsiteY87" fmla="*/ 388136 h 604887"/>
                  <a:gd name="connsiteX88" fmla="*/ 339856 w 546670"/>
                  <a:gd name="connsiteY88" fmla="*/ 302373 h 604887"/>
                  <a:gd name="connsiteX89" fmla="*/ 333848 w 546670"/>
                  <a:gd name="connsiteY89" fmla="*/ 216722 h 604887"/>
                  <a:gd name="connsiteX90" fmla="*/ 247963 w 546670"/>
                  <a:gd name="connsiteY90" fmla="*/ 210723 h 604887"/>
                  <a:gd name="connsiteX91" fmla="*/ 242957 w 546670"/>
                  <a:gd name="connsiteY91" fmla="*/ 210723 h 604887"/>
                  <a:gd name="connsiteX92" fmla="*/ 242957 w 546670"/>
                  <a:gd name="connsiteY92" fmla="*/ 162287 h 604887"/>
                  <a:gd name="connsiteX93" fmla="*/ 247963 w 546670"/>
                  <a:gd name="connsiteY93" fmla="*/ 162176 h 604887"/>
                  <a:gd name="connsiteX94" fmla="*/ 323836 w 546670"/>
                  <a:gd name="connsiteY94" fmla="*/ 166509 h 604887"/>
                  <a:gd name="connsiteX95" fmla="*/ 307705 w 546670"/>
                  <a:gd name="connsiteY95" fmla="*/ 118073 h 604887"/>
                  <a:gd name="connsiteX96" fmla="*/ 247963 w 546670"/>
                  <a:gd name="connsiteY96" fmla="*/ 52640 h 604887"/>
                  <a:gd name="connsiteX97" fmla="*/ 242957 w 546670"/>
                  <a:gd name="connsiteY97" fmla="*/ 53196 h 604887"/>
                  <a:gd name="connsiteX98" fmla="*/ 242957 w 546670"/>
                  <a:gd name="connsiteY98" fmla="*/ 4204 h 604887"/>
                  <a:gd name="connsiteX99" fmla="*/ 247963 w 546670"/>
                  <a:gd name="connsiteY99" fmla="*/ 4093 h 604887"/>
                  <a:gd name="connsiteX100" fmla="*/ 101779 w 546670"/>
                  <a:gd name="connsiteY100" fmla="*/ 0 h 604887"/>
                  <a:gd name="connsiteX101" fmla="*/ 121134 w 546670"/>
                  <a:gd name="connsiteY101" fmla="*/ 0 h 604887"/>
                  <a:gd name="connsiteX102" fmla="*/ 180978 w 546670"/>
                  <a:gd name="connsiteY102" fmla="*/ 59656 h 604887"/>
                  <a:gd name="connsiteX103" fmla="*/ 180978 w 546670"/>
                  <a:gd name="connsiteY103" fmla="*/ 78430 h 604887"/>
                  <a:gd name="connsiteX104" fmla="*/ 184315 w 546670"/>
                  <a:gd name="connsiteY104" fmla="*/ 89095 h 604887"/>
                  <a:gd name="connsiteX105" fmla="*/ 184315 w 546670"/>
                  <a:gd name="connsiteY105" fmla="*/ 102426 h 604887"/>
                  <a:gd name="connsiteX106" fmla="*/ 177752 w 546670"/>
                  <a:gd name="connsiteY106" fmla="*/ 116534 h 604887"/>
                  <a:gd name="connsiteX107" fmla="*/ 173859 w 546670"/>
                  <a:gd name="connsiteY107" fmla="*/ 126643 h 604887"/>
                  <a:gd name="connsiteX108" fmla="*/ 161067 w 546670"/>
                  <a:gd name="connsiteY108" fmla="*/ 150861 h 604887"/>
                  <a:gd name="connsiteX109" fmla="*/ 152502 w 546670"/>
                  <a:gd name="connsiteY109" fmla="*/ 161748 h 604887"/>
                  <a:gd name="connsiteX110" fmla="*/ 160400 w 546670"/>
                  <a:gd name="connsiteY110" fmla="*/ 167747 h 604887"/>
                  <a:gd name="connsiteX111" fmla="*/ 204115 w 546670"/>
                  <a:gd name="connsiteY111" fmla="*/ 176412 h 604887"/>
                  <a:gd name="connsiteX112" fmla="*/ 223692 w 546670"/>
                  <a:gd name="connsiteY112" fmla="*/ 200407 h 604887"/>
                  <a:gd name="connsiteX113" fmla="*/ 223692 w 546670"/>
                  <a:gd name="connsiteY113" fmla="*/ 358044 h 604887"/>
                  <a:gd name="connsiteX114" fmla="*/ 221467 w 546670"/>
                  <a:gd name="connsiteY114" fmla="*/ 368265 h 604887"/>
                  <a:gd name="connsiteX115" fmla="*/ 221467 w 546670"/>
                  <a:gd name="connsiteY115" fmla="*/ 385484 h 604887"/>
                  <a:gd name="connsiteX116" fmla="*/ 200110 w 546670"/>
                  <a:gd name="connsiteY116" fmla="*/ 406813 h 604887"/>
                  <a:gd name="connsiteX117" fmla="*/ 188431 w 546670"/>
                  <a:gd name="connsiteY117" fmla="*/ 403369 h 604887"/>
                  <a:gd name="connsiteX118" fmla="*/ 188431 w 546670"/>
                  <a:gd name="connsiteY118" fmla="*/ 566561 h 604887"/>
                  <a:gd name="connsiteX119" fmla="*/ 150166 w 546670"/>
                  <a:gd name="connsiteY119" fmla="*/ 604887 h 604887"/>
                  <a:gd name="connsiteX120" fmla="*/ 111902 w 546670"/>
                  <a:gd name="connsiteY120" fmla="*/ 566561 h 604887"/>
                  <a:gd name="connsiteX121" fmla="*/ 73526 w 546670"/>
                  <a:gd name="connsiteY121" fmla="*/ 604887 h 604887"/>
                  <a:gd name="connsiteX122" fmla="*/ 35261 w 546670"/>
                  <a:gd name="connsiteY122" fmla="*/ 566561 h 604887"/>
                  <a:gd name="connsiteX123" fmla="*/ 35261 w 546670"/>
                  <a:gd name="connsiteY123" fmla="*/ 403369 h 604887"/>
                  <a:gd name="connsiteX124" fmla="*/ 23582 w 546670"/>
                  <a:gd name="connsiteY124" fmla="*/ 406813 h 604887"/>
                  <a:gd name="connsiteX125" fmla="*/ 2225 w 546670"/>
                  <a:gd name="connsiteY125" fmla="*/ 385484 h 604887"/>
                  <a:gd name="connsiteX126" fmla="*/ 2225 w 546670"/>
                  <a:gd name="connsiteY126" fmla="*/ 368265 h 604887"/>
                  <a:gd name="connsiteX127" fmla="*/ 0 w 546670"/>
                  <a:gd name="connsiteY127" fmla="*/ 358044 h 604887"/>
                  <a:gd name="connsiteX128" fmla="*/ 0 w 546670"/>
                  <a:gd name="connsiteY128" fmla="*/ 200296 h 604887"/>
                  <a:gd name="connsiteX129" fmla="*/ 19577 w 546670"/>
                  <a:gd name="connsiteY129" fmla="*/ 176412 h 604887"/>
                  <a:gd name="connsiteX130" fmla="*/ 62625 w 546670"/>
                  <a:gd name="connsiteY130" fmla="*/ 167747 h 604887"/>
                  <a:gd name="connsiteX131" fmla="*/ 70522 w 546670"/>
                  <a:gd name="connsiteY131" fmla="*/ 161748 h 604887"/>
                  <a:gd name="connsiteX132" fmla="*/ 61957 w 546670"/>
                  <a:gd name="connsiteY132" fmla="*/ 150861 h 604887"/>
                  <a:gd name="connsiteX133" fmla="*/ 49054 w 546670"/>
                  <a:gd name="connsiteY133" fmla="*/ 126643 h 604887"/>
                  <a:gd name="connsiteX134" fmla="*/ 45161 w 546670"/>
                  <a:gd name="connsiteY134" fmla="*/ 116534 h 604887"/>
                  <a:gd name="connsiteX135" fmla="*/ 38598 w 546670"/>
                  <a:gd name="connsiteY135" fmla="*/ 102426 h 604887"/>
                  <a:gd name="connsiteX136" fmla="*/ 38598 w 546670"/>
                  <a:gd name="connsiteY136" fmla="*/ 89095 h 604887"/>
                  <a:gd name="connsiteX137" fmla="*/ 42047 w 546670"/>
                  <a:gd name="connsiteY137" fmla="*/ 78430 h 604887"/>
                  <a:gd name="connsiteX138" fmla="*/ 42047 w 546670"/>
                  <a:gd name="connsiteY138" fmla="*/ 59656 h 604887"/>
                  <a:gd name="connsiteX139" fmla="*/ 101779 w 546670"/>
                  <a:gd name="connsiteY139" fmla="*/ 0 h 6048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</a:cxnLst>
                <a:rect l="l" t="t" r="r" b="b"/>
                <a:pathLst>
                  <a:path w="546670" h="604887">
                    <a:moveTo>
                      <a:pt x="481589" y="391913"/>
                    </a:moveTo>
                    <a:cubicBezTo>
                      <a:pt x="472466" y="397134"/>
                      <a:pt x="462454" y="402133"/>
                      <a:pt x="451551" y="406688"/>
                    </a:cubicBezTo>
                    <a:cubicBezTo>
                      <a:pt x="428967" y="416242"/>
                      <a:pt x="403269" y="424018"/>
                      <a:pt x="375678" y="429906"/>
                    </a:cubicBezTo>
                    <a:cubicBezTo>
                      <a:pt x="369782" y="457457"/>
                      <a:pt x="361995" y="483008"/>
                      <a:pt x="352427" y="505670"/>
                    </a:cubicBezTo>
                    <a:cubicBezTo>
                      <a:pt x="347866" y="516446"/>
                      <a:pt x="342860" y="526444"/>
                      <a:pt x="337631" y="535554"/>
                    </a:cubicBezTo>
                    <a:cubicBezTo>
                      <a:pt x="403602" y="510225"/>
                      <a:pt x="456112" y="457790"/>
                      <a:pt x="481589" y="391913"/>
                    </a:cubicBezTo>
                    <a:close/>
                    <a:moveTo>
                      <a:pt x="384133" y="226609"/>
                    </a:moveTo>
                    <a:cubicBezTo>
                      <a:pt x="386915" y="251049"/>
                      <a:pt x="388361" y="276489"/>
                      <a:pt x="388361" y="302373"/>
                    </a:cubicBezTo>
                    <a:cubicBezTo>
                      <a:pt x="388361" y="328369"/>
                      <a:pt x="386915" y="353697"/>
                      <a:pt x="384133" y="378137"/>
                    </a:cubicBezTo>
                    <a:cubicBezTo>
                      <a:pt x="401600" y="373694"/>
                      <a:pt x="417842" y="368250"/>
                      <a:pt x="432639" y="362029"/>
                    </a:cubicBezTo>
                    <a:cubicBezTo>
                      <a:pt x="473690" y="344699"/>
                      <a:pt x="498165" y="322370"/>
                      <a:pt x="498165" y="302373"/>
                    </a:cubicBezTo>
                    <a:cubicBezTo>
                      <a:pt x="498165" y="282377"/>
                      <a:pt x="473690" y="260047"/>
                      <a:pt x="432639" y="242717"/>
                    </a:cubicBezTo>
                    <a:cubicBezTo>
                      <a:pt x="417842" y="236496"/>
                      <a:pt x="401600" y="231164"/>
                      <a:pt x="384133" y="226609"/>
                    </a:cubicBezTo>
                    <a:close/>
                    <a:moveTo>
                      <a:pt x="135706" y="175523"/>
                    </a:moveTo>
                    <a:cubicBezTo>
                      <a:pt x="132591" y="177189"/>
                      <a:pt x="129477" y="178300"/>
                      <a:pt x="126473" y="178856"/>
                    </a:cubicBezTo>
                    <a:cubicBezTo>
                      <a:pt x="124582" y="179189"/>
                      <a:pt x="123248" y="180744"/>
                      <a:pt x="123248" y="182633"/>
                    </a:cubicBezTo>
                    <a:lnTo>
                      <a:pt x="123248" y="192075"/>
                    </a:lnTo>
                    <a:cubicBezTo>
                      <a:pt x="122691" y="192298"/>
                      <a:pt x="122246" y="192631"/>
                      <a:pt x="121801" y="193075"/>
                    </a:cubicBezTo>
                    <a:cubicBezTo>
                      <a:pt x="121134" y="193964"/>
                      <a:pt x="120689" y="194964"/>
                      <a:pt x="120912" y="196075"/>
                    </a:cubicBezTo>
                    <a:lnTo>
                      <a:pt x="122914" y="216404"/>
                    </a:lnTo>
                    <a:cubicBezTo>
                      <a:pt x="123136" y="217960"/>
                      <a:pt x="124249" y="219293"/>
                      <a:pt x="125695" y="219737"/>
                    </a:cubicBezTo>
                    <a:cubicBezTo>
                      <a:pt x="126028" y="219737"/>
                      <a:pt x="126473" y="219848"/>
                      <a:pt x="126807" y="219848"/>
                    </a:cubicBezTo>
                    <a:cubicBezTo>
                      <a:pt x="127919" y="219848"/>
                      <a:pt x="129032" y="219293"/>
                      <a:pt x="129810" y="218293"/>
                    </a:cubicBezTo>
                    <a:lnTo>
                      <a:pt x="140600" y="204073"/>
                    </a:lnTo>
                    <a:cubicBezTo>
                      <a:pt x="141045" y="203407"/>
                      <a:pt x="141379" y="202629"/>
                      <a:pt x="141379" y="201740"/>
                    </a:cubicBezTo>
                    <a:lnTo>
                      <a:pt x="141379" y="178856"/>
                    </a:lnTo>
                    <a:cubicBezTo>
                      <a:pt x="141379" y="177523"/>
                      <a:pt x="140600" y="176301"/>
                      <a:pt x="139488" y="175634"/>
                    </a:cubicBezTo>
                    <a:cubicBezTo>
                      <a:pt x="138375" y="174968"/>
                      <a:pt x="136929" y="174856"/>
                      <a:pt x="135706" y="175523"/>
                    </a:cubicBezTo>
                    <a:close/>
                    <a:moveTo>
                      <a:pt x="87208" y="175523"/>
                    </a:moveTo>
                    <a:cubicBezTo>
                      <a:pt x="86095" y="174856"/>
                      <a:pt x="84649" y="174968"/>
                      <a:pt x="83537" y="175634"/>
                    </a:cubicBezTo>
                    <a:cubicBezTo>
                      <a:pt x="82313" y="176301"/>
                      <a:pt x="81646" y="177523"/>
                      <a:pt x="81646" y="178856"/>
                    </a:cubicBezTo>
                    <a:lnTo>
                      <a:pt x="81646" y="201740"/>
                    </a:lnTo>
                    <a:cubicBezTo>
                      <a:pt x="81646" y="202629"/>
                      <a:pt x="81868" y="203407"/>
                      <a:pt x="82425" y="204073"/>
                    </a:cubicBezTo>
                    <a:lnTo>
                      <a:pt x="93103" y="218293"/>
                    </a:lnTo>
                    <a:cubicBezTo>
                      <a:pt x="93882" y="219293"/>
                      <a:pt x="94994" y="219848"/>
                      <a:pt x="96218" y="219848"/>
                    </a:cubicBezTo>
                    <a:cubicBezTo>
                      <a:pt x="96551" y="219848"/>
                      <a:pt x="96885" y="219848"/>
                      <a:pt x="97219" y="219737"/>
                    </a:cubicBezTo>
                    <a:cubicBezTo>
                      <a:pt x="98776" y="219293"/>
                      <a:pt x="99888" y="217960"/>
                      <a:pt x="100000" y="216404"/>
                    </a:cubicBezTo>
                    <a:lnTo>
                      <a:pt x="102113" y="196075"/>
                    </a:lnTo>
                    <a:cubicBezTo>
                      <a:pt x="102224" y="194964"/>
                      <a:pt x="101891" y="193964"/>
                      <a:pt x="101112" y="193075"/>
                    </a:cubicBezTo>
                    <a:cubicBezTo>
                      <a:pt x="100778" y="192631"/>
                      <a:pt x="100222" y="192298"/>
                      <a:pt x="99666" y="192075"/>
                    </a:cubicBezTo>
                    <a:lnTo>
                      <a:pt x="99666" y="182633"/>
                    </a:lnTo>
                    <a:cubicBezTo>
                      <a:pt x="99666" y="180744"/>
                      <a:pt x="98331" y="179189"/>
                      <a:pt x="96551" y="178856"/>
                    </a:cubicBezTo>
                    <a:cubicBezTo>
                      <a:pt x="93548" y="178300"/>
                      <a:pt x="90433" y="177189"/>
                      <a:pt x="87208" y="175523"/>
                    </a:cubicBezTo>
                    <a:close/>
                    <a:moveTo>
                      <a:pt x="93214" y="72653"/>
                    </a:moveTo>
                    <a:cubicBezTo>
                      <a:pt x="82313" y="72653"/>
                      <a:pt x="71857" y="77097"/>
                      <a:pt x="66629" y="79652"/>
                    </a:cubicBezTo>
                    <a:cubicBezTo>
                      <a:pt x="65294" y="80319"/>
                      <a:pt x="64516" y="81652"/>
                      <a:pt x="64516" y="83096"/>
                    </a:cubicBezTo>
                    <a:lnTo>
                      <a:pt x="64516" y="89872"/>
                    </a:lnTo>
                    <a:lnTo>
                      <a:pt x="62959" y="89872"/>
                    </a:lnTo>
                    <a:cubicBezTo>
                      <a:pt x="60845" y="89872"/>
                      <a:pt x="59065" y="91650"/>
                      <a:pt x="59065" y="93761"/>
                    </a:cubicBezTo>
                    <a:lnTo>
                      <a:pt x="59065" y="99982"/>
                    </a:lnTo>
                    <a:cubicBezTo>
                      <a:pt x="59065" y="101315"/>
                      <a:pt x="59733" y="102537"/>
                      <a:pt x="60845" y="103203"/>
                    </a:cubicBezTo>
                    <a:lnTo>
                      <a:pt x="64516" y="105647"/>
                    </a:lnTo>
                    <a:lnTo>
                      <a:pt x="64738" y="107202"/>
                    </a:lnTo>
                    <a:cubicBezTo>
                      <a:pt x="65962" y="116423"/>
                      <a:pt x="71079" y="128199"/>
                      <a:pt x="78531" y="138974"/>
                    </a:cubicBezTo>
                    <a:cubicBezTo>
                      <a:pt x="87875" y="152527"/>
                      <a:pt x="96663" y="158526"/>
                      <a:pt x="101223" y="158526"/>
                    </a:cubicBezTo>
                    <a:lnTo>
                      <a:pt x="121801" y="158526"/>
                    </a:lnTo>
                    <a:cubicBezTo>
                      <a:pt x="126362" y="158526"/>
                      <a:pt x="135150" y="152527"/>
                      <a:pt x="144493" y="138974"/>
                    </a:cubicBezTo>
                    <a:cubicBezTo>
                      <a:pt x="151835" y="128199"/>
                      <a:pt x="156951" y="116423"/>
                      <a:pt x="158175" y="107202"/>
                    </a:cubicBezTo>
                    <a:lnTo>
                      <a:pt x="158398" y="105647"/>
                    </a:lnTo>
                    <a:lnTo>
                      <a:pt x="162179" y="103203"/>
                    </a:lnTo>
                    <a:cubicBezTo>
                      <a:pt x="163181" y="102537"/>
                      <a:pt x="163848" y="101315"/>
                      <a:pt x="163848" y="100093"/>
                    </a:cubicBezTo>
                    <a:lnTo>
                      <a:pt x="163848" y="93761"/>
                    </a:lnTo>
                    <a:cubicBezTo>
                      <a:pt x="163848" y="91650"/>
                      <a:pt x="162179" y="89872"/>
                      <a:pt x="160066" y="89872"/>
                    </a:cubicBezTo>
                    <a:lnTo>
                      <a:pt x="157953" y="89872"/>
                    </a:lnTo>
                    <a:cubicBezTo>
                      <a:pt x="157619" y="89428"/>
                      <a:pt x="157285" y="88984"/>
                      <a:pt x="156729" y="88650"/>
                    </a:cubicBezTo>
                    <a:cubicBezTo>
                      <a:pt x="155617" y="87984"/>
                      <a:pt x="154282" y="87873"/>
                      <a:pt x="153058" y="88317"/>
                    </a:cubicBezTo>
                    <a:cubicBezTo>
                      <a:pt x="147942" y="90650"/>
                      <a:pt x="142825" y="91761"/>
                      <a:pt x="137930" y="91761"/>
                    </a:cubicBezTo>
                    <a:cubicBezTo>
                      <a:pt x="129254" y="91761"/>
                      <a:pt x="121357" y="88206"/>
                      <a:pt x="114460" y="81207"/>
                    </a:cubicBezTo>
                    <a:cubicBezTo>
                      <a:pt x="109010" y="75542"/>
                      <a:pt x="101779" y="72653"/>
                      <a:pt x="93214" y="72653"/>
                    </a:cubicBezTo>
                    <a:close/>
                    <a:moveTo>
                      <a:pt x="337631" y="69193"/>
                    </a:moveTo>
                    <a:cubicBezTo>
                      <a:pt x="342860" y="78302"/>
                      <a:pt x="347866" y="88300"/>
                      <a:pt x="352427" y="99187"/>
                    </a:cubicBezTo>
                    <a:cubicBezTo>
                      <a:pt x="361995" y="121739"/>
                      <a:pt x="369782" y="147290"/>
                      <a:pt x="375678" y="174952"/>
                    </a:cubicBezTo>
                    <a:cubicBezTo>
                      <a:pt x="403269" y="180728"/>
                      <a:pt x="428967" y="188505"/>
                      <a:pt x="451551" y="198059"/>
                    </a:cubicBezTo>
                    <a:cubicBezTo>
                      <a:pt x="462454" y="202724"/>
                      <a:pt x="472466" y="207612"/>
                      <a:pt x="481589" y="212945"/>
                    </a:cubicBezTo>
                    <a:cubicBezTo>
                      <a:pt x="456112" y="147068"/>
                      <a:pt x="403602" y="94633"/>
                      <a:pt x="337631" y="69193"/>
                    </a:cubicBezTo>
                    <a:close/>
                    <a:moveTo>
                      <a:pt x="247963" y="4093"/>
                    </a:moveTo>
                    <a:cubicBezTo>
                      <a:pt x="412725" y="4093"/>
                      <a:pt x="546670" y="137958"/>
                      <a:pt x="546670" y="302373"/>
                    </a:cubicBezTo>
                    <a:cubicBezTo>
                      <a:pt x="546670" y="466899"/>
                      <a:pt x="412725" y="600653"/>
                      <a:pt x="247963" y="600653"/>
                    </a:cubicBezTo>
                    <a:cubicBezTo>
                      <a:pt x="246295" y="600653"/>
                      <a:pt x="244626" y="600653"/>
                      <a:pt x="242957" y="600653"/>
                    </a:cubicBezTo>
                    <a:lnTo>
                      <a:pt x="242957" y="551662"/>
                    </a:lnTo>
                    <a:cubicBezTo>
                      <a:pt x="244626" y="551995"/>
                      <a:pt x="246295" y="552217"/>
                      <a:pt x="247963" y="552217"/>
                    </a:cubicBezTo>
                    <a:cubicBezTo>
                      <a:pt x="268100" y="552217"/>
                      <a:pt x="290350" y="527666"/>
                      <a:pt x="307705" y="486674"/>
                    </a:cubicBezTo>
                    <a:cubicBezTo>
                      <a:pt x="314046" y="472010"/>
                      <a:pt x="319386" y="455679"/>
                      <a:pt x="323836" y="438238"/>
                    </a:cubicBezTo>
                    <a:cubicBezTo>
                      <a:pt x="299472" y="441126"/>
                      <a:pt x="273996" y="442570"/>
                      <a:pt x="247963" y="442570"/>
                    </a:cubicBezTo>
                    <a:cubicBezTo>
                      <a:pt x="246295" y="442570"/>
                      <a:pt x="244626" y="442570"/>
                      <a:pt x="242957" y="442570"/>
                    </a:cubicBezTo>
                    <a:lnTo>
                      <a:pt x="242957" y="394024"/>
                    </a:lnTo>
                    <a:cubicBezTo>
                      <a:pt x="244626" y="394024"/>
                      <a:pt x="246295" y="394135"/>
                      <a:pt x="247963" y="394135"/>
                    </a:cubicBezTo>
                    <a:cubicBezTo>
                      <a:pt x="277778" y="394135"/>
                      <a:pt x="306703" y="392024"/>
                      <a:pt x="333848" y="388136"/>
                    </a:cubicBezTo>
                    <a:cubicBezTo>
                      <a:pt x="337742" y="361029"/>
                      <a:pt x="339856" y="332146"/>
                      <a:pt x="339856" y="302373"/>
                    </a:cubicBezTo>
                    <a:cubicBezTo>
                      <a:pt x="339856" y="272712"/>
                      <a:pt x="337742" y="243828"/>
                      <a:pt x="333848" y="216722"/>
                    </a:cubicBezTo>
                    <a:cubicBezTo>
                      <a:pt x="306703" y="212723"/>
                      <a:pt x="277778" y="210723"/>
                      <a:pt x="247963" y="210723"/>
                    </a:cubicBezTo>
                    <a:cubicBezTo>
                      <a:pt x="246295" y="210723"/>
                      <a:pt x="244626" y="210723"/>
                      <a:pt x="242957" y="210723"/>
                    </a:cubicBezTo>
                    <a:lnTo>
                      <a:pt x="242957" y="162287"/>
                    </a:lnTo>
                    <a:cubicBezTo>
                      <a:pt x="244626" y="162287"/>
                      <a:pt x="246295" y="162176"/>
                      <a:pt x="247963" y="162176"/>
                    </a:cubicBezTo>
                    <a:cubicBezTo>
                      <a:pt x="273996" y="162176"/>
                      <a:pt x="299472" y="163731"/>
                      <a:pt x="323836" y="166509"/>
                    </a:cubicBezTo>
                    <a:cubicBezTo>
                      <a:pt x="319386" y="149067"/>
                      <a:pt x="314046" y="132848"/>
                      <a:pt x="307705" y="118073"/>
                    </a:cubicBezTo>
                    <a:cubicBezTo>
                      <a:pt x="290350" y="77080"/>
                      <a:pt x="268100" y="52640"/>
                      <a:pt x="247963" y="52640"/>
                    </a:cubicBezTo>
                    <a:cubicBezTo>
                      <a:pt x="246295" y="52640"/>
                      <a:pt x="244626" y="52862"/>
                      <a:pt x="242957" y="53196"/>
                    </a:cubicBezTo>
                    <a:lnTo>
                      <a:pt x="242957" y="4204"/>
                    </a:lnTo>
                    <a:cubicBezTo>
                      <a:pt x="244626" y="4204"/>
                      <a:pt x="246295" y="4093"/>
                      <a:pt x="247963" y="4093"/>
                    </a:cubicBezTo>
                    <a:close/>
                    <a:moveTo>
                      <a:pt x="101779" y="0"/>
                    </a:moveTo>
                    <a:lnTo>
                      <a:pt x="121134" y="0"/>
                    </a:lnTo>
                    <a:cubicBezTo>
                      <a:pt x="154171" y="0"/>
                      <a:pt x="180978" y="26773"/>
                      <a:pt x="180978" y="59656"/>
                    </a:cubicBezTo>
                    <a:lnTo>
                      <a:pt x="180978" y="78430"/>
                    </a:lnTo>
                    <a:cubicBezTo>
                      <a:pt x="183203" y="81541"/>
                      <a:pt x="184315" y="85318"/>
                      <a:pt x="184315" y="89095"/>
                    </a:cubicBezTo>
                    <a:lnTo>
                      <a:pt x="184315" y="102426"/>
                    </a:lnTo>
                    <a:cubicBezTo>
                      <a:pt x="184315" y="107869"/>
                      <a:pt x="181868" y="113090"/>
                      <a:pt x="177752" y="116534"/>
                    </a:cubicBezTo>
                    <a:cubicBezTo>
                      <a:pt x="176751" y="119867"/>
                      <a:pt x="175416" y="123311"/>
                      <a:pt x="173859" y="126643"/>
                    </a:cubicBezTo>
                    <a:cubicBezTo>
                      <a:pt x="170856" y="134753"/>
                      <a:pt x="166406" y="143085"/>
                      <a:pt x="161067" y="150861"/>
                    </a:cubicBezTo>
                    <a:cubicBezTo>
                      <a:pt x="158842" y="154083"/>
                      <a:pt x="155839" y="157860"/>
                      <a:pt x="152502" y="161748"/>
                    </a:cubicBezTo>
                    <a:cubicBezTo>
                      <a:pt x="155505" y="163192"/>
                      <a:pt x="158175" y="165192"/>
                      <a:pt x="160400" y="167747"/>
                    </a:cubicBezTo>
                    <a:lnTo>
                      <a:pt x="204115" y="176412"/>
                    </a:lnTo>
                    <a:cubicBezTo>
                      <a:pt x="215461" y="178745"/>
                      <a:pt x="223692" y="188743"/>
                      <a:pt x="223692" y="200407"/>
                    </a:cubicBezTo>
                    <a:lnTo>
                      <a:pt x="223692" y="358044"/>
                    </a:lnTo>
                    <a:cubicBezTo>
                      <a:pt x="223692" y="361710"/>
                      <a:pt x="222913" y="365154"/>
                      <a:pt x="221467" y="368265"/>
                    </a:cubicBezTo>
                    <a:lnTo>
                      <a:pt x="221467" y="385484"/>
                    </a:lnTo>
                    <a:cubicBezTo>
                      <a:pt x="221467" y="397259"/>
                      <a:pt x="211901" y="406813"/>
                      <a:pt x="200110" y="406813"/>
                    </a:cubicBezTo>
                    <a:cubicBezTo>
                      <a:pt x="195772" y="406813"/>
                      <a:pt x="191879" y="405591"/>
                      <a:pt x="188431" y="403369"/>
                    </a:cubicBezTo>
                    <a:lnTo>
                      <a:pt x="188431" y="566561"/>
                    </a:lnTo>
                    <a:cubicBezTo>
                      <a:pt x="188431" y="587668"/>
                      <a:pt x="171301" y="604887"/>
                      <a:pt x="150166" y="604887"/>
                    </a:cubicBezTo>
                    <a:cubicBezTo>
                      <a:pt x="129032" y="604887"/>
                      <a:pt x="111902" y="587668"/>
                      <a:pt x="111902" y="566561"/>
                    </a:cubicBezTo>
                    <a:cubicBezTo>
                      <a:pt x="111902" y="587668"/>
                      <a:pt x="94772" y="604887"/>
                      <a:pt x="73526" y="604887"/>
                    </a:cubicBezTo>
                    <a:cubicBezTo>
                      <a:pt x="52391" y="604887"/>
                      <a:pt x="35261" y="587668"/>
                      <a:pt x="35261" y="566561"/>
                    </a:cubicBezTo>
                    <a:lnTo>
                      <a:pt x="35261" y="403369"/>
                    </a:lnTo>
                    <a:cubicBezTo>
                      <a:pt x="31924" y="405591"/>
                      <a:pt x="27920" y="406813"/>
                      <a:pt x="23582" y="406813"/>
                    </a:cubicBezTo>
                    <a:cubicBezTo>
                      <a:pt x="11791" y="406813"/>
                      <a:pt x="2225" y="397259"/>
                      <a:pt x="2225" y="385484"/>
                    </a:cubicBezTo>
                    <a:lnTo>
                      <a:pt x="2225" y="368265"/>
                    </a:lnTo>
                    <a:cubicBezTo>
                      <a:pt x="779" y="365154"/>
                      <a:pt x="0" y="361710"/>
                      <a:pt x="0" y="358044"/>
                    </a:cubicBezTo>
                    <a:lnTo>
                      <a:pt x="0" y="200296"/>
                    </a:lnTo>
                    <a:cubicBezTo>
                      <a:pt x="0" y="188743"/>
                      <a:pt x="8231" y="178745"/>
                      <a:pt x="19577" y="176412"/>
                    </a:cubicBezTo>
                    <a:lnTo>
                      <a:pt x="62625" y="167747"/>
                    </a:lnTo>
                    <a:cubicBezTo>
                      <a:pt x="64850" y="165192"/>
                      <a:pt x="67519" y="163192"/>
                      <a:pt x="70522" y="161748"/>
                    </a:cubicBezTo>
                    <a:cubicBezTo>
                      <a:pt x="67074" y="157971"/>
                      <a:pt x="64182" y="154083"/>
                      <a:pt x="61957" y="150861"/>
                    </a:cubicBezTo>
                    <a:cubicBezTo>
                      <a:pt x="56618" y="143085"/>
                      <a:pt x="52169" y="134753"/>
                      <a:pt x="49054" y="126643"/>
                    </a:cubicBezTo>
                    <a:cubicBezTo>
                      <a:pt x="47497" y="123311"/>
                      <a:pt x="46273" y="119867"/>
                      <a:pt x="45161" y="116534"/>
                    </a:cubicBezTo>
                    <a:cubicBezTo>
                      <a:pt x="41045" y="113090"/>
                      <a:pt x="38598" y="107869"/>
                      <a:pt x="38598" y="102426"/>
                    </a:cubicBezTo>
                    <a:lnTo>
                      <a:pt x="38598" y="89095"/>
                    </a:lnTo>
                    <a:cubicBezTo>
                      <a:pt x="38598" y="85318"/>
                      <a:pt x="39822" y="81541"/>
                      <a:pt x="42047" y="78430"/>
                    </a:cubicBezTo>
                    <a:lnTo>
                      <a:pt x="42047" y="59656"/>
                    </a:lnTo>
                    <a:cubicBezTo>
                      <a:pt x="42047" y="26773"/>
                      <a:pt x="68854" y="0"/>
                      <a:pt x="101779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8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i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1828D545-FDA3-4F41-A886-7E5AA54D9CD9}"/>
                </a:ext>
              </a:extLst>
            </p:cNvPr>
            <p:cNvGrpSpPr/>
            <p:nvPr/>
          </p:nvGrpSpPr>
          <p:grpSpPr>
            <a:xfrm>
              <a:off x="963044" y="4609136"/>
              <a:ext cx="2621280" cy="1226514"/>
              <a:chOff x="660400" y="1766959"/>
              <a:chExt cx="2011803" cy="1226514"/>
            </a:xfrm>
          </p:grpSpPr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D30972B6-9596-4BCB-9094-E155A3B9CE05}"/>
                  </a:ext>
                </a:extLst>
              </p:cNvPr>
              <p:cNvSpPr txBox="1"/>
              <p:nvPr/>
            </p:nvSpPr>
            <p:spPr>
              <a:xfrm>
                <a:off x="660400" y="1766959"/>
                <a:ext cx="2011803" cy="432521"/>
              </a:xfrm>
              <a:prstGeom prst="rect">
                <a:avLst/>
              </a:prstGeom>
              <a:noFill/>
              <a:ln w="3175">
                <a:noFill/>
              </a:ln>
            </p:spPr>
            <p:txBody>
              <a:bodyPr wrap="square" lIns="91440" tIns="45720" rIns="91440" bIns="45720" rtlCol="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1600" b="1">
                    <a:cs typeface="+mn-ea"/>
                    <a:sym typeface="+mn-lt"/>
                  </a:rPr>
                  <a:t>Text here</a:t>
                </a:r>
                <a:endParaRPr lang="en-US" altLang="zh-CN" sz="1600" b="1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ED878E07-6303-440C-B3D0-F636A52FD8A8}"/>
                  </a:ext>
                </a:extLst>
              </p:cNvPr>
              <p:cNvSpPr/>
              <p:nvPr/>
            </p:nvSpPr>
            <p:spPr bwMode="auto">
              <a:xfrm>
                <a:off x="664432" y="2199481"/>
                <a:ext cx="2005616" cy="79399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Supporting text here.</a:t>
                </a:r>
              </a:p>
              <a:p>
                <a:pPr algn="ct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100">
                    <a:cs typeface="+mn-ea"/>
                    <a:sym typeface="+mn-lt"/>
                  </a:rPr>
                  <a:t>… …</a:t>
                </a:r>
                <a:endParaRPr lang="en-US" altLang="zh-CN" sz="1100" dirty="0"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14029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E5A80DC-1530-4B81-9014-9816DF4D9233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466819"/>
            <a:ext cx="11518900" cy="4330762"/>
            <a:chOff x="0" y="1466819"/>
            <a:chExt cx="11518900" cy="4330762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1F3B49E-2854-4627-9415-BCE82B11DDF4}"/>
                </a:ext>
              </a:extLst>
            </p:cNvPr>
            <p:cNvCxnSpPr/>
            <p:nvPr/>
          </p:nvCxnSpPr>
          <p:spPr>
            <a:xfrm>
              <a:off x="6327271" y="1466819"/>
              <a:ext cx="0" cy="4330762"/>
            </a:xfrm>
            <a:prstGeom prst="line">
              <a:avLst/>
            </a:prstGeom>
            <a:ln w="12700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DEAAC352-D540-43D8-A516-9AF57A0B5B32}"/>
                </a:ext>
              </a:extLst>
            </p:cNvPr>
            <p:cNvSpPr/>
            <p:nvPr/>
          </p:nvSpPr>
          <p:spPr>
            <a:xfrm>
              <a:off x="0" y="2544810"/>
              <a:ext cx="3684760" cy="1051584"/>
            </a:xfrm>
            <a:prstGeom prst="rect">
              <a:avLst/>
            </a:prstGeom>
            <a:ln w="3175">
              <a:solidFill>
                <a:schemeClr val="bg1">
                  <a:lumMod val="75000"/>
                </a:schemeClr>
              </a:solidFill>
            </a:ln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3765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/>
              <a: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  <a:t>目录</a:t>
              </a:r>
              <a:br>
                <a:rPr lang="zh-CN" altLang="en-US" sz="2400" b="1" dirty="0">
                  <a:solidFill>
                    <a:schemeClr val="accent1"/>
                  </a:solidFill>
                  <a:cs typeface="+mn-ea"/>
                  <a:sym typeface="+mn-lt"/>
                </a:rPr>
              </a:br>
              <a:r>
                <a:rPr lang="en-US" altLang="zh-CN" sz="2400" b="1" dirty="0">
                  <a:solidFill>
                    <a:schemeClr val="accent1"/>
                  </a:solidFill>
                  <a:cs typeface="+mn-ea"/>
                  <a:sym typeface="+mn-lt"/>
                </a:rPr>
                <a:t>CONTENT</a:t>
              </a: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60401" y="3596394"/>
              <a:ext cx="3024360" cy="6081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50000"/>
                </a:lnSpc>
              </a:pPr>
              <a:r>
                <a:rPr lang="en-US" altLang="zh-CN" sz="10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146681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241645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336609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431573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28692" y="1466819"/>
              <a:ext cx="1198579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dirty="0">
                  <a:solidFill>
                    <a:schemeClr val="bg1"/>
                  </a:solidFill>
                  <a:cs typeface="+mn-ea"/>
                  <a:sym typeface="+mn-lt"/>
                </a:rPr>
                <a:t>Text here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28692" y="2416459"/>
              <a:ext cx="1198579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dirty="0">
                  <a:solidFill>
                    <a:schemeClr val="bg1"/>
                  </a:solidFill>
                  <a:cs typeface="+mn-ea"/>
                  <a:sym typeface="+mn-lt"/>
                </a:rPr>
                <a:t>Text here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28692" y="3366099"/>
              <a:ext cx="1198579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dirty="0">
                  <a:solidFill>
                    <a:schemeClr val="bg1"/>
                  </a:solidFill>
                  <a:cs typeface="+mn-ea"/>
                  <a:sym typeface="+mn-lt"/>
                </a:rPr>
                <a:t>Text here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文本框 15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28692" y="4315739"/>
              <a:ext cx="1198579" cy="532202"/>
            </a:xfrm>
            <a:prstGeom prst="rect">
              <a:avLst/>
            </a:prstGeom>
            <a:solidFill>
              <a:schemeClr val="accent2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dirty="0">
                  <a:solidFill>
                    <a:schemeClr val="bg1"/>
                  </a:solidFill>
                  <a:cs typeface="+mn-ea"/>
                  <a:sym typeface="+mn-lt"/>
                </a:rPr>
                <a:t>Text here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921D2456-A6A6-43F5-AD86-0A010D24A2F0}"/>
                </a:ext>
              </a:extLst>
            </p:cNvPr>
            <p:cNvSpPr txBox="1"/>
            <p:nvPr/>
          </p:nvSpPr>
          <p:spPr>
            <a:xfrm>
              <a:off x="5128692" y="5265379"/>
              <a:ext cx="1198579" cy="532202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600" b="1" dirty="0">
                  <a:solidFill>
                    <a:schemeClr val="bg1"/>
                  </a:solidFill>
                  <a:cs typeface="+mn-ea"/>
                  <a:sym typeface="+mn-lt"/>
                </a:rPr>
                <a:t>Text here</a:t>
              </a:r>
              <a:endParaRPr lang="id-ID" sz="1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F8E07573-A8E5-42F7-B445-E2E8E3B47ABD}"/>
                </a:ext>
              </a:extLst>
            </p:cNvPr>
            <p:cNvSpPr/>
            <p:nvPr/>
          </p:nvSpPr>
          <p:spPr bwMode="auto">
            <a:xfrm>
              <a:off x="6327271" y="5265379"/>
              <a:ext cx="5191629" cy="53220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sz="1100" dirty="0">
                  <a:cs typeface="+mn-ea"/>
                  <a:sym typeface="+mn-lt"/>
                </a:rPr>
                <a:t>Copy paste fonts. Choose the only option to retain text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932028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47FBB759-2DC4-43A7-BD6D-70435B380C8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E4E5A61-E4B1-4BFE-88F9-5FD5186ADA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99F03F9-27F8-48AB-95FE-6E16004347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C2C97F30-46D4-44DA-9336-2A04ED49EABC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54418"/>
            <a:ext cx="10845801" cy="4792382"/>
            <a:chOff x="673100" y="1354418"/>
            <a:chExt cx="10845801" cy="4792382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CE954A4D-5300-4298-8943-475694C28BA5}"/>
                </a:ext>
              </a:extLst>
            </p:cNvPr>
            <p:cNvSpPr/>
            <p:nvPr/>
          </p:nvSpPr>
          <p:spPr bwMode="auto">
            <a:xfrm>
              <a:off x="1559441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65655360-1676-449E-A2A4-683A8E9DD83A}"/>
                </a:ext>
              </a:extLst>
            </p:cNvPr>
            <p:cNvGrpSpPr/>
            <p:nvPr/>
          </p:nvGrpSpPr>
          <p:grpSpPr>
            <a:xfrm>
              <a:off x="673100" y="1905734"/>
              <a:ext cx="2326864" cy="1646959"/>
              <a:chOff x="983020" y="2248544"/>
              <a:chExt cx="1763279" cy="1646959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A1F86F39-251F-4601-AC8B-0126F9478D2E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cxnSp>
          <p:nvCxnSpPr>
            <p:cNvPr id="8" name="直接连接符 7">
              <a:extLst>
                <a:ext uri="{FF2B5EF4-FFF2-40B4-BE49-F238E27FC236}">
                  <a16:creationId xmlns:a16="http://schemas.microsoft.com/office/drawing/2014/main" id="{3F7DFF62-5653-44D7-A1AE-27950AC9128A}"/>
                </a:ext>
              </a:extLst>
            </p:cNvPr>
            <p:cNvCxnSpPr/>
            <p:nvPr/>
          </p:nvCxnSpPr>
          <p:spPr>
            <a:xfrm>
              <a:off x="3256355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对话气泡: 圆角矩形 8">
              <a:extLst>
                <a:ext uri="{FF2B5EF4-FFF2-40B4-BE49-F238E27FC236}">
                  <a16:creationId xmlns:a16="http://schemas.microsoft.com/office/drawing/2014/main" id="{CAA8467E-CE75-4FC9-BEFC-8C1A9347667C}"/>
                </a:ext>
              </a:extLst>
            </p:cNvPr>
            <p:cNvSpPr/>
            <p:nvPr/>
          </p:nvSpPr>
          <p:spPr>
            <a:xfrm rot="10800000" flipV="1">
              <a:off x="673100" y="4401671"/>
              <a:ext cx="10845800" cy="1745129"/>
            </a:xfrm>
            <a:prstGeom prst="wedgeRoundRectCallout">
              <a:avLst>
                <a:gd name="adj1" fmla="val -217"/>
                <a:gd name="adj2" fmla="val -67476"/>
                <a:gd name="adj3" fmla="val 16667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lvl="0" algn="ctr" defTabSz="913765">
                <a:buSzPct val="25000"/>
                <a:defRPr/>
              </a:pPr>
              <a:r>
                <a:rPr lang="en-US" altLang="zh-CN" sz="2800" b="1">
                  <a:solidFill>
                    <a:schemeClr val="tx1"/>
                  </a:solidFill>
                  <a:cs typeface="+mn-ea"/>
                  <a:sym typeface="+mn-lt"/>
                </a:rPr>
                <a:t>Unified fonts make reading more fluent.</a:t>
              </a:r>
              <a:endParaRPr lang="en-US" altLang="zh-CN" sz="2800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C830402A-FAE6-488A-9AAC-B97CF459E048}"/>
                </a:ext>
              </a:extLst>
            </p:cNvPr>
            <p:cNvSpPr/>
            <p:nvPr/>
          </p:nvSpPr>
          <p:spPr bwMode="auto">
            <a:xfrm>
              <a:off x="4399087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EA27BA1F-81AC-4D8D-8AD7-A3C56B19FBBC}"/>
                </a:ext>
              </a:extLst>
            </p:cNvPr>
            <p:cNvGrpSpPr/>
            <p:nvPr/>
          </p:nvGrpSpPr>
          <p:grpSpPr>
            <a:xfrm>
              <a:off x="3512745" y="1905734"/>
              <a:ext cx="2326864" cy="1646959"/>
              <a:chOff x="983020" y="2248544"/>
              <a:chExt cx="1763279" cy="1646959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F935EB0C-DB18-48C9-A84A-2172F143803E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AA42A61-10AF-4D71-8637-853CCC0FCFD7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37119200-3DDE-4017-80B7-1FAF633688C8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EE998D13-A47F-41AA-B512-637F01795E3C}"/>
                </a:ext>
              </a:extLst>
            </p:cNvPr>
            <p:cNvSpPr/>
            <p:nvPr/>
          </p:nvSpPr>
          <p:spPr bwMode="auto">
            <a:xfrm>
              <a:off x="7238733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7E014B0F-BB53-4BA1-94E0-083D58B65B8F}"/>
                </a:ext>
              </a:extLst>
            </p:cNvPr>
            <p:cNvGrpSpPr/>
            <p:nvPr/>
          </p:nvGrpSpPr>
          <p:grpSpPr>
            <a:xfrm>
              <a:off x="6352391" y="1905734"/>
              <a:ext cx="2326864" cy="1646959"/>
              <a:chOff x="983020" y="2248544"/>
              <a:chExt cx="1763279" cy="1646959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51C1B4E2-BAED-40E6-BE63-973C80F0EA35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4027BF0C-DC91-461C-9917-B0CCA75BAD6A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E7412894-546B-4682-8EEA-EE2807B27219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sp>
          <p:nvSpPr>
            <p:cNvPr id="14" name="任意多边形: 形状 13">
              <a:extLst>
                <a:ext uri="{FF2B5EF4-FFF2-40B4-BE49-F238E27FC236}">
                  <a16:creationId xmlns:a16="http://schemas.microsoft.com/office/drawing/2014/main" id="{F1D50107-6A75-436A-9319-1C7D8AFCFB88}"/>
                </a:ext>
              </a:extLst>
            </p:cNvPr>
            <p:cNvSpPr/>
            <p:nvPr/>
          </p:nvSpPr>
          <p:spPr bwMode="auto">
            <a:xfrm>
              <a:off x="10078378" y="1354418"/>
              <a:ext cx="554182" cy="420968"/>
            </a:xfrm>
            <a:custGeom>
              <a:avLst/>
              <a:gdLst>
                <a:gd name="T0" fmla="*/ 2664 w 2711"/>
                <a:gd name="T1" fmla="*/ 1581 h 2062"/>
                <a:gd name="T2" fmla="*/ 909 w 2711"/>
                <a:gd name="T3" fmla="*/ 1581 h 2062"/>
                <a:gd name="T4" fmla="*/ 861 w 2711"/>
                <a:gd name="T5" fmla="*/ 1534 h 2062"/>
                <a:gd name="T6" fmla="*/ 861 w 2711"/>
                <a:gd name="T7" fmla="*/ 434 h 2062"/>
                <a:gd name="T8" fmla="*/ 909 w 2711"/>
                <a:gd name="T9" fmla="*/ 386 h 2062"/>
                <a:gd name="T10" fmla="*/ 2664 w 2711"/>
                <a:gd name="T11" fmla="*/ 386 h 2062"/>
                <a:gd name="T12" fmla="*/ 2711 w 2711"/>
                <a:gd name="T13" fmla="*/ 434 h 2062"/>
                <a:gd name="T14" fmla="*/ 2711 w 2711"/>
                <a:gd name="T15" fmla="*/ 1534 h 2062"/>
                <a:gd name="T16" fmla="*/ 2664 w 2711"/>
                <a:gd name="T17" fmla="*/ 1581 h 2062"/>
                <a:gd name="T18" fmla="*/ 2177 w 2711"/>
                <a:gd name="T19" fmla="*/ 1928 h 2062"/>
                <a:gd name="T20" fmla="*/ 2000 w 2711"/>
                <a:gd name="T21" fmla="*/ 1928 h 2062"/>
                <a:gd name="T22" fmla="*/ 2000 w 2711"/>
                <a:gd name="T23" fmla="*/ 1715 h 2062"/>
                <a:gd name="T24" fmla="*/ 1573 w 2711"/>
                <a:gd name="T25" fmla="*/ 1715 h 2062"/>
                <a:gd name="T26" fmla="*/ 1573 w 2711"/>
                <a:gd name="T27" fmla="*/ 1928 h 2062"/>
                <a:gd name="T28" fmla="*/ 1395 w 2711"/>
                <a:gd name="T29" fmla="*/ 1928 h 2062"/>
                <a:gd name="T30" fmla="*/ 1329 w 2711"/>
                <a:gd name="T31" fmla="*/ 1995 h 2062"/>
                <a:gd name="T32" fmla="*/ 1395 w 2711"/>
                <a:gd name="T33" fmla="*/ 2062 h 2062"/>
                <a:gd name="T34" fmla="*/ 1640 w 2711"/>
                <a:gd name="T35" fmla="*/ 2062 h 2062"/>
                <a:gd name="T36" fmla="*/ 1933 w 2711"/>
                <a:gd name="T37" fmla="*/ 2062 h 2062"/>
                <a:gd name="T38" fmla="*/ 2177 w 2711"/>
                <a:gd name="T39" fmla="*/ 2062 h 2062"/>
                <a:gd name="T40" fmla="*/ 2244 w 2711"/>
                <a:gd name="T41" fmla="*/ 1995 h 2062"/>
                <a:gd name="T42" fmla="*/ 2177 w 2711"/>
                <a:gd name="T43" fmla="*/ 1928 h 2062"/>
                <a:gd name="T44" fmla="*/ 1065 w 2711"/>
                <a:gd name="T45" fmla="*/ 253 h 2062"/>
                <a:gd name="T46" fmla="*/ 909 w 2711"/>
                <a:gd name="T47" fmla="*/ 253 h 2062"/>
                <a:gd name="T48" fmla="*/ 880 w 2711"/>
                <a:gd name="T49" fmla="*/ 255 h 2062"/>
                <a:gd name="T50" fmla="*/ 863 w 2711"/>
                <a:gd name="T51" fmla="*/ 253 h 2062"/>
                <a:gd name="T52" fmla="*/ 201 w 2711"/>
                <a:gd name="T53" fmla="*/ 253 h 2062"/>
                <a:gd name="T54" fmla="*/ 135 w 2711"/>
                <a:gd name="T55" fmla="*/ 320 h 2062"/>
                <a:gd name="T56" fmla="*/ 201 w 2711"/>
                <a:gd name="T57" fmla="*/ 386 h 2062"/>
                <a:gd name="T58" fmla="*/ 735 w 2711"/>
                <a:gd name="T59" fmla="*/ 386 h 2062"/>
                <a:gd name="T60" fmla="*/ 728 w 2711"/>
                <a:gd name="T61" fmla="*/ 434 h 2062"/>
                <a:gd name="T62" fmla="*/ 728 w 2711"/>
                <a:gd name="T63" fmla="*/ 558 h 2062"/>
                <a:gd name="T64" fmla="*/ 201 w 2711"/>
                <a:gd name="T65" fmla="*/ 558 h 2062"/>
                <a:gd name="T66" fmla="*/ 135 w 2711"/>
                <a:gd name="T67" fmla="*/ 624 h 2062"/>
                <a:gd name="T68" fmla="*/ 201 w 2711"/>
                <a:gd name="T69" fmla="*/ 691 h 2062"/>
                <a:gd name="T70" fmla="*/ 728 w 2711"/>
                <a:gd name="T71" fmla="*/ 691 h 2062"/>
                <a:gd name="T72" fmla="*/ 728 w 2711"/>
                <a:gd name="T73" fmla="*/ 863 h 2062"/>
                <a:gd name="T74" fmla="*/ 201 w 2711"/>
                <a:gd name="T75" fmla="*/ 863 h 2062"/>
                <a:gd name="T76" fmla="*/ 135 w 2711"/>
                <a:gd name="T77" fmla="*/ 929 h 2062"/>
                <a:gd name="T78" fmla="*/ 201 w 2711"/>
                <a:gd name="T79" fmla="*/ 996 h 2062"/>
                <a:gd name="T80" fmla="*/ 728 w 2711"/>
                <a:gd name="T81" fmla="*/ 996 h 2062"/>
                <a:gd name="T82" fmla="*/ 728 w 2711"/>
                <a:gd name="T83" fmla="*/ 1534 h 2062"/>
                <a:gd name="T84" fmla="*/ 909 w 2711"/>
                <a:gd name="T85" fmla="*/ 1715 h 2062"/>
                <a:gd name="T86" fmla="*/ 1065 w 2711"/>
                <a:gd name="T87" fmla="*/ 1715 h 2062"/>
                <a:gd name="T88" fmla="*/ 1065 w 2711"/>
                <a:gd name="T89" fmla="*/ 1995 h 2062"/>
                <a:gd name="T90" fmla="*/ 998 w 2711"/>
                <a:gd name="T91" fmla="*/ 2062 h 2062"/>
                <a:gd name="T92" fmla="*/ 67 w 2711"/>
                <a:gd name="T93" fmla="*/ 2062 h 2062"/>
                <a:gd name="T94" fmla="*/ 0 w 2711"/>
                <a:gd name="T95" fmla="*/ 1995 h 2062"/>
                <a:gd name="T96" fmla="*/ 0 w 2711"/>
                <a:gd name="T97" fmla="*/ 66 h 2062"/>
                <a:gd name="T98" fmla="*/ 67 w 2711"/>
                <a:gd name="T99" fmla="*/ 0 h 2062"/>
                <a:gd name="T100" fmla="*/ 998 w 2711"/>
                <a:gd name="T101" fmla="*/ 0 h 2062"/>
                <a:gd name="T102" fmla="*/ 1065 w 2711"/>
                <a:gd name="T103" fmla="*/ 66 h 2062"/>
                <a:gd name="T104" fmla="*/ 1065 w 2711"/>
                <a:gd name="T105" fmla="*/ 253 h 2062"/>
                <a:gd name="T106" fmla="*/ 430 w 2711"/>
                <a:gd name="T107" fmla="*/ 1569 h 2062"/>
                <a:gd name="T108" fmla="*/ 532 w 2711"/>
                <a:gd name="T109" fmla="*/ 1672 h 2062"/>
                <a:gd name="T110" fmla="*/ 635 w 2711"/>
                <a:gd name="T111" fmla="*/ 1569 h 2062"/>
                <a:gd name="T112" fmla="*/ 532 w 2711"/>
                <a:gd name="T113" fmla="*/ 1466 h 2062"/>
                <a:gd name="T114" fmla="*/ 430 w 2711"/>
                <a:gd name="T115" fmla="*/ 1569 h 2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711" h="2062">
                  <a:moveTo>
                    <a:pt x="2664" y="1581"/>
                  </a:moveTo>
                  <a:lnTo>
                    <a:pt x="909" y="1581"/>
                  </a:lnTo>
                  <a:cubicBezTo>
                    <a:pt x="883" y="1581"/>
                    <a:pt x="861" y="1560"/>
                    <a:pt x="861" y="1534"/>
                  </a:cubicBezTo>
                  <a:lnTo>
                    <a:pt x="861" y="434"/>
                  </a:lnTo>
                  <a:cubicBezTo>
                    <a:pt x="861" y="407"/>
                    <a:pt x="883" y="386"/>
                    <a:pt x="909" y="386"/>
                  </a:cubicBezTo>
                  <a:lnTo>
                    <a:pt x="2664" y="386"/>
                  </a:lnTo>
                  <a:cubicBezTo>
                    <a:pt x="2690" y="386"/>
                    <a:pt x="2711" y="408"/>
                    <a:pt x="2711" y="434"/>
                  </a:cubicBezTo>
                  <a:lnTo>
                    <a:pt x="2711" y="1534"/>
                  </a:lnTo>
                  <a:cubicBezTo>
                    <a:pt x="2711" y="1560"/>
                    <a:pt x="2690" y="1581"/>
                    <a:pt x="2664" y="1581"/>
                  </a:cubicBezTo>
                  <a:close/>
                  <a:moveTo>
                    <a:pt x="2177" y="1928"/>
                  </a:moveTo>
                  <a:lnTo>
                    <a:pt x="2000" y="1928"/>
                  </a:lnTo>
                  <a:lnTo>
                    <a:pt x="2000" y="1715"/>
                  </a:lnTo>
                  <a:lnTo>
                    <a:pt x="1573" y="1715"/>
                  </a:lnTo>
                  <a:lnTo>
                    <a:pt x="1573" y="1928"/>
                  </a:lnTo>
                  <a:lnTo>
                    <a:pt x="1395" y="1928"/>
                  </a:lnTo>
                  <a:cubicBezTo>
                    <a:pt x="1358" y="1928"/>
                    <a:pt x="1329" y="1958"/>
                    <a:pt x="1329" y="1995"/>
                  </a:cubicBezTo>
                  <a:cubicBezTo>
                    <a:pt x="1329" y="2032"/>
                    <a:pt x="1358" y="2062"/>
                    <a:pt x="1395" y="2062"/>
                  </a:cubicBezTo>
                  <a:lnTo>
                    <a:pt x="1640" y="2062"/>
                  </a:lnTo>
                  <a:lnTo>
                    <a:pt x="1933" y="2062"/>
                  </a:lnTo>
                  <a:lnTo>
                    <a:pt x="2177" y="2062"/>
                  </a:lnTo>
                  <a:cubicBezTo>
                    <a:pt x="2214" y="2062"/>
                    <a:pt x="2244" y="2032"/>
                    <a:pt x="2244" y="1995"/>
                  </a:cubicBezTo>
                  <a:cubicBezTo>
                    <a:pt x="2244" y="1958"/>
                    <a:pt x="2214" y="1928"/>
                    <a:pt x="2177" y="1928"/>
                  </a:cubicBezTo>
                  <a:close/>
                  <a:moveTo>
                    <a:pt x="1065" y="253"/>
                  </a:moveTo>
                  <a:lnTo>
                    <a:pt x="909" y="253"/>
                  </a:lnTo>
                  <a:cubicBezTo>
                    <a:pt x="899" y="253"/>
                    <a:pt x="890" y="254"/>
                    <a:pt x="880" y="255"/>
                  </a:cubicBezTo>
                  <a:cubicBezTo>
                    <a:pt x="875" y="254"/>
                    <a:pt x="869" y="253"/>
                    <a:pt x="863" y="253"/>
                  </a:cubicBezTo>
                  <a:lnTo>
                    <a:pt x="201" y="253"/>
                  </a:lnTo>
                  <a:cubicBezTo>
                    <a:pt x="164" y="253"/>
                    <a:pt x="135" y="283"/>
                    <a:pt x="135" y="320"/>
                  </a:cubicBezTo>
                  <a:cubicBezTo>
                    <a:pt x="135" y="356"/>
                    <a:pt x="164" y="386"/>
                    <a:pt x="201" y="386"/>
                  </a:cubicBezTo>
                  <a:lnTo>
                    <a:pt x="735" y="386"/>
                  </a:lnTo>
                  <a:cubicBezTo>
                    <a:pt x="730" y="401"/>
                    <a:pt x="728" y="417"/>
                    <a:pt x="728" y="434"/>
                  </a:cubicBezTo>
                  <a:lnTo>
                    <a:pt x="728" y="558"/>
                  </a:lnTo>
                  <a:lnTo>
                    <a:pt x="201" y="558"/>
                  </a:lnTo>
                  <a:cubicBezTo>
                    <a:pt x="164" y="558"/>
                    <a:pt x="135" y="588"/>
                    <a:pt x="135" y="624"/>
                  </a:cubicBezTo>
                  <a:cubicBezTo>
                    <a:pt x="135" y="661"/>
                    <a:pt x="164" y="691"/>
                    <a:pt x="201" y="691"/>
                  </a:cubicBezTo>
                  <a:lnTo>
                    <a:pt x="728" y="691"/>
                  </a:lnTo>
                  <a:lnTo>
                    <a:pt x="728" y="863"/>
                  </a:lnTo>
                  <a:lnTo>
                    <a:pt x="201" y="863"/>
                  </a:lnTo>
                  <a:cubicBezTo>
                    <a:pt x="164" y="863"/>
                    <a:pt x="135" y="893"/>
                    <a:pt x="135" y="929"/>
                  </a:cubicBezTo>
                  <a:cubicBezTo>
                    <a:pt x="135" y="966"/>
                    <a:pt x="164" y="996"/>
                    <a:pt x="201" y="996"/>
                  </a:cubicBezTo>
                  <a:lnTo>
                    <a:pt x="728" y="996"/>
                  </a:lnTo>
                  <a:lnTo>
                    <a:pt x="728" y="1534"/>
                  </a:lnTo>
                  <a:cubicBezTo>
                    <a:pt x="728" y="1633"/>
                    <a:pt x="809" y="1715"/>
                    <a:pt x="909" y="1715"/>
                  </a:cubicBezTo>
                  <a:lnTo>
                    <a:pt x="1065" y="1715"/>
                  </a:lnTo>
                  <a:lnTo>
                    <a:pt x="1065" y="1995"/>
                  </a:lnTo>
                  <a:cubicBezTo>
                    <a:pt x="1065" y="2032"/>
                    <a:pt x="1035" y="2062"/>
                    <a:pt x="998" y="2062"/>
                  </a:cubicBezTo>
                  <a:lnTo>
                    <a:pt x="67" y="2062"/>
                  </a:lnTo>
                  <a:cubicBezTo>
                    <a:pt x="30" y="2062"/>
                    <a:pt x="0" y="2032"/>
                    <a:pt x="0" y="1995"/>
                  </a:cubicBezTo>
                  <a:lnTo>
                    <a:pt x="0" y="66"/>
                  </a:lnTo>
                  <a:cubicBezTo>
                    <a:pt x="0" y="29"/>
                    <a:pt x="30" y="0"/>
                    <a:pt x="67" y="0"/>
                  </a:cubicBezTo>
                  <a:lnTo>
                    <a:pt x="998" y="0"/>
                  </a:lnTo>
                  <a:cubicBezTo>
                    <a:pt x="1035" y="0"/>
                    <a:pt x="1065" y="29"/>
                    <a:pt x="1065" y="66"/>
                  </a:cubicBezTo>
                  <a:lnTo>
                    <a:pt x="1065" y="253"/>
                  </a:lnTo>
                  <a:close/>
                  <a:moveTo>
                    <a:pt x="430" y="1569"/>
                  </a:moveTo>
                  <a:cubicBezTo>
                    <a:pt x="430" y="1626"/>
                    <a:pt x="476" y="1672"/>
                    <a:pt x="532" y="1672"/>
                  </a:cubicBezTo>
                  <a:cubicBezTo>
                    <a:pt x="589" y="1672"/>
                    <a:pt x="635" y="1626"/>
                    <a:pt x="635" y="1569"/>
                  </a:cubicBezTo>
                  <a:cubicBezTo>
                    <a:pt x="635" y="1512"/>
                    <a:pt x="589" y="1466"/>
                    <a:pt x="532" y="1466"/>
                  </a:cubicBezTo>
                  <a:cubicBezTo>
                    <a:pt x="476" y="1466"/>
                    <a:pt x="430" y="1512"/>
                    <a:pt x="430" y="1569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26D73AF-2A93-4B80-B656-A0F2F2F4E31E}"/>
                </a:ext>
              </a:extLst>
            </p:cNvPr>
            <p:cNvGrpSpPr/>
            <p:nvPr/>
          </p:nvGrpSpPr>
          <p:grpSpPr>
            <a:xfrm>
              <a:off x="9192037" y="1905734"/>
              <a:ext cx="2326864" cy="1646959"/>
              <a:chOff x="983020" y="2248544"/>
              <a:chExt cx="1763279" cy="1646959"/>
            </a:xfrm>
          </p:grpSpPr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BCA818E7-C8FB-4FB1-A9FF-42B1F77393DC}"/>
                  </a:ext>
                </a:extLst>
              </p:cNvPr>
              <p:cNvSpPr/>
              <p:nvPr/>
            </p:nvSpPr>
            <p:spPr bwMode="auto">
              <a:xfrm>
                <a:off x="983020" y="2248544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E14C6946-4445-4C98-A1C2-8DADCF5CF84A}"/>
                  </a:ext>
                </a:extLst>
              </p:cNvPr>
              <p:cNvSpPr/>
              <p:nvPr/>
            </p:nvSpPr>
            <p:spPr>
              <a:xfrm>
                <a:off x="983020" y="2771005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85CA11FB-1319-4051-ACB6-F98DA2357A88}"/>
                  </a:ext>
                </a:extLst>
              </p:cNvPr>
              <p:cNvSpPr/>
              <p:nvPr/>
            </p:nvSpPr>
            <p:spPr>
              <a:xfrm>
                <a:off x="983020" y="3333254"/>
                <a:ext cx="1763279" cy="56224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/>
                <a:r>
                  <a:rPr lang="en-US" altLang="zh-CN" sz="10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cxnSp>
          <p:nvCxnSpPr>
            <p:cNvPr id="16" name="直接连接符 15">
              <a:extLst>
                <a:ext uri="{FF2B5EF4-FFF2-40B4-BE49-F238E27FC236}">
                  <a16:creationId xmlns:a16="http://schemas.microsoft.com/office/drawing/2014/main" id="{84D5C6AC-5D86-4B58-A48E-0745CA7621DB}"/>
                </a:ext>
              </a:extLst>
            </p:cNvPr>
            <p:cNvCxnSpPr/>
            <p:nvPr/>
          </p:nvCxnSpPr>
          <p:spPr>
            <a:xfrm>
              <a:off x="6096001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直接连接符 16">
              <a:extLst>
                <a:ext uri="{FF2B5EF4-FFF2-40B4-BE49-F238E27FC236}">
                  <a16:creationId xmlns:a16="http://schemas.microsoft.com/office/drawing/2014/main" id="{5AF1C206-C21C-4E05-92E9-F9A48586350C}"/>
                </a:ext>
              </a:extLst>
            </p:cNvPr>
            <p:cNvCxnSpPr/>
            <p:nvPr/>
          </p:nvCxnSpPr>
          <p:spPr>
            <a:xfrm>
              <a:off x="8935646" y="2037803"/>
              <a:ext cx="0" cy="1386716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73931224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4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22620038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FC87620-4337-4E6B-AEA3-721CBCD6D3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FD9473C1-4B21-46DC-9C23-7F559453F1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EF36F33-3094-4821-AAD4-22B407E718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2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4B28C089-D968-4CA5-B628-80C3C1D37C73}"/>
              </a:ext>
            </a:extLst>
          </p:cNvPr>
          <p:cNvGrpSpPr>
            <a:grpSpLocks noChangeAspect="1"/>
          </p:cNvGrpSpPr>
          <p:nvPr/>
        </p:nvGrpSpPr>
        <p:grpSpPr>
          <a:xfrm>
            <a:off x="1141587" y="1421550"/>
            <a:ext cx="9908826" cy="4432079"/>
            <a:chOff x="1141587" y="1421550"/>
            <a:chExt cx="9908826" cy="4432079"/>
          </a:xfrm>
        </p:grpSpPr>
        <p:sp>
          <p:nvSpPr>
            <p:cNvPr id="6" name="任意多边形: 形状 5">
              <a:extLst>
                <a:ext uri="{FF2B5EF4-FFF2-40B4-BE49-F238E27FC236}">
                  <a16:creationId xmlns:a16="http://schemas.microsoft.com/office/drawing/2014/main" id="{57221B3B-EA3B-4C6A-BAB0-4BDE2452FCA8}"/>
                </a:ext>
              </a:extLst>
            </p:cNvPr>
            <p:cNvSpPr/>
            <p:nvPr/>
          </p:nvSpPr>
          <p:spPr>
            <a:xfrm rot="5400000">
              <a:off x="5600096" y="3066728"/>
              <a:ext cx="991839" cy="1145277"/>
            </a:xfrm>
            <a:custGeom>
              <a:avLst/>
              <a:gdLst/>
              <a:ahLst/>
              <a:cxnLst/>
              <a:rect l="l" t="t" r="r" b="b"/>
              <a:pathLst>
                <a:path w="21600" h="21600" extrusionOk="0">
                  <a:moveTo>
                    <a:pt x="10800" y="0"/>
                  </a:moveTo>
                  <a:lnTo>
                    <a:pt x="21600" y="5400"/>
                  </a:lnTo>
                  <a:lnTo>
                    <a:pt x="21600" y="16200"/>
                  </a:lnTo>
                  <a:lnTo>
                    <a:pt x="10800" y="21600"/>
                  </a:lnTo>
                  <a:lnTo>
                    <a:pt x="0" y="16200"/>
                  </a:lnTo>
                  <a:lnTo>
                    <a:pt x="0" y="54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 dirty="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F46A90B8-E8EF-44E0-9D9C-9FCA04EF445C}"/>
                </a:ext>
              </a:extLst>
            </p:cNvPr>
            <p:cNvSpPr/>
            <p:nvPr/>
          </p:nvSpPr>
          <p:spPr>
            <a:xfrm>
              <a:off x="4732752" y="1642205"/>
              <a:ext cx="1327091" cy="1692432"/>
            </a:xfrm>
            <a:custGeom>
              <a:avLst/>
              <a:gdLst/>
              <a:ahLst/>
              <a:cxnLst/>
              <a:rect l="l" t="t" r="r" b="b"/>
              <a:pathLst>
                <a:path w="20804" h="21600" extrusionOk="0">
                  <a:moveTo>
                    <a:pt x="8152" y="0"/>
                  </a:moveTo>
                  <a:cubicBezTo>
                    <a:pt x="6066" y="0"/>
                    <a:pt x="3980" y="649"/>
                    <a:pt x="2388" y="1945"/>
                  </a:cubicBezTo>
                  <a:cubicBezTo>
                    <a:pt x="-796" y="4537"/>
                    <a:pt x="-796" y="8739"/>
                    <a:pt x="2388" y="11330"/>
                  </a:cubicBezTo>
                  <a:cubicBezTo>
                    <a:pt x="4899" y="13375"/>
                    <a:pt x="8636" y="13800"/>
                    <a:pt x="11667" y="12620"/>
                  </a:cubicBezTo>
                  <a:lnTo>
                    <a:pt x="15523" y="17995"/>
                  </a:lnTo>
                  <a:lnTo>
                    <a:pt x="13233" y="21223"/>
                  </a:lnTo>
                  <a:lnTo>
                    <a:pt x="14028" y="21600"/>
                  </a:lnTo>
                  <a:lnTo>
                    <a:pt x="16320" y="18368"/>
                  </a:lnTo>
                  <a:lnTo>
                    <a:pt x="20804" y="18368"/>
                  </a:lnTo>
                  <a:lnTo>
                    <a:pt x="20804" y="17614"/>
                  </a:lnTo>
                  <a:lnTo>
                    <a:pt x="16343" y="17614"/>
                  </a:lnTo>
                  <a:lnTo>
                    <a:pt x="12494" y="12249"/>
                  </a:lnTo>
                  <a:cubicBezTo>
                    <a:pt x="12998" y="11990"/>
                    <a:pt x="13477" y="11688"/>
                    <a:pt x="13916" y="11330"/>
                  </a:cubicBezTo>
                  <a:cubicBezTo>
                    <a:pt x="17100" y="8739"/>
                    <a:pt x="17100" y="4537"/>
                    <a:pt x="13916" y="1945"/>
                  </a:cubicBezTo>
                  <a:cubicBezTo>
                    <a:pt x="12324" y="649"/>
                    <a:pt x="10238" y="0"/>
                    <a:pt x="8152" y="0"/>
                  </a:cubicBezTo>
                  <a:close/>
                  <a:moveTo>
                    <a:pt x="8152" y="754"/>
                  </a:moveTo>
                  <a:cubicBezTo>
                    <a:pt x="10001" y="754"/>
                    <a:pt x="11852" y="1329"/>
                    <a:pt x="13263" y="2478"/>
                  </a:cubicBezTo>
                  <a:cubicBezTo>
                    <a:pt x="16086" y="4776"/>
                    <a:pt x="16086" y="8501"/>
                    <a:pt x="13263" y="10799"/>
                  </a:cubicBezTo>
                  <a:cubicBezTo>
                    <a:pt x="10441" y="13097"/>
                    <a:pt x="5865" y="13097"/>
                    <a:pt x="3043" y="10799"/>
                  </a:cubicBezTo>
                  <a:cubicBezTo>
                    <a:pt x="221" y="8501"/>
                    <a:pt x="221" y="4776"/>
                    <a:pt x="3043" y="2478"/>
                  </a:cubicBezTo>
                  <a:cubicBezTo>
                    <a:pt x="4454" y="1329"/>
                    <a:pt x="6303" y="754"/>
                    <a:pt x="8152" y="75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796F1514-1A20-4380-8823-1951871C597F}"/>
                </a:ext>
              </a:extLst>
            </p:cNvPr>
            <p:cNvSpPr/>
            <p:nvPr/>
          </p:nvSpPr>
          <p:spPr>
            <a:xfrm>
              <a:off x="6120051" y="1642205"/>
              <a:ext cx="1353886" cy="1689688"/>
            </a:xfrm>
            <a:custGeom>
              <a:avLst/>
              <a:gdLst/>
              <a:ahLst/>
              <a:cxnLst/>
              <a:rect l="l" t="t" r="r" b="b"/>
              <a:pathLst>
                <a:path w="20819" h="21600" extrusionOk="0">
                  <a:moveTo>
                    <a:pt x="12823" y="0"/>
                  </a:moveTo>
                  <a:cubicBezTo>
                    <a:pt x="10776" y="0"/>
                    <a:pt x="8730" y="650"/>
                    <a:pt x="7168" y="1948"/>
                  </a:cubicBezTo>
                  <a:cubicBezTo>
                    <a:pt x="4045" y="4544"/>
                    <a:pt x="4045" y="8753"/>
                    <a:pt x="7168" y="11349"/>
                  </a:cubicBezTo>
                  <a:cubicBezTo>
                    <a:pt x="7550" y="11666"/>
                    <a:pt x="7960" y="11943"/>
                    <a:pt x="8392" y="12182"/>
                  </a:cubicBezTo>
                  <a:lnTo>
                    <a:pt x="4535" y="17642"/>
                  </a:lnTo>
                  <a:lnTo>
                    <a:pt x="0" y="17642"/>
                  </a:lnTo>
                  <a:lnTo>
                    <a:pt x="0" y="18398"/>
                  </a:lnTo>
                  <a:lnTo>
                    <a:pt x="4585" y="18398"/>
                  </a:lnTo>
                  <a:lnTo>
                    <a:pt x="6809" y="21600"/>
                  </a:lnTo>
                  <a:lnTo>
                    <a:pt x="7593" y="21229"/>
                  </a:lnTo>
                  <a:lnTo>
                    <a:pt x="5354" y="18001"/>
                  </a:lnTo>
                  <a:lnTo>
                    <a:pt x="9194" y="12570"/>
                  </a:lnTo>
                  <a:cubicBezTo>
                    <a:pt x="12197" y="13843"/>
                    <a:pt x="15964" y="13438"/>
                    <a:pt x="18477" y="11349"/>
                  </a:cubicBezTo>
                  <a:cubicBezTo>
                    <a:pt x="21600" y="8753"/>
                    <a:pt x="21600" y="4544"/>
                    <a:pt x="18477" y="1948"/>
                  </a:cubicBezTo>
                  <a:cubicBezTo>
                    <a:pt x="16916" y="650"/>
                    <a:pt x="14869" y="0"/>
                    <a:pt x="12823" y="0"/>
                  </a:cubicBezTo>
                  <a:close/>
                  <a:moveTo>
                    <a:pt x="12823" y="755"/>
                  </a:moveTo>
                  <a:cubicBezTo>
                    <a:pt x="14637" y="755"/>
                    <a:pt x="16452" y="1332"/>
                    <a:pt x="17837" y="2482"/>
                  </a:cubicBezTo>
                  <a:cubicBezTo>
                    <a:pt x="20605" y="4784"/>
                    <a:pt x="20605" y="8515"/>
                    <a:pt x="17837" y="10817"/>
                  </a:cubicBezTo>
                  <a:cubicBezTo>
                    <a:pt x="15068" y="13118"/>
                    <a:pt x="10580" y="13118"/>
                    <a:pt x="7811" y="10817"/>
                  </a:cubicBezTo>
                  <a:cubicBezTo>
                    <a:pt x="5043" y="8515"/>
                    <a:pt x="5043" y="4784"/>
                    <a:pt x="7811" y="2482"/>
                  </a:cubicBezTo>
                  <a:cubicBezTo>
                    <a:pt x="9195" y="1332"/>
                    <a:pt x="11009" y="755"/>
                    <a:pt x="12823" y="755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38970F29-2DBB-4B0C-BAB3-0C36771349D0}"/>
                </a:ext>
              </a:extLst>
            </p:cNvPr>
            <p:cNvSpPr/>
            <p:nvPr/>
          </p:nvSpPr>
          <p:spPr>
            <a:xfrm>
              <a:off x="6591381" y="3120600"/>
              <a:ext cx="1729659" cy="1040096"/>
            </a:xfrm>
            <a:custGeom>
              <a:avLst/>
              <a:gdLst/>
              <a:ahLst/>
              <a:cxnLst/>
              <a:rect l="l" t="t" r="r" b="b"/>
              <a:pathLst>
                <a:path w="20984" h="20595" extrusionOk="0">
                  <a:moveTo>
                    <a:pt x="14675" y="0"/>
                  </a:moveTo>
                  <a:cubicBezTo>
                    <a:pt x="13061" y="0"/>
                    <a:pt x="11446" y="1007"/>
                    <a:pt x="10214" y="3017"/>
                  </a:cubicBezTo>
                  <a:cubicBezTo>
                    <a:pt x="9083" y="4863"/>
                    <a:pt x="8478" y="7236"/>
                    <a:pt x="8385" y="9652"/>
                  </a:cubicBezTo>
                  <a:lnTo>
                    <a:pt x="2411" y="9652"/>
                  </a:lnTo>
                  <a:lnTo>
                    <a:pt x="636" y="4641"/>
                  </a:lnTo>
                  <a:lnTo>
                    <a:pt x="18" y="5216"/>
                  </a:lnTo>
                  <a:lnTo>
                    <a:pt x="1807" y="10272"/>
                  </a:lnTo>
                  <a:lnTo>
                    <a:pt x="0" y="15380"/>
                  </a:lnTo>
                  <a:lnTo>
                    <a:pt x="607" y="15958"/>
                  </a:lnTo>
                  <a:lnTo>
                    <a:pt x="2416" y="10844"/>
                  </a:lnTo>
                  <a:lnTo>
                    <a:pt x="8381" y="10844"/>
                  </a:lnTo>
                  <a:cubicBezTo>
                    <a:pt x="8461" y="13294"/>
                    <a:pt x="9068" y="15707"/>
                    <a:pt x="10214" y="17579"/>
                  </a:cubicBezTo>
                  <a:cubicBezTo>
                    <a:pt x="12678" y="21600"/>
                    <a:pt x="16672" y="21600"/>
                    <a:pt x="19136" y="17579"/>
                  </a:cubicBezTo>
                  <a:cubicBezTo>
                    <a:pt x="21600" y="13557"/>
                    <a:pt x="21600" y="7038"/>
                    <a:pt x="19136" y="3017"/>
                  </a:cubicBezTo>
                  <a:cubicBezTo>
                    <a:pt x="17904" y="1007"/>
                    <a:pt x="16290" y="0"/>
                    <a:pt x="14675" y="0"/>
                  </a:cubicBezTo>
                  <a:close/>
                  <a:moveTo>
                    <a:pt x="14675" y="1170"/>
                  </a:moveTo>
                  <a:cubicBezTo>
                    <a:pt x="16107" y="1170"/>
                    <a:pt x="17539" y="2063"/>
                    <a:pt x="18631" y="3845"/>
                  </a:cubicBezTo>
                  <a:cubicBezTo>
                    <a:pt x="20815" y="7410"/>
                    <a:pt x="20815" y="13189"/>
                    <a:pt x="18631" y="16754"/>
                  </a:cubicBezTo>
                  <a:cubicBezTo>
                    <a:pt x="16447" y="20319"/>
                    <a:pt x="12906" y="20319"/>
                    <a:pt x="10722" y="16754"/>
                  </a:cubicBezTo>
                  <a:cubicBezTo>
                    <a:pt x="8537" y="13189"/>
                    <a:pt x="8537" y="7410"/>
                    <a:pt x="10722" y="3845"/>
                  </a:cubicBezTo>
                  <a:cubicBezTo>
                    <a:pt x="11814" y="2063"/>
                    <a:pt x="13244" y="1170"/>
                    <a:pt x="14675" y="117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5A78C717-A986-4DA1-B48A-FCC1AC6BA93A}"/>
                </a:ext>
              </a:extLst>
            </p:cNvPr>
            <p:cNvSpPr/>
            <p:nvPr/>
          </p:nvSpPr>
          <p:spPr>
            <a:xfrm>
              <a:off x="3870960" y="3120600"/>
              <a:ext cx="1726592" cy="1040096"/>
            </a:xfrm>
            <a:custGeom>
              <a:avLst/>
              <a:gdLst/>
              <a:ahLst/>
              <a:cxnLst/>
              <a:rect l="l" t="t" r="r" b="b"/>
              <a:pathLst>
                <a:path w="20983" h="20595" extrusionOk="0">
                  <a:moveTo>
                    <a:pt x="6320" y="0"/>
                  </a:moveTo>
                  <a:cubicBezTo>
                    <a:pt x="4702" y="0"/>
                    <a:pt x="3085" y="1007"/>
                    <a:pt x="1851" y="3017"/>
                  </a:cubicBezTo>
                  <a:cubicBezTo>
                    <a:pt x="-617" y="7038"/>
                    <a:pt x="-617" y="13557"/>
                    <a:pt x="1851" y="17579"/>
                  </a:cubicBezTo>
                  <a:cubicBezTo>
                    <a:pt x="4319" y="21600"/>
                    <a:pt x="8320" y="21600"/>
                    <a:pt x="10788" y="17579"/>
                  </a:cubicBezTo>
                  <a:cubicBezTo>
                    <a:pt x="11937" y="15707"/>
                    <a:pt x="12545" y="13294"/>
                    <a:pt x="12624" y="10844"/>
                  </a:cubicBezTo>
                  <a:lnTo>
                    <a:pt x="18600" y="10844"/>
                  </a:lnTo>
                  <a:lnTo>
                    <a:pt x="20322" y="15703"/>
                  </a:lnTo>
                  <a:lnTo>
                    <a:pt x="20932" y="15134"/>
                  </a:lnTo>
                  <a:lnTo>
                    <a:pt x="19210" y="10272"/>
                  </a:lnTo>
                  <a:lnTo>
                    <a:pt x="20983" y="5270"/>
                  </a:lnTo>
                  <a:lnTo>
                    <a:pt x="20367" y="4686"/>
                  </a:lnTo>
                  <a:lnTo>
                    <a:pt x="18605" y="9652"/>
                  </a:lnTo>
                  <a:lnTo>
                    <a:pt x="12621" y="9652"/>
                  </a:lnTo>
                  <a:cubicBezTo>
                    <a:pt x="12528" y="7236"/>
                    <a:pt x="11922" y="4863"/>
                    <a:pt x="10788" y="3017"/>
                  </a:cubicBezTo>
                  <a:cubicBezTo>
                    <a:pt x="9554" y="1007"/>
                    <a:pt x="7937" y="0"/>
                    <a:pt x="6320" y="0"/>
                  </a:cubicBezTo>
                  <a:close/>
                  <a:moveTo>
                    <a:pt x="6320" y="1170"/>
                  </a:moveTo>
                  <a:cubicBezTo>
                    <a:pt x="7753" y="1170"/>
                    <a:pt x="9188" y="2063"/>
                    <a:pt x="10282" y="3845"/>
                  </a:cubicBezTo>
                  <a:cubicBezTo>
                    <a:pt x="12470" y="7410"/>
                    <a:pt x="12470" y="13189"/>
                    <a:pt x="10282" y="16754"/>
                  </a:cubicBezTo>
                  <a:cubicBezTo>
                    <a:pt x="8094" y="20319"/>
                    <a:pt x="4547" y="20319"/>
                    <a:pt x="2359" y="16754"/>
                  </a:cubicBezTo>
                  <a:cubicBezTo>
                    <a:pt x="171" y="13189"/>
                    <a:pt x="171" y="7410"/>
                    <a:pt x="2359" y="3845"/>
                  </a:cubicBezTo>
                  <a:cubicBezTo>
                    <a:pt x="3453" y="2063"/>
                    <a:pt x="4886" y="1170"/>
                    <a:pt x="6320" y="117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12700" cap="flat" cmpd="sng" algn="ctr">
                  <a:solidFill>
                    <a:schemeClr val="accent1">
                      <a:shade val="50000"/>
                    </a:schemeClr>
                  </a:solidFill>
                  <a:prstDash val="solid"/>
                  <a:miter lim="800000"/>
                </a14:hiddenLine>
              </a:ext>
            </a:extLst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6126CB7B-4A80-4520-833D-F6188219EEA7}"/>
                </a:ext>
              </a:extLst>
            </p:cNvPr>
            <p:cNvSpPr/>
            <p:nvPr/>
          </p:nvSpPr>
          <p:spPr>
            <a:xfrm>
              <a:off x="4730654" y="3936874"/>
              <a:ext cx="1329190" cy="1698021"/>
            </a:xfrm>
            <a:custGeom>
              <a:avLst/>
              <a:gdLst/>
              <a:ahLst/>
              <a:cxnLst/>
              <a:rect l="l" t="t" r="r" b="b"/>
              <a:pathLst>
                <a:path w="20805" h="20973" extrusionOk="0">
                  <a:moveTo>
                    <a:pt x="13973" y="0"/>
                  </a:moveTo>
                  <a:lnTo>
                    <a:pt x="13187" y="355"/>
                  </a:lnTo>
                  <a:lnTo>
                    <a:pt x="15423" y="3409"/>
                  </a:lnTo>
                  <a:lnTo>
                    <a:pt x="11639" y="8756"/>
                  </a:lnTo>
                  <a:cubicBezTo>
                    <a:pt x="10534" y="8341"/>
                    <a:pt x="9338" y="8126"/>
                    <a:pt x="8139" y="8126"/>
                  </a:cubicBezTo>
                  <a:cubicBezTo>
                    <a:pt x="6056" y="8126"/>
                    <a:pt x="3973" y="8754"/>
                    <a:pt x="2384" y="10008"/>
                  </a:cubicBezTo>
                  <a:cubicBezTo>
                    <a:pt x="-795" y="12517"/>
                    <a:pt x="-795" y="16583"/>
                    <a:pt x="2384" y="19092"/>
                  </a:cubicBezTo>
                  <a:cubicBezTo>
                    <a:pt x="5563" y="21600"/>
                    <a:pt x="10716" y="21600"/>
                    <a:pt x="13895" y="19092"/>
                  </a:cubicBezTo>
                  <a:cubicBezTo>
                    <a:pt x="17074" y="16583"/>
                    <a:pt x="17074" y="12517"/>
                    <a:pt x="13895" y="10008"/>
                  </a:cubicBezTo>
                  <a:cubicBezTo>
                    <a:pt x="13454" y="9661"/>
                    <a:pt x="12971" y="9367"/>
                    <a:pt x="12465" y="9115"/>
                  </a:cubicBezTo>
                  <a:lnTo>
                    <a:pt x="16133" y="3928"/>
                  </a:lnTo>
                  <a:lnTo>
                    <a:pt x="20805" y="3928"/>
                  </a:lnTo>
                  <a:lnTo>
                    <a:pt x="20805" y="3218"/>
                  </a:lnTo>
                  <a:lnTo>
                    <a:pt x="16328" y="3218"/>
                  </a:lnTo>
                  <a:lnTo>
                    <a:pt x="13973" y="0"/>
                  </a:lnTo>
                  <a:close/>
                  <a:moveTo>
                    <a:pt x="8139" y="8856"/>
                  </a:moveTo>
                  <a:cubicBezTo>
                    <a:pt x="9986" y="8856"/>
                    <a:pt x="11834" y="9413"/>
                    <a:pt x="13243" y="10525"/>
                  </a:cubicBezTo>
                  <a:cubicBezTo>
                    <a:pt x="16061" y="12748"/>
                    <a:pt x="16061" y="16354"/>
                    <a:pt x="13243" y="18577"/>
                  </a:cubicBezTo>
                  <a:cubicBezTo>
                    <a:pt x="10425" y="20801"/>
                    <a:pt x="5856" y="20801"/>
                    <a:pt x="3038" y="18577"/>
                  </a:cubicBezTo>
                  <a:cubicBezTo>
                    <a:pt x="220" y="16354"/>
                    <a:pt x="220" y="12748"/>
                    <a:pt x="3038" y="10525"/>
                  </a:cubicBezTo>
                  <a:cubicBezTo>
                    <a:pt x="4447" y="9413"/>
                    <a:pt x="6293" y="8856"/>
                    <a:pt x="8139" y="885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1F81CACF-5A9A-45E7-90F0-096DAD5DD9CE}"/>
                </a:ext>
              </a:extLst>
            </p:cNvPr>
            <p:cNvSpPr/>
            <p:nvPr/>
          </p:nvSpPr>
          <p:spPr>
            <a:xfrm>
              <a:off x="6120051" y="3949464"/>
              <a:ext cx="1351626" cy="1685431"/>
            </a:xfrm>
            <a:custGeom>
              <a:avLst/>
              <a:gdLst/>
              <a:ahLst/>
              <a:cxnLst/>
              <a:rect l="l" t="t" r="r" b="b"/>
              <a:pathLst>
                <a:path w="20818" h="20968" extrusionOk="0">
                  <a:moveTo>
                    <a:pt x="6797" y="0"/>
                  </a:moveTo>
                  <a:lnTo>
                    <a:pt x="4592" y="3085"/>
                  </a:lnTo>
                  <a:lnTo>
                    <a:pt x="0" y="3085"/>
                  </a:lnTo>
                  <a:lnTo>
                    <a:pt x="0" y="3799"/>
                  </a:lnTo>
                  <a:lnTo>
                    <a:pt x="4542" y="3799"/>
                  </a:lnTo>
                  <a:lnTo>
                    <a:pt x="8319" y="9145"/>
                  </a:lnTo>
                  <a:cubicBezTo>
                    <a:pt x="7906" y="9371"/>
                    <a:pt x="7511" y="9629"/>
                    <a:pt x="7145" y="9924"/>
                  </a:cubicBezTo>
                  <a:cubicBezTo>
                    <a:pt x="4017" y="12451"/>
                    <a:pt x="4017" y="16547"/>
                    <a:pt x="7145" y="19073"/>
                  </a:cubicBezTo>
                  <a:cubicBezTo>
                    <a:pt x="10273" y="21600"/>
                    <a:pt x="15344" y="21600"/>
                    <a:pt x="18472" y="19073"/>
                  </a:cubicBezTo>
                  <a:cubicBezTo>
                    <a:pt x="21600" y="16547"/>
                    <a:pt x="21600" y="12451"/>
                    <a:pt x="18472" y="9924"/>
                  </a:cubicBezTo>
                  <a:cubicBezTo>
                    <a:pt x="16908" y="8661"/>
                    <a:pt x="14858" y="8029"/>
                    <a:pt x="12809" y="8029"/>
                  </a:cubicBezTo>
                  <a:cubicBezTo>
                    <a:pt x="11538" y="8029"/>
                    <a:pt x="10269" y="8272"/>
                    <a:pt x="9114" y="8758"/>
                  </a:cubicBezTo>
                  <a:lnTo>
                    <a:pt x="5360" y="3450"/>
                  </a:lnTo>
                  <a:lnTo>
                    <a:pt x="7568" y="363"/>
                  </a:lnTo>
                  <a:lnTo>
                    <a:pt x="6797" y="0"/>
                  </a:lnTo>
                  <a:close/>
                  <a:moveTo>
                    <a:pt x="12809" y="8764"/>
                  </a:moveTo>
                  <a:cubicBezTo>
                    <a:pt x="14626" y="8764"/>
                    <a:pt x="16444" y="9325"/>
                    <a:pt x="17831" y="10444"/>
                  </a:cubicBezTo>
                  <a:cubicBezTo>
                    <a:pt x="20603" y="12684"/>
                    <a:pt x="20603" y="16316"/>
                    <a:pt x="17831" y="18555"/>
                  </a:cubicBezTo>
                  <a:cubicBezTo>
                    <a:pt x="15058" y="20795"/>
                    <a:pt x="10562" y="20795"/>
                    <a:pt x="7789" y="18555"/>
                  </a:cubicBezTo>
                  <a:cubicBezTo>
                    <a:pt x="5016" y="16316"/>
                    <a:pt x="5016" y="12684"/>
                    <a:pt x="7789" y="10444"/>
                  </a:cubicBezTo>
                  <a:cubicBezTo>
                    <a:pt x="9175" y="9325"/>
                    <a:pt x="10991" y="8764"/>
                    <a:pt x="12809" y="8764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3" name="椭圆 12">
              <a:extLst>
                <a:ext uri="{FF2B5EF4-FFF2-40B4-BE49-F238E27FC236}">
                  <a16:creationId xmlns:a16="http://schemas.microsoft.com/office/drawing/2014/main" id="{8C758E98-649E-44F7-AF53-70940D8E14AF}"/>
                </a:ext>
              </a:extLst>
            </p:cNvPr>
            <p:cNvSpPr/>
            <p:nvPr/>
          </p:nvSpPr>
          <p:spPr>
            <a:xfrm>
              <a:off x="4958864" y="1866697"/>
              <a:ext cx="589298" cy="5892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52D30"/>
                </a:buClr>
                <a:buSzPts val="800"/>
                <a:buFont typeface="Arial"/>
                <a:buNone/>
              </a:pPr>
              <a:endParaRPr sz="800" b="0" i="0" u="none" strike="noStrike" cap="none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F21473D0-73AF-42DC-83C2-89717A8249EC}"/>
                </a:ext>
              </a:extLst>
            </p:cNvPr>
            <p:cNvSpPr/>
            <p:nvPr/>
          </p:nvSpPr>
          <p:spPr>
            <a:xfrm>
              <a:off x="6657203" y="1866697"/>
              <a:ext cx="589298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5" name="椭圆 14">
              <a:extLst>
                <a:ext uri="{FF2B5EF4-FFF2-40B4-BE49-F238E27FC236}">
                  <a16:creationId xmlns:a16="http://schemas.microsoft.com/office/drawing/2014/main" id="{F19F889C-9B98-4574-A03C-A6CA074D7940}"/>
                </a:ext>
              </a:extLst>
            </p:cNvPr>
            <p:cNvSpPr/>
            <p:nvPr/>
          </p:nvSpPr>
          <p:spPr>
            <a:xfrm>
              <a:off x="4958396" y="4817097"/>
              <a:ext cx="589298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6" name="椭圆 15">
              <a:extLst>
                <a:ext uri="{FF2B5EF4-FFF2-40B4-BE49-F238E27FC236}">
                  <a16:creationId xmlns:a16="http://schemas.microsoft.com/office/drawing/2014/main" id="{92F8CA09-1696-4717-9597-1E7509347EF1}"/>
                </a:ext>
              </a:extLst>
            </p:cNvPr>
            <p:cNvSpPr/>
            <p:nvPr/>
          </p:nvSpPr>
          <p:spPr>
            <a:xfrm>
              <a:off x="6656735" y="4817097"/>
              <a:ext cx="589298" cy="58929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7" name="椭圆 16">
              <a:extLst>
                <a:ext uri="{FF2B5EF4-FFF2-40B4-BE49-F238E27FC236}">
                  <a16:creationId xmlns:a16="http://schemas.microsoft.com/office/drawing/2014/main" id="{65E5F0A2-22D2-4307-9626-41AB8F49FBAE}"/>
                </a:ext>
              </a:extLst>
            </p:cNvPr>
            <p:cNvSpPr/>
            <p:nvPr/>
          </p:nvSpPr>
          <p:spPr>
            <a:xfrm>
              <a:off x="7504873" y="3344718"/>
              <a:ext cx="589300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8" name="椭圆 17">
              <a:extLst>
                <a:ext uri="{FF2B5EF4-FFF2-40B4-BE49-F238E27FC236}">
                  <a16:creationId xmlns:a16="http://schemas.microsoft.com/office/drawing/2014/main" id="{926DAC4C-042D-4269-8425-E5DD57832382}"/>
                </a:ext>
              </a:extLst>
            </p:cNvPr>
            <p:cNvSpPr/>
            <p:nvPr/>
          </p:nvSpPr>
          <p:spPr>
            <a:xfrm>
              <a:off x="4097863" y="3344718"/>
              <a:ext cx="589298" cy="58929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40" tIns="45720" rIns="91440" bIns="45720" anchor="ctr" anchorCtr="0">
              <a:normAutofit/>
            </a:bodyPr>
            <a:lstStyle/>
            <a:p>
              <a:pPr>
                <a:buClr>
                  <a:srgbClr val="252D30"/>
                </a:buClr>
                <a:buSzPts val="800"/>
              </a:pPr>
              <a:endParaRPr sz="800">
                <a:solidFill>
                  <a:srgbClr val="252D30"/>
                </a:solidFill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78F56B22-993B-4BC6-AD18-B93591989067}"/>
                </a:ext>
              </a:extLst>
            </p:cNvPr>
            <p:cNvSpPr txBox="1"/>
            <p:nvPr/>
          </p:nvSpPr>
          <p:spPr bwMode="auto">
            <a:xfrm>
              <a:off x="5446103" y="3291841"/>
              <a:ext cx="1274737" cy="668214"/>
            </a:xfrm>
            <a:prstGeom prst="rect">
              <a:avLst/>
            </a:prstGeom>
            <a:no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</a:pPr>
              <a:r>
                <a:rPr lang="en-US" altLang="zh-CN" sz="1600" b="1" i="1" dirty="0">
                  <a:cs typeface="+mn-ea"/>
                  <a:sym typeface="+mn-lt"/>
                </a:rPr>
                <a:t>Text</a:t>
              </a: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BA395ECD-B65C-404E-B37E-198CFD881EB4}"/>
                </a:ext>
              </a:extLst>
            </p:cNvPr>
            <p:cNvSpPr/>
            <p:nvPr/>
          </p:nvSpPr>
          <p:spPr bwMode="auto">
            <a:xfrm>
              <a:off x="5067616" y="19982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309E38F4-6179-44E7-9F25-6290AFC11BA0}"/>
                </a:ext>
              </a:extLst>
            </p:cNvPr>
            <p:cNvSpPr/>
            <p:nvPr/>
          </p:nvSpPr>
          <p:spPr bwMode="auto">
            <a:xfrm>
              <a:off x="6765955" y="19982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2F210867-301D-4B05-A9EF-2B68E1837437}"/>
                </a:ext>
              </a:extLst>
            </p:cNvPr>
            <p:cNvSpPr/>
            <p:nvPr/>
          </p:nvSpPr>
          <p:spPr bwMode="auto">
            <a:xfrm>
              <a:off x="4206615" y="3462872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CA7DE007-2683-48D4-BDC9-CE82B8445111}"/>
                </a:ext>
              </a:extLst>
            </p:cNvPr>
            <p:cNvSpPr/>
            <p:nvPr/>
          </p:nvSpPr>
          <p:spPr bwMode="auto">
            <a:xfrm>
              <a:off x="7613625" y="3462872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任意多边形: 形状 23">
              <a:extLst>
                <a:ext uri="{FF2B5EF4-FFF2-40B4-BE49-F238E27FC236}">
                  <a16:creationId xmlns:a16="http://schemas.microsoft.com/office/drawing/2014/main" id="{7C2D24CA-C7FD-4777-B5EC-B28BA4D51565}"/>
                </a:ext>
              </a:extLst>
            </p:cNvPr>
            <p:cNvSpPr/>
            <p:nvPr/>
          </p:nvSpPr>
          <p:spPr bwMode="auto">
            <a:xfrm>
              <a:off x="5067148" y="49486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5" name="任意多边形: 形状 24">
              <a:extLst>
                <a:ext uri="{FF2B5EF4-FFF2-40B4-BE49-F238E27FC236}">
                  <a16:creationId xmlns:a16="http://schemas.microsoft.com/office/drawing/2014/main" id="{434F5321-9C96-4875-9360-C667D284CDF6}"/>
                </a:ext>
              </a:extLst>
            </p:cNvPr>
            <p:cNvSpPr/>
            <p:nvPr/>
          </p:nvSpPr>
          <p:spPr bwMode="auto">
            <a:xfrm>
              <a:off x="6765487" y="4948670"/>
              <a:ext cx="371794" cy="326152"/>
            </a:xfrm>
            <a:custGeom>
              <a:avLst/>
              <a:gdLst>
                <a:gd name="connsiteX0" fmla="*/ 352921 w 607646"/>
                <a:gd name="connsiteY0" fmla="*/ 457945 h 533051"/>
                <a:gd name="connsiteX1" fmla="*/ 342979 w 607646"/>
                <a:gd name="connsiteY1" fmla="*/ 462170 h 533051"/>
                <a:gd name="connsiteX2" fmla="*/ 338854 w 607646"/>
                <a:gd name="connsiteY2" fmla="*/ 472100 h 533051"/>
                <a:gd name="connsiteX3" fmla="*/ 342979 w 607646"/>
                <a:gd name="connsiteY3" fmla="*/ 482029 h 533051"/>
                <a:gd name="connsiteX4" fmla="*/ 352921 w 607646"/>
                <a:gd name="connsiteY4" fmla="*/ 486149 h 533051"/>
                <a:gd name="connsiteX5" fmla="*/ 362863 w 607646"/>
                <a:gd name="connsiteY5" fmla="*/ 482029 h 533051"/>
                <a:gd name="connsiteX6" fmla="*/ 366987 w 607646"/>
                <a:gd name="connsiteY6" fmla="*/ 472100 h 533051"/>
                <a:gd name="connsiteX7" fmla="*/ 362863 w 607646"/>
                <a:gd name="connsiteY7" fmla="*/ 462170 h 533051"/>
                <a:gd name="connsiteX8" fmla="*/ 352921 w 607646"/>
                <a:gd name="connsiteY8" fmla="*/ 457945 h 533051"/>
                <a:gd name="connsiteX9" fmla="*/ 438485 w 607646"/>
                <a:gd name="connsiteY9" fmla="*/ 375972 h 533051"/>
                <a:gd name="connsiteX10" fmla="*/ 431081 w 607646"/>
                <a:gd name="connsiteY10" fmla="*/ 379141 h 533051"/>
                <a:gd name="connsiteX11" fmla="*/ 372699 w 607646"/>
                <a:gd name="connsiteY11" fmla="*/ 437346 h 533051"/>
                <a:gd name="connsiteX12" fmla="*/ 369632 w 607646"/>
                <a:gd name="connsiteY12" fmla="*/ 444846 h 533051"/>
                <a:gd name="connsiteX13" fmla="*/ 372699 w 607646"/>
                <a:gd name="connsiteY13" fmla="*/ 452346 h 533051"/>
                <a:gd name="connsiteX14" fmla="*/ 380208 w 607646"/>
                <a:gd name="connsiteY14" fmla="*/ 455409 h 533051"/>
                <a:gd name="connsiteX15" fmla="*/ 387612 w 607646"/>
                <a:gd name="connsiteY15" fmla="*/ 452346 h 533051"/>
                <a:gd name="connsiteX16" fmla="*/ 445994 w 607646"/>
                <a:gd name="connsiteY16" fmla="*/ 394035 h 533051"/>
                <a:gd name="connsiteX17" fmla="*/ 449062 w 607646"/>
                <a:gd name="connsiteY17" fmla="*/ 386535 h 533051"/>
                <a:gd name="connsiteX18" fmla="*/ 445994 w 607646"/>
                <a:gd name="connsiteY18" fmla="*/ 379141 h 533051"/>
                <a:gd name="connsiteX19" fmla="*/ 438485 w 607646"/>
                <a:gd name="connsiteY19" fmla="*/ 375972 h 533051"/>
                <a:gd name="connsiteX20" fmla="*/ 534943 w 607646"/>
                <a:gd name="connsiteY20" fmla="*/ 217624 h 533051"/>
                <a:gd name="connsiteX21" fmla="*/ 553981 w 607646"/>
                <a:gd name="connsiteY21" fmla="*/ 225547 h 533051"/>
                <a:gd name="connsiteX22" fmla="*/ 554404 w 607646"/>
                <a:gd name="connsiteY22" fmla="*/ 225969 h 533051"/>
                <a:gd name="connsiteX23" fmla="*/ 556520 w 607646"/>
                <a:gd name="connsiteY23" fmla="*/ 230934 h 533051"/>
                <a:gd name="connsiteX24" fmla="*/ 554510 w 607646"/>
                <a:gd name="connsiteY24" fmla="*/ 235899 h 533051"/>
                <a:gd name="connsiteX25" fmla="*/ 524050 w 607646"/>
                <a:gd name="connsiteY25" fmla="*/ 266322 h 533051"/>
                <a:gd name="connsiteX26" fmla="*/ 516752 w 607646"/>
                <a:gd name="connsiteY26" fmla="*/ 283752 h 533051"/>
                <a:gd name="connsiteX27" fmla="*/ 524050 w 607646"/>
                <a:gd name="connsiteY27" fmla="*/ 301182 h 533051"/>
                <a:gd name="connsiteX28" fmla="*/ 541501 w 607646"/>
                <a:gd name="connsiteY28" fmla="*/ 308365 h 533051"/>
                <a:gd name="connsiteX29" fmla="*/ 558952 w 607646"/>
                <a:gd name="connsiteY29" fmla="*/ 301182 h 533051"/>
                <a:gd name="connsiteX30" fmla="*/ 589413 w 607646"/>
                <a:gd name="connsiteY30" fmla="*/ 270759 h 533051"/>
                <a:gd name="connsiteX31" fmla="*/ 594384 w 607646"/>
                <a:gd name="connsiteY31" fmla="*/ 268752 h 533051"/>
                <a:gd name="connsiteX32" fmla="*/ 599355 w 607646"/>
                <a:gd name="connsiteY32" fmla="*/ 270759 h 533051"/>
                <a:gd name="connsiteX33" fmla="*/ 599778 w 607646"/>
                <a:gd name="connsiteY33" fmla="*/ 271181 h 533051"/>
                <a:gd name="connsiteX34" fmla="*/ 606758 w 607646"/>
                <a:gd name="connsiteY34" fmla="*/ 297168 h 533051"/>
                <a:gd name="connsiteX35" fmla="*/ 590047 w 607646"/>
                <a:gd name="connsiteY35" fmla="*/ 359704 h 533051"/>
                <a:gd name="connsiteX36" fmla="*/ 571010 w 607646"/>
                <a:gd name="connsiteY36" fmla="*/ 378612 h 533051"/>
                <a:gd name="connsiteX37" fmla="*/ 570798 w 607646"/>
                <a:gd name="connsiteY37" fmla="*/ 378718 h 533051"/>
                <a:gd name="connsiteX38" fmla="*/ 501627 w 607646"/>
                <a:gd name="connsiteY38" fmla="*/ 395303 h 533051"/>
                <a:gd name="connsiteX39" fmla="*/ 377987 w 607646"/>
                <a:gd name="connsiteY39" fmla="*/ 518790 h 533051"/>
                <a:gd name="connsiteX40" fmla="*/ 343507 w 607646"/>
                <a:gd name="connsiteY40" fmla="*/ 533051 h 533051"/>
                <a:gd name="connsiteX41" fmla="*/ 309028 w 607646"/>
                <a:gd name="connsiteY41" fmla="*/ 518790 h 533051"/>
                <a:gd name="connsiteX42" fmla="*/ 306066 w 607646"/>
                <a:gd name="connsiteY42" fmla="*/ 515833 h 533051"/>
                <a:gd name="connsiteX43" fmla="*/ 291788 w 607646"/>
                <a:gd name="connsiteY43" fmla="*/ 481501 h 533051"/>
                <a:gd name="connsiteX44" fmla="*/ 306066 w 607646"/>
                <a:gd name="connsiteY44" fmla="*/ 447064 h 533051"/>
                <a:gd name="connsiteX45" fmla="*/ 429707 w 607646"/>
                <a:gd name="connsiteY45" fmla="*/ 323576 h 533051"/>
                <a:gd name="connsiteX46" fmla="*/ 446418 w 607646"/>
                <a:gd name="connsiteY46" fmla="*/ 254491 h 533051"/>
                <a:gd name="connsiteX47" fmla="*/ 446418 w 607646"/>
                <a:gd name="connsiteY47" fmla="*/ 254280 h 533051"/>
                <a:gd name="connsiteX48" fmla="*/ 465455 w 607646"/>
                <a:gd name="connsiteY48" fmla="*/ 235265 h 533051"/>
                <a:gd name="connsiteX49" fmla="*/ 527963 w 607646"/>
                <a:gd name="connsiteY49" fmla="*/ 218575 h 533051"/>
                <a:gd name="connsiteX50" fmla="*/ 534943 w 607646"/>
                <a:gd name="connsiteY50" fmla="*/ 217624 h 533051"/>
                <a:gd name="connsiteX51" fmla="*/ 253873 w 607646"/>
                <a:gd name="connsiteY51" fmla="*/ 140927 h 533051"/>
                <a:gd name="connsiteX52" fmla="*/ 141005 w 607646"/>
                <a:gd name="connsiteY52" fmla="*/ 253542 h 533051"/>
                <a:gd name="connsiteX53" fmla="*/ 253873 w 607646"/>
                <a:gd name="connsiteY53" fmla="*/ 366262 h 533051"/>
                <a:gd name="connsiteX54" fmla="*/ 366741 w 607646"/>
                <a:gd name="connsiteY54" fmla="*/ 253542 h 533051"/>
                <a:gd name="connsiteX55" fmla="*/ 253873 w 607646"/>
                <a:gd name="connsiteY55" fmla="*/ 140927 h 533051"/>
                <a:gd name="connsiteX56" fmla="*/ 232929 w 607646"/>
                <a:gd name="connsiteY56" fmla="*/ 0 h 533051"/>
                <a:gd name="connsiteX57" fmla="*/ 274818 w 607646"/>
                <a:gd name="connsiteY57" fmla="*/ 0 h 533051"/>
                <a:gd name="connsiteX58" fmla="*/ 316918 w 607646"/>
                <a:gd name="connsiteY58" fmla="*/ 42045 h 533051"/>
                <a:gd name="connsiteX59" fmla="*/ 316918 w 607646"/>
                <a:gd name="connsiteY59" fmla="*/ 55885 h 533051"/>
                <a:gd name="connsiteX60" fmla="*/ 349287 w 607646"/>
                <a:gd name="connsiteY60" fmla="*/ 69301 h 533051"/>
                <a:gd name="connsiteX61" fmla="*/ 359125 w 607646"/>
                <a:gd name="connsiteY61" fmla="*/ 59476 h 533051"/>
                <a:gd name="connsiteX62" fmla="*/ 388849 w 607646"/>
                <a:gd name="connsiteY62" fmla="*/ 47222 h 533051"/>
                <a:gd name="connsiteX63" fmla="*/ 418574 w 607646"/>
                <a:gd name="connsiteY63" fmla="*/ 59476 h 533051"/>
                <a:gd name="connsiteX64" fmla="*/ 448192 w 607646"/>
                <a:gd name="connsiteY64" fmla="*/ 89162 h 533051"/>
                <a:gd name="connsiteX65" fmla="*/ 448192 w 607646"/>
                <a:gd name="connsiteY65" fmla="*/ 148533 h 533051"/>
                <a:gd name="connsiteX66" fmla="*/ 438460 w 607646"/>
                <a:gd name="connsiteY66" fmla="*/ 158252 h 533051"/>
                <a:gd name="connsiteX67" fmla="*/ 451789 w 607646"/>
                <a:gd name="connsiteY67" fmla="*/ 190684 h 533051"/>
                <a:gd name="connsiteX68" fmla="*/ 465752 w 607646"/>
                <a:gd name="connsiteY68" fmla="*/ 190684 h 533051"/>
                <a:gd name="connsiteX69" fmla="*/ 497909 w 607646"/>
                <a:gd name="connsiteY69" fmla="*/ 205685 h 533051"/>
                <a:gd name="connsiteX70" fmla="*/ 450837 w 607646"/>
                <a:gd name="connsiteY70" fmla="*/ 218257 h 533051"/>
                <a:gd name="connsiteX71" fmla="*/ 419420 w 607646"/>
                <a:gd name="connsiteY71" fmla="*/ 249739 h 533051"/>
                <a:gd name="connsiteX72" fmla="*/ 419208 w 607646"/>
                <a:gd name="connsiteY72" fmla="*/ 250372 h 533051"/>
                <a:gd name="connsiteX73" fmla="*/ 403764 w 607646"/>
                <a:gd name="connsiteY73" fmla="*/ 314603 h 533051"/>
                <a:gd name="connsiteX74" fmla="*/ 283598 w 607646"/>
                <a:gd name="connsiteY74" fmla="*/ 434613 h 533051"/>
                <a:gd name="connsiteX75" fmla="*/ 264134 w 607646"/>
                <a:gd name="connsiteY75" fmla="*/ 481518 h 533051"/>
                <a:gd name="connsiteX76" fmla="*/ 269317 w 607646"/>
                <a:gd name="connsiteY76" fmla="*/ 507083 h 533051"/>
                <a:gd name="connsiteX77" fmla="*/ 232929 w 607646"/>
                <a:gd name="connsiteY77" fmla="*/ 507083 h 533051"/>
                <a:gd name="connsiteX78" fmla="*/ 190828 w 607646"/>
                <a:gd name="connsiteY78" fmla="*/ 465143 h 533051"/>
                <a:gd name="connsiteX79" fmla="*/ 190828 w 607646"/>
                <a:gd name="connsiteY79" fmla="*/ 451304 h 533051"/>
                <a:gd name="connsiteX80" fmla="*/ 158459 w 607646"/>
                <a:gd name="connsiteY80" fmla="*/ 437888 h 533051"/>
                <a:gd name="connsiteX81" fmla="*/ 148622 w 607646"/>
                <a:gd name="connsiteY81" fmla="*/ 447712 h 533051"/>
                <a:gd name="connsiteX82" fmla="*/ 118897 w 607646"/>
                <a:gd name="connsiteY82" fmla="*/ 459967 h 533051"/>
                <a:gd name="connsiteX83" fmla="*/ 89173 w 607646"/>
                <a:gd name="connsiteY83" fmla="*/ 447712 h 533051"/>
                <a:gd name="connsiteX84" fmla="*/ 59554 w 607646"/>
                <a:gd name="connsiteY84" fmla="*/ 418027 h 533051"/>
                <a:gd name="connsiteX85" fmla="*/ 59554 w 607646"/>
                <a:gd name="connsiteY85" fmla="*/ 358656 h 533051"/>
                <a:gd name="connsiteX86" fmla="*/ 69286 w 607646"/>
                <a:gd name="connsiteY86" fmla="*/ 348831 h 533051"/>
                <a:gd name="connsiteX87" fmla="*/ 55958 w 607646"/>
                <a:gd name="connsiteY87" fmla="*/ 316505 h 533051"/>
                <a:gd name="connsiteX88" fmla="*/ 41995 w 607646"/>
                <a:gd name="connsiteY88" fmla="*/ 316505 h 533051"/>
                <a:gd name="connsiteX89" fmla="*/ 0 w 607646"/>
                <a:gd name="connsiteY89" fmla="*/ 274565 h 533051"/>
                <a:gd name="connsiteX90" fmla="*/ 0 w 607646"/>
                <a:gd name="connsiteY90" fmla="*/ 232625 h 533051"/>
                <a:gd name="connsiteX91" fmla="*/ 41995 w 607646"/>
                <a:gd name="connsiteY91" fmla="*/ 190684 h 533051"/>
                <a:gd name="connsiteX92" fmla="*/ 55958 w 607646"/>
                <a:gd name="connsiteY92" fmla="*/ 190684 h 533051"/>
                <a:gd name="connsiteX93" fmla="*/ 69286 w 607646"/>
                <a:gd name="connsiteY93" fmla="*/ 158252 h 533051"/>
                <a:gd name="connsiteX94" fmla="*/ 59554 w 607646"/>
                <a:gd name="connsiteY94" fmla="*/ 148533 h 533051"/>
                <a:gd name="connsiteX95" fmla="*/ 59554 w 607646"/>
                <a:gd name="connsiteY95" fmla="*/ 89162 h 533051"/>
                <a:gd name="connsiteX96" fmla="*/ 89173 w 607646"/>
                <a:gd name="connsiteY96" fmla="*/ 59476 h 533051"/>
                <a:gd name="connsiteX97" fmla="*/ 118897 w 607646"/>
                <a:gd name="connsiteY97" fmla="*/ 47222 h 533051"/>
                <a:gd name="connsiteX98" fmla="*/ 148622 w 607646"/>
                <a:gd name="connsiteY98" fmla="*/ 59476 h 533051"/>
                <a:gd name="connsiteX99" fmla="*/ 158459 w 607646"/>
                <a:gd name="connsiteY99" fmla="*/ 69301 h 533051"/>
                <a:gd name="connsiteX100" fmla="*/ 190828 w 607646"/>
                <a:gd name="connsiteY100" fmla="*/ 55885 h 533051"/>
                <a:gd name="connsiteX101" fmla="*/ 190828 w 607646"/>
                <a:gd name="connsiteY101" fmla="*/ 42045 h 533051"/>
                <a:gd name="connsiteX102" fmla="*/ 232929 w 607646"/>
                <a:gd name="connsiteY102" fmla="*/ 0 h 533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</a:cxnLst>
              <a:rect l="l" t="t" r="r" b="b"/>
              <a:pathLst>
                <a:path w="607646" h="533051">
                  <a:moveTo>
                    <a:pt x="352921" y="457945"/>
                  </a:moveTo>
                  <a:cubicBezTo>
                    <a:pt x="349113" y="457945"/>
                    <a:pt x="345623" y="459423"/>
                    <a:pt x="342979" y="462170"/>
                  </a:cubicBezTo>
                  <a:cubicBezTo>
                    <a:pt x="340229" y="464811"/>
                    <a:pt x="338854" y="468297"/>
                    <a:pt x="338854" y="472100"/>
                  </a:cubicBezTo>
                  <a:cubicBezTo>
                    <a:pt x="338854" y="475797"/>
                    <a:pt x="340229" y="479389"/>
                    <a:pt x="342979" y="482029"/>
                  </a:cubicBezTo>
                  <a:cubicBezTo>
                    <a:pt x="345623" y="484670"/>
                    <a:pt x="349113" y="486149"/>
                    <a:pt x="352921" y="486149"/>
                  </a:cubicBezTo>
                  <a:cubicBezTo>
                    <a:pt x="356622" y="486149"/>
                    <a:pt x="360218" y="484670"/>
                    <a:pt x="362863" y="482029"/>
                  </a:cubicBezTo>
                  <a:cubicBezTo>
                    <a:pt x="365507" y="479389"/>
                    <a:pt x="366987" y="475797"/>
                    <a:pt x="366987" y="472100"/>
                  </a:cubicBezTo>
                  <a:cubicBezTo>
                    <a:pt x="366987" y="468297"/>
                    <a:pt x="365507" y="464811"/>
                    <a:pt x="362863" y="462170"/>
                  </a:cubicBezTo>
                  <a:cubicBezTo>
                    <a:pt x="360218" y="459423"/>
                    <a:pt x="356622" y="457945"/>
                    <a:pt x="352921" y="457945"/>
                  </a:cubicBezTo>
                  <a:close/>
                  <a:moveTo>
                    <a:pt x="438485" y="375972"/>
                  </a:moveTo>
                  <a:cubicBezTo>
                    <a:pt x="435735" y="375972"/>
                    <a:pt x="432985" y="377134"/>
                    <a:pt x="431081" y="379141"/>
                  </a:cubicBezTo>
                  <a:lnTo>
                    <a:pt x="372699" y="437346"/>
                  </a:lnTo>
                  <a:cubicBezTo>
                    <a:pt x="370689" y="439353"/>
                    <a:pt x="369632" y="441994"/>
                    <a:pt x="369632" y="444846"/>
                  </a:cubicBezTo>
                  <a:cubicBezTo>
                    <a:pt x="369632" y="447698"/>
                    <a:pt x="370689" y="450339"/>
                    <a:pt x="372699" y="452346"/>
                  </a:cubicBezTo>
                  <a:cubicBezTo>
                    <a:pt x="374708" y="454353"/>
                    <a:pt x="377352" y="455409"/>
                    <a:pt x="380208" y="455409"/>
                  </a:cubicBezTo>
                  <a:cubicBezTo>
                    <a:pt x="382958" y="455409"/>
                    <a:pt x="385602" y="454353"/>
                    <a:pt x="387612" y="452346"/>
                  </a:cubicBezTo>
                  <a:lnTo>
                    <a:pt x="445994" y="394035"/>
                  </a:lnTo>
                  <a:cubicBezTo>
                    <a:pt x="448004" y="392028"/>
                    <a:pt x="449062" y="389387"/>
                    <a:pt x="449062" y="386535"/>
                  </a:cubicBezTo>
                  <a:cubicBezTo>
                    <a:pt x="449062" y="383789"/>
                    <a:pt x="448004" y="381148"/>
                    <a:pt x="445994" y="379141"/>
                  </a:cubicBezTo>
                  <a:cubicBezTo>
                    <a:pt x="443985" y="377134"/>
                    <a:pt x="441341" y="375972"/>
                    <a:pt x="438485" y="375972"/>
                  </a:cubicBezTo>
                  <a:close/>
                  <a:moveTo>
                    <a:pt x="534943" y="217624"/>
                  </a:moveTo>
                  <a:cubicBezTo>
                    <a:pt x="542136" y="217624"/>
                    <a:pt x="548905" y="220371"/>
                    <a:pt x="553981" y="225547"/>
                  </a:cubicBezTo>
                  <a:lnTo>
                    <a:pt x="554404" y="225969"/>
                  </a:lnTo>
                  <a:cubicBezTo>
                    <a:pt x="555779" y="227237"/>
                    <a:pt x="556520" y="229033"/>
                    <a:pt x="556520" y="230934"/>
                  </a:cubicBezTo>
                  <a:cubicBezTo>
                    <a:pt x="556520" y="232836"/>
                    <a:pt x="555779" y="234632"/>
                    <a:pt x="554510" y="235899"/>
                  </a:cubicBezTo>
                  <a:lnTo>
                    <a:pt x="524050" y="266322"/>
                  </a:lnTo>
                  <a:cubicBezTo>
                    <a:pt x="519396" y="270970"/>
                    <a:pt x="516752" y="277203"/>
                    <a:pt x="516752" y="283752"/>
                  </a:cubicBezTo>
                  <a:cubicBezTo>
                    <a:pt x="516752" y="290301"/>
                    <a:pt x="519396" y="296534"/>
                    <a:pt x="524050" y="301182"/>
                  </a:cubicBezTo>
                  <a:cubicBezTo>
                    <a:pt x="528703" y="305830"/>
                    <a:pt x="534838" y="308365"/>
                    <a:pt x="541501" y="308365"/>
                  </a:cubicBezTo>
                  <a:cubicBezTo>
                    <a:pt x="548058" y="308365"/>
                    <a:pt x="554299" y="305830"/>
                    <a:pt x="558952" y="301182"/>
                  </a:cubicBezTo>
                  <a:lnTo>
                    <a:pt x="589413" y="270759"/>
                  </a:lnTo>
                  <a:cubicBezTo>
                    <a:pt x="590682" y="269491"/>
                    <a:pt x="592480" y="268752"/>
                    <a:pt x="594384" y="268752"/>
                  </a:cubicBezTo>
                  <a:cubicBezTo>
                    <a:pt x="596288" y="268752"/>
                    <a:pt x="597980" y="269491"/>
                    <a:pt x="599355" y="270759"/>
                  </a:cubicBezTo>
                  <a:lnTo>
                    <a:pt x="599778" y="271181"/>
                  </a:lnTo>
                  <a:cubicBezTo>
                    <a:pt x="606547" y="277942"/>
                    <a:pt x="609191" y="287977"/>
                    <a:pt x="606758" y="297168"/>
                  </a:cubicBezTo>
                  <a:lnTo>
                    <a:pt x="590047" y="359704"/>
                  </a:lnTo>
                  <a:cubicBezTo>
                    <a:pt x="587509" y="368894"/>
                    <a:pt x="580211" y="376183"/>
                    <a:pt x="571010" y="378612"/>
                  </a:cubicBezTo>
                  <a:cubicBezTo>
                    <a:pt x="570904" y="378718"/>
                    <a:pt x="570904" y="378718"/>
                    <a:pt x="570798" y="378718"/>
                  </a:cubicBezTo>
                  <a:lnTo>
                    <a:pt x="501627" y="395303"/>
                  </a:lnTo>
                  <a:lnTo>
                    <a:pt x="377987" y="518790"/>
                  </a:lnTo>
                  <a:cubicBezTo>
                    <a:pt x="368785" y="527981"/>
                    <a:pt x="356517" y="533051"/>
                    <a:pt x="343507" y="533051"/>
                  </a:cubicBezTo>
                  <a:cubicBezTo>
                    <a:pt x="330498" y="533051"/>
                    <a:pt x="318229" y="527981"/>
                    <a:pt x="309028" y="518790"/>
                  </a:cubicBezTo>
                  <a:lnTo>
                    <a:pt x="306066" y="515833"/>
                  </a:lnTo>
                  <a:cubicBezTo>
                    <a:pt x="296865" y="506642"/>
                    <a:pt x="291788" y="494494"/>
                    <a:pt x="291788" y="481501"/>
                  </a:cubicBezTo>
                  <a:cubicBezTo>
                    <a:pt x="291788" y="468402"/>
                    <a:pt x="296865" y="456254"/>
                    <a:pt x="306066" y="447064"/>
                  </a:cubicBezTo>
                  <a:lnTo>
                    <a:pt x="429707" y="323576"/>
                  </a:lnTo>
                  <a:lnTo>
                    <a:pt x="446418" y="254491"/>
                  </a:lnTo>
                  <a:cubicBezTo>
                    <a:pt x="446418" y="254385"/>
                    <a:pt x="446418" y="254385"/>
                    <a:pt x="446418" y="254280"/>
                  </a:cubicBezTo>
                  <a:cubicBezTo>
                    <a:pt x="448956" y="245089"/>
                    <a:pt x="456254" y="237801"/>
                    <a:pt x="465455" y="235265"/>
                  </a:cubicBezTo>
                  <a:lnTo>
                    <a:pt x="527963" y="218575"/>
                  </a:lnTo>
                  <a:cubicBezTo>
                    <a:pt x="530290" y="217941"/>
                    <a:pt x="532617" y="217624"/>
                    <a:pt x="534943" y="217624"/>
                  </a:cubicBezTo>
                  <a:close/>
                  <a:moveTo>
                    <a:pt x="253873" y="140927"/>
                  </a:moveTo>
                  <a:cubicBezTo>
                    <a:pt x="191674" y="140927"/>
                    <a:pt x="141005" y="191424"/>
                    <a:pt x="141005" y="253542"/>
                  </a:cubicBezTo>
                  <a:cubicBezTo>
                    <a:pt x="141005" y="315765"/>
                    <a:pt x="191674" y="366262"/>
                    <a:pt x="253873" y="366262"/>
                  </a:cubicBezTo>
                  <a:cubicBezTo>
                    <a:pt x="316072" y="366262"/>
                    <a:pt x="366741" y="315765"/>
                    <a:pt x="366741" y="253542"/>
                  </a:cubicBezTo>
                  <a:cubicBezTo>
                    <a:pt x="366741" y="191424"/>
                    <a:pt x="316072" y="140927"/>
                    <a:pt x="253873" y="140927"/>
                  </a:cubicBezTo>
                  <a:close/>
                  <a:moveTo>
                    <a:pt x="232929" y="0"/>
                  </a:moveTo>
                  <a:lnTo>
                    <a:pt x="274818" y="0"/>
                  </a:lnTo>
                  <a:cubicBezTo>
                    <a:pt x="298090" y="0"/>
                    <a:pt x="316918" y="18910"/>
                    <a:pt x="316918" y="42045"/>
                  </a:cubicBezTo>
                  <a:lnTo>
                    <a:pt x="316918" y="55885"/>
                  </a:lnTo>
                  <a:cubicBezTo>
                    <a:pt x="328025" y="59371"/>
                    <a:pt x="338921" y="63913"/>
                    <a:pt x="349287" y="69301"/>
                  </a:cubicBezTo>
                  <a:lnTo>
                    <a:pt x="359125" y="59476"/>
                  </a:lnTo>
                  <a:cubicBezTo>
                    <a:pt x="367058" y="51553"/>
                    <a:pt x="377637" y="47222"/>
                    <a:pt x="388849" y="47222"/>
                  </a:cubicBezTo>
                  <a:cubicBezTo>
                    <a:pt x="400062" y="47222"/>
                    <a:pt x="410640" y="51553"/>
                    <a:pt x="418574" y="59476"/>
                  </a:cubicBezTo>
                  <a:lnTo>
                    <a:pt x="448192" y="89162"/>
                  </a:lnTo>
                  <a:cubicBezTo>
                    <a:pt x="464588" y="105536"/>
                    <a:pt x="464588" y="132158"/>
                    <a:pt x="448192" y="148533"/>
                  </a:cubicBezTo>
                  <a:lnTo>
                    <a:pt x="438460" y="158252"/>
                  </a:lnTo>
                  <a:cubicBezTo>
                    <a:pt x="443749" y="168710"/>
                    <a:pt x="448298" y="179486"/>
                    <a:pt x="451789" y="190684"/>
                  </a:cubicBezTo>
                  <a:lnTo>
                    <a:pt x="465752" y="190684"/>
                  </a:lnTo>
                  <a:cubicBezTo>
                    <a:pt x="478657" y="190684"/>
                    <a:pt x="490187" y="196494"/>
                    <a:pt x="497909" y="205685"/>
                  </a:cubicBezTo>
                  <a:lnTo>
                    <a:pt x="450837" y="218257"/>
                  </a:lnTo>
                  <a:cubicBezTo>
                    <a:pt x="435604" y="222377"/>
                    <a:pt x="423440" y="234420"/>
                    <a:pt x="419420" y="249739"/>
                  </a:cubicBezTo>
                  <a:cubicBezTo>
                    <a:pt x="419314" y="249950"/>
                    <a:pt x="419314" y="250161"/>
                    <a:pt x="419208" y="250372"/>
                  </a:cubicBezTo>
                  <a:lnTo>
                    <a:pt x="403764" y="314603"/>
                  </a:lnTo>
                  <a:lnTo>
                    <a:pt x="283598" y="434613"/>
                  </a:lnTo>
                  <a:cubicBezTo>
                    <a:pt x="271010" y="447078"/>
                    <a:pt x="264134" y="463770"/>
                    <a:pt x="264134" y="481518"/>
                  </a:cubicBezTo>
                  <a:cubicBezTo>
                    <a:pt x="264134" y="490392"/>
                    <a:pt x="265932" y="499160"/>
                    <a:pt x="269317" y="507083"/>
                  </a:cubicBezTo>
                  <a:lnTo>
                    <a:pt x="232929" y="507083"/>
                  </a:lnTo>
                  <a:cubicBezTo>
                    <a:pt x="209657" y="507083"/>
                    <a:pt x="190828" y="488279"/>
                    <a:pt x="190828" y="465143"/>
                  </a:cubicBezTo>
                  <a:lnTo>
                    <a:pt x="190828" y="451304"/>
                  </a:lnTo>
                  <a:cubicBezTo>
                    <a:pt x="179721" y="447712"/>
                    <a:pt x="168826" y="443275"/>
                    <a:pt x="158459" y="437888"/>
                  </a:cubicBezTo>
                  <a:lnTo>
                    <a:pt x="148622" y="447712"/>
                  </a:lnTo>
                  <a:cubicBezTo>
                    <a:pt x="140688" y="455635"/>
                    <a:pt x="130110" y="459967"/>
                    <a:pt x="118897" y="459967"/>
                  </a:cubicBezTo>
                  <a:cubicBezTo>
                    <a:pt x="107685" y="459967"/>
                    <a:pt x="97107" y="455635"/>
                    <a:pt x="89173" y="447712"/>
                  </a:cubicBezTo>
                  <a:lnTo>
                    <a:pt x="59554" y="418027"/>
                  </a:lnTo>
                  <a:cubicBezTo>
                    <a:pt x="43158" y="401652"/>
                    <a:pt x="43158" y="375030"/>
                    <a:pt x="59554" y="358656"/>
                  </a:cubicBezTo>
                  <a:lnTo>
                    <a:pt x="69286" y="348831"/>
                  </a:lnTo>
                  <a:cubicBezTo>
                    <a:pt x="63997" y="338478"/>
                    <a:pt x="59449" y="327597"/>
                    <a:pt x="55958" y="316505"/>
                  </a:cubicBezTo>
                  <a:lnTo>
                    <a:pt x="41995" y="316505"/>
                  </a:lnTo>
                  <a:cubicBezTo>
                    <a:pt x="18829" y="316505"/>
                    <a:pt x="0" y="297700"/>
                    <a:pt x="0" y="274565"/>
                  </a:cubicBezTo>
                  <a:lnTo>
                    <a:pt x="0" y="232625"/>
                  </a:lnTo>
                  <a:cubicBezTo>
                    <a:pt x="0" y="209488"/>
                    <a:pt x="18829" y="190684"/>
                    <a:pt x="41995" y="190684"/>
                  </a:cubicBezTo>
                  <a:lnTo>
                    <a:pt x="55958" y="190684"/>
                  </a:lnTo>
                  <a:cubicBezTo>
                    <a:pt x="59449" y="179486"/>
                    <a:pt x="63997" y="168710"/>
                    <a:pt x="69286" y="158252"/>
                  </a:cubicBezTo>
                  <a:lnTo>
                    <a:pt x="59554" y="148533"/>
                  </a:lnTo>
                  <a:cubicBezTo>
                    <a:pt x="43158" y="132158"/>
                    <a:pt x="43158" y="105536"/>
                    <a:pt x="59554" y="89162"/>
                  </a:cubicBezTo>
                  <a:lnTo>
                    <a:pt x="89173" y="59476"/>
                  </a:lnTo>
                  <a:cubicBezTo>
                    <a:pt x="97107" y="51553"/>
                    <a:pt x="107685" y="47222"/>
                    <a:pt x="118897" y="47222"/>
                  </a:cubicBezTo>
                  <a:cubicBezTo>
                    <a:pt x="130110" y="47222"/>
                    <a:pt x="140688" y="51553"/>
                    <a:pt x="148622" y="59476"/>
                  </a:cubicBezTo>
                  <a:lnTo>
                    <a:pt x="158459" y="69301"/>
                  </a:lnTo>
                  <a:cubicBezTo>
                    <a:pt x="168826" y="63913"/>
                    <a:pt x="179721" y="59371"/>
                    <a:pt x="190828" y="55885"/>
                  </a:cubicBezTo>
                  <a:lnTo>
                    <a:pt x="190828" y="42045"/>
                  </a:lnTo>
                  <a:cubicBezTo>
                    <a:pt x="190828" y="18910"/>
                    <a:pt x="209657" y="0"/>
                    <a:pt x="232929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E39B7EF2-7170-41BB-85AA-3D76E4A2E4B5}"/>
                </a:ext>
              </a:extLst>
            </p:cNvPr>
            <p:cNvSpPr txBox="1"/>
            <p:nvPr/>
          </p:nvSpPr>
          <p:spPr>
            <a:xfrm>
              <a:off x="1999306" y="1421550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B6AD26CB-21C3-4280-BB89-1D6B104840FF}"/>
                </a:ext>
              </a:extLst>
            </p:cNvPr>
            <p:cNvSpPr/>
            <p:nvPr/>
          </p:nvSpPr>
          <p:spPr bwMode="auto">
            <a:xfrm>
              <a:off x="1999306" y="1905072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8" name="文本框 27">
              <a:extLst>
                <a:ext uri="{FF2B5EF4-FFF2-40B4-BE49-F238E27FC236}">
                  <a16:creationId xmlns:a16="http://schemas.microsoft.com/office/drawing/2014/main" id="{ECB6F4AE-3637-4D0B-B910-C8C618FD4988}"/>
                </a:ext>
              </a:extLst>
            </p:cNvPr>
            <p:cNvSpPr txBox="1"/>
            <p:nvPr/>
          </p:nvSpPr>
          <p:spPr>
            <a:xfrm>
              <a:off x="1999306" y="4636232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6B210380-2094-45CF-B1E2-E98C10423965}"/>
                </a:ext>
              </a:extLst>
            </p:cNvPr>
            <p:cNvSpPr/>
            <p:nvPr/>
          </p:nvSpPr>
          <p:spPr bwMode="auto">
            <a:xfrm>
              <a:off x="1999306" y="5119754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0" name="文本框 29">
              <a:extLst>
                <a:ext uri="{FF2B5EF4-FFF2-40B4-BE49-F238E27FC236}">
                  <a16:creationId xmlns:a16="http://schemas.microsoft.com/office/drawing/2014/main" id="{630850DD-9DA1-4E3F-AABC-FB8AC7656352}"/>
                </a:ext>
              </a:extLst>
            </p:cNvPr>
            <p:cNvSpPr txBox="1"/>
            <p:nvPr/>
          </p:nvSpPr>
          <p:spPr>
            <a:xfrm>
              <a:off x="1141587" y="3083696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algn="r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CCFA7EC4-3F95-4A13-AAAA-50123EAD0FCF}"/>
                </a:ext>
              </a:extLst>
            </p:cNvPr>
            <p:cNvSpPr/>
            <p:nvPr/>
          </p:nvSpPr>
          <p:spPr bwMode="auto">
            <a:xfrm>
              <a:off x="1141587" y="3567218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2" name="文本框 31">
              <a:extLst>
                <a:ext uri="{FF2B5EF4-FFF2-40B4-BE49-F238E27FC236}">
                  <a16:creationId xmlns:a16="http://schemas.microsoft.com/office/drawing/2014/main" id="{352D434C-DFC6-4D1D-9215-60BA5B8B8364}"/>
                </a:ext>
              </a:extLst>
            </p:cNvPr>
            <p:cNvSpPr txBox="1"/>
            <p:nvPr/>
          </p:nvSpPr>
          <p:spPr>
            <a:xfrm>
              <a:off x="7617445" y="1421550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3" name="矩形 32">
              <a:extLst>
                <a:ext uri="{FF2B5EF4-FFF2-40B4-BE49-F238E27FC236}">
                  <a16:creationId xmlns:a16="http://schemas.microsoft.com/office/drawing/2014/main" id="{F3F61239-8E4C-4855-BCF4-70B55E345DC0}"/>
                </a:ext>
              </a:extLst>
            </p:cNvPr>
            <p:cNvSpPr/>
            <p:nvPr/>
          </p:nvSpPr>
          <p:spPr bwMode="auto">
            <a:xfrm>
              <a:off x="7617445" y="1905072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4" name="文本框 33">
              <a:extLst>
                <a:ext uri="{FF2B5EF4-FFF2-40B4-BE49-F238E27FC236}">
                  <a16:creationId xmlns:a16="http://schemas.microsoft.com/office/drawing/2014/main" id="{49759E69-7F5C-479F-9FEA-F9ED5A6D39FD}"/>
                </a:ext>
              </a:extLst>
            </p:cNvPr>
            <p:cNvSpPr txBox="1"/>
            <p:nvPr/>
          </p:nvSpPr>
          <p:spPr>
            <a:xfrm>
              <a:off x="7617445" y="4636232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5" name="矩形 34">
              <a:extLst>
                <a:ext uri="{FF2B5EF4-FFF2-40B4-BE49-F238E27FC236}">
                  <a16:creationId xmlns:a16="http://schemas.microsoft.com/office/drawing/2014/main" id="{50515739-F599-4C5D-93D2-4A4015D2E92A}"/>
                </a:ext>
              </a:extLst>
            </p:cNvPr>
            <p:cNvSpPr/>
            <p:nvPr/>
          </p:nvSpPr>
          <p:spPr bwMode="auto">
            <a:xfrm>
              <a:off x="7617445" y="5119754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36" name="文本框 35">
              <a:extLst>
                <a:ext uri="{FF2B5EF4-FFF2-40B4-BE49-F238E27FC236}">
                  <a16:creationId xmlns:a16="http://schemas.microsoft.com/office/drawing/2014/main" id="{150C0E8C-94ED-46A1-8202-4F975D092E8E}"/>
                </a:ext>
              </a:extLst>
            </p:cNvPr>
            <p:cNvSpPr txBox="1"/>
            <p:nvPr/>
          </p:nvSpPr>
          <p:spPr>
            <a:xfrm>
              <a:off x="8482300" y="3083696"/>
              <a:ext cx="2568113" cy="483522"/>
            </a:xfrm>
            <a:prstGeom prst="rect">
              <a:avLst/>
            </a:prstGeom>
            <a:noFill/>
          </p:spPr>
          <p:txBody>
            <a:bodyPr wrap="none" rtlCol="0" anchor="b">
              <a:normAutofit/>
            </a:bodyPr>
            <a:lstStyle/>
            <a:p>
              <a:pPr lvl="0" defTabSz="914378">
                <a:spcBef>
                  <a:spcPct val="0"/>
                </a:spcBef>
                <a:defRPr/>
              </a:pPr>
              <a:r>
                <a:rPr lang="en-US" altLang="zh-CN" b="1">
                  <a:cs typeface="+mn-ea"/>
                  <a:sym typeface="+mn-lt"/>
                </a:rPr>
                <a:t>… text</a:t>
              </a:r>
              <a:endParaRPr lang="zh-CN" altLang="en-US" b="1" dirty="0">
                <a:cs typeface="+mn-ea"/>
                <a:sym typeface="+mn-lt"/>
              </a:endParaRPr>
            </a:p>
          </p:txBody>
        </p:sp>
        <p:sp>
          <p:nvSpPr>
            <p:cNvPr id="37" name="矩形 36">
              <a:extLst>
                <a:ext uri="{FF2B5EF4-FFF2-40B4-BE49-F238E27FC236}">
                  <a16:creationId xmlns:a16="http://schemas.microsoft.com/office/drawing/2014/main" id="{0FBBDC2F-EF42-493A-A33E-7E75A0EAD8C1}"/>
                </a:ext>
              </a:extLst>
            </p:cNvPr>
            <p:cNvSpPr/>
            <p:nvPr/>
          </p:nvSpPr>
          <p:spPr bwMode="auto">
            <a:xfrm>
              <a:off x="8482300" y="3567218"/>
              <a:ext cx="2568113" cy="733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t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5828492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8225183-E020-45AB-ABEF-B902DCE6B9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586192D-DCB4-40BC-8AAD-BEC112EC18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9D35184-F8C0-4308-860C-22D10CE35A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3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F79EB208-0AC7-4E04-BBC7-7FB100EEC7C6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494920"/>
            <a:ext cx="10845800" cy="3476175"/>
            <a:chOff x="673100" y="1494920"/>
            <a:chExt cx="10845800" cy="3476175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DF5C9C2B-4A91-4A6B-96ED-BC7B23D85714}"/>
                </a:ext>
              </a:extLst>
            </p:cNvPr>
            <p:cNvCxnSpPr/>
            <p:nvPr/>
          </p:nvCxnSpPr>
          <p:spPr>
            <a:xfrm>
              <a:off x="673100" y="3422784"/>
              <a:ext cx="10845800" cy="0"/>
            </a:xfrm>
            <a:prstGeom prst="line">
              <a:avLst/>
            </a:prstGeom>
            <a:ln w="15875">
              <a:solidFill>
                <a:schemeClr val="bg1">
                  <a:lumMod val="85000"/>
                </a:schemeClr>
              </a:solidFill>
              <a:prstDash val="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AEB6001-93FB-474E-83F0-46305D6ADE33}"/>
                </a:ext>
              </a:extLst>
            </p:cNvPr>
            <p:cNvGrpSpPr/>
            <p:nvPr/>
          </p:nvGrpSpPr>
          <p:grpSpPr>
            <a:xfrm>
              <a:off x="1581534" y="3069772"/>
              <a:ext cx="706024" cy="706024"/>
              <a:chOff x="2077663" y="2690079"/>
              <a:chExt cx="980218" cy="98021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D45C7E0-7384-43D3-8221-15138562F226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A27AC49C-2820-42D7-88EE-6AB54D8CA04C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B796757-83BA-4AFA-A9AC-1E53B7746459}"/>
                </a:ext>
              </a:extLst>
            </p:cNvPr>
            <p:cNvGrpSpPr/>
            <p:nvPr/>
          </p:nvGrpSpPr>
          <p:grpSpPr>
            <a:xfrm>
              <a:off x="3662261" y="3069772"/>
              <a:ext cx="706024" cy="706024"/>
              <a:chOff x="2077663" y="2690079"/>
              <a:chExt cx="980218" cy="980218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43DC0EB5-DECF-42B2-A0A8-FC5D1341AA5D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4D557CB5-297D-4A32-9242-60FB985FA213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F4290BE7-9608-498E-8ED2-F40FD2A1344E}"/>
                </a:ext>
              </a:extLst>
            </p:cNvPr>
            <p:cNvGrpSpPr/>
            <p:nvPr/>
          </p:nvGrpSpPr>
          <p:grpSpPr>
            <a:xfrm>
              <a:off x="5399314" y="2726098"/>
              <a:ext cx="1393372" cy="1393372"/>
              <a:chOff x="2077663" y="2690079"/>
              <a:chExt cx="980218" cy="980218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1B1BDCA5-944E-4A4F-A5D7-D95AEAD1E29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E969B816-27C6-414F-8AA7-A76A3222F7A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7C4E37DD-4B81-42E4-9309-580474D5E7FD}"/>
                </a:ext>
              </a:extLst>
            </p:cNvPr>
            <p:cNvGrpSpPr/>
            <p:nvPr/>
          </p:nvGrpSpPr>
          <p:grpSpPr>
            <a:xfrm>
              <a:off x="7823715" y="3069772"/>
              <a:ext cx="706024" cy="706024"/>
              <a:chOff x="2077663" y="2690079"/>
              <a:chExt cx="980218" cy="980218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B106B5CF-358C-4D7C-B7DB-282937E58673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534A74AE-DB50-4EE8-A7B9-3AFB5282737B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21750EF2-802B-4AD7-8D53-D8E72516D54C}"/>
                </a:ext>
              </a:extLst>
            </p:cNvPr>
            <p:cNvGrpSpPr/>
            <p:nvPr/>
          </p:nvGrpSpPr>
          <p:grpSpPr>
            <a:xfrm>
              <a:off x="9904442" y="3069772"/>
              <a:ext cx="706024" cy="706024"/>
              <a:chOff x="2077663" y="2690079"/>
              <a:chExt cx="980218" cy="980218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856D5ED0-2654-43D0-826D-7CE2DED0810C}"/>
                  </a:ext>
                </a:extLst>
              </p:cNvPr>
              <p:cNvSpPr/>
              <p:nvPr/>
            </p:nvSpPr>
            <p:spPr>
              <a:xfrm>
                <a:off x="2077663" y="2690079"/>
                <a:ext cx="980218" cy="98021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50C1BCF7-57E4-41C6-9FE7-FEAFFE86B7E1}"/>
                  </a:ext>
                </a:extLst>
              </p:cNvPr>
              <p:cNvSpPr/>
              <p:nvPr/>
            </p:nvSpPr>
            <p:spPr bwMode="auto">
              <a:xfrm>
                <a:off x="2300729" y="2913547"/>
                <a:ext cx="534086" cy="533282"/>
              </a:xfrm>
              <a:custGeom>
                <a:avLst/>
                <a:gdLst>
                  <a:gd name="T0" fmla="*/ 9608 w 10667"/>
                  <a:gd name="T1" fmla="*/ 4056 h 10667"/>
                  <a:gd name="T2" fmla="*/ 9642 w 10667"/>
                  <a:gd name="T3" fmla="*/ 4561 h 10667"/>
                  <a:gd name="T4" fmla="*/ 9398 w 10667"/>
                  <a:gd name="T5" fmla="*/ 5365 h 10667"/>
                  <a:gd name="T6" fmla="*/ 9237 w 10667"/>
                  <a:gd name="T7" fmla="*/ 4433 h 10667"/>
                  <a:gd name="T8" fmla="*/ 8869 w 10667"/>
                  <a:gd name="T9" fmla="*/ 4582 h 10667"/>
                  <a:gd name="T10" fmla="*/ 8709 w 10667"/>
                  <a:gd name="T11" fmla="*/ 5514 h 10667"/>
                  <a:gd name="T12" fmla="*/ 8952 w 10667"/>
                  <a:gd name="T13" fmla="*/ 5395 h 10667"/>
                  <a:gd name="T14" fmla="*/ 8998 w 10667"/>
                  <a:gd name="T15" fmla="*/ 6944 h 10667"/>
                  <a:gd name="T16" fmla="*/ 9239 w 10667"/>
                  <a:gd name="T17" fmla="*/ 5720 h 10667"/>
                  <a:gd name="T18" fmla="*/ 9377 w 10667"/>
                  <a:gd name="T19" fmla="*/ 6807 h 10667"/>
                  <a:gd name="T20" fmla="*/ 9687 w 10667"/>
                  <a:gd name="T21" fmla="*/ 6787 h 10667"/>
                  <a:gd name="T22" fmla="*/ 9559 w 10667"/>
                  <a:gd name="T23" fmla="*/ 4821 h 10667"/>
                  <a:gd name="T24" fmla="*/ 9939 w 10667"/>
                  <a:gd name="T25" fmla="*/ 5391 h 10667"/>
                  <a:gd name="T26" fmla="*/ 6566 w 10667"/>
                  <a:gd name="T27" fmla="*/ 1130 h 10667"/>
                  <a:gd name="T28" fmla="*/ 5448 w 10667"/>
                  <a:gd name="T29" fmla="*/ 2261 h 10667"/>
                  <a:gd name="T30" fmla="*/ 7197 w 10667"/>
                  <a:gd name="T31" fmla="*/ 8282 h 10667"/>
                  <a:gd name="T32" fmla="*/ 6553 w 10667"/>
                  <a:gd name="T33" fmla="*/ 5860 h 10667"/>
                  <a:gd name="T34" fmla="*/ 6867 w 10667"/>
                  <a:gd name="T35" fmla="*/ 5540 h 10667"/>
                  <a:gd name="T36" fmla="*/ 6677 w 10667"/>
                  <a:gd name="T37" fmla="*/ 2794 h 10667"/>
                  <a:gd name="T38" fmla="*/ 5875 w 10667"/>
                  <a:gd name="T39" fmla="*/ 5440 h 10667"/>
                  <a:gd name="T40" fmla="*/ 5344 w 10667"/>
                  <a:gd name="T41" fmla="*/ 2372 h 10667"/>
                  <a:gd name="T42" fmla="*/ 4134 w 10667"/>
                  <a:gd name="T43" fmla="*/ 2863 h 10667"/>
                  <a:gd name="T44" fmla="*/ 3606 w 10667"/>
                  <a:gd name="T45" fmla="*/ 5931 h 10667"/>
                  <a:gd name="T46" fmla="*/ 4406 w 10667"/>
                  <a:gd name="T47" fmla="*/ 5536 h 10667"/>
                  <a:gd name="T48" fmla="*/ 3036 w 10667"/>
                  <a:gd name="T49" fmla="*/ 8836 h 10667"/>
                  <a:gd name="T50" fmla="*/ 1301 w 10667"/>
                  <a:gd name="T51" fmla="*/ 9187 h 10667"/>
                  <a:gd name="T52" fmla="*/ 3942 w 10667"/>
                  <a:gd name="T53" fmla="*/ 10566 h 10667"/>
                  <a:gd name="T54" fmla="*/ 8368 w 10667"/>
                  <a:gd name="T55" fmla="*/ 10227 h 10667"/>
                  <a:gd name="T56" fmla="*/ 5409 w 10667"/>
                  <a:gd name="T57" fmla="*/ 9687 h 10667"/>
                  <a:gd name="T58" fmla="*/ 5462 w 10667"/>
                  <a:gd name="T59" fmla="*/ 6588 h 10667"/>
                  <a:gd name="T60" fmla="*/ 5409 w 10667"/>
                  <a:gd name="T61" fmla="*/ 9687 h 10667"/>
                  <a:gd name="T62" fmla="*/ 9674 w 10667"/>
                  <a:gd name="T63" fmla="*/ 7185 h 10667"/>
                  <a:gd name="T64" fmla="*/ 9255 w 10667"/>
                  <a:gd name="T65" fmla="*/ 7228 h 10667"/>
                  <a:gd name="T66" fmla="*/ 8691 w 10667"/>
                  <a:gd name="T67" fmla="*/ 6602 h 10667"/>
                  <a:gd name="T68" fmla="*/ 10667 w 10667"/>
                  <a:gd name="T69" fmla="*/ 7058 h 10667"/>
                  <a:gd name="T70" fmla="*/ 1068 w 10667"/>
                  <a:gd name="T71" fmla="*/ 4056 h 10667"/>
                  <a:gd name="T72" fmla="*/ 1407 w 10667"/>
                  <a:gd name="T73" fmla="*/ 4399 h 10667"/>
                  <a:gd name="T74" fmla="*/ 1620 w 10667"/>
                  <a:gd name="T75" fmla="*/ 4469 h 10667"/>
                  <a:gd name="T76" fmla="*/ 1410 w 10667"/>
                  <a:gd name="T77" fmla="*/ 5515 h 10667"/>
                  <a:gd name="T78" fmla="*/ 1189 w 10667"/>
                  <a:gd name="T79" fmla="*/ 4467 h 10667"/>
                  <a:gd name="T80" fmla="*/ 728 w 10667"/>
                  <a:gd name="T81" fmla="*/ 5387 h 10667"/>
                  <a:gd name="T82" fmla="*/ 967 w 10667"/>
                  <a:gd name="T83" fmla="*/ 5399 h 10667"/>
                  <a:gd name="T84" fmla="*/ 1088 w 10667"/>
                  <a:gd name="T85" fmla="*/ 5407 h 10667"/>
                  <a:gd name="T86" fmla="*/ 1148 w 10667"/>
                  <a:gd name="T87" fmla="*/ 6944 h 10667"/>
                  <a:gd name="T88" fmla="*/ 1411 w 10667"/>
                  <a:gd name="T89" fmla="*/ 5714 h 10667"/>
                  <a:gd name="T90" fmla="*/ 1671 w 10667"/>
                  <a:gd name="T91" fmla="*/ 6954 h 10667"/>
                  <a:gd name="T92" fmla="*/ 1743 w 10667"/>
                  <a:gd name="T93" fmla="*/ 5493 h 10667"/>
                  <a:gd name="T94" fmla="*/ 1838 w 10667"/>
                  <a:gd name="T95" fmla="*/ 5396 h 10667"/>
                  <a:gd name="T96" fmla="*/ 1780 w 10667"/>
                  <a:gd name="T97" fmla="*/ 4561 h 10667"/>
                  <a:gd name="T98" fmla="*/ 1813 w 10667"/>
                  <a:gd name="T99" fmla="*/ 7185 h 10667"/>
                  <a:gd name="T100" fmla="*/ 1394 w 10667"/>
                  <a:gd name="T101" fmla="*/ 7228 h 10667"/>
                  <a:gd name="T102" fmla="*/ 830 w 10667"/>
                  <a:gd name="T103" fmla="*/ 6602 h 10667"/>
                  <a:gd name="T104" fmla="*/ 2805 w 10667"/>
                  <a:gd name="T105" fmla="*/ 7058 h 106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667" h="10667">
                    <a:moveTo>
                      <a:pt x="8929" y="4056"/>
                    </a:moveTo>
                    <a:cubicBezTo>
                      <a:pt x="8929" y="3866"/>
                      <a:pt x="9081" y="3713"/>
                      <a:pt x="9268" y="3713"/>
                    </a:cubicBezTo>
                    <a:cubicBezTo>
                      <a:pt x="9456" y="3713"/>
                      <a:pt x="9608" y="3866"/>
                      <a:pt x="9608" y="4056"/>
                    </a:cubicBezTo>
                    <a:cubicBezTo>
                      <a:pt x="9608" y="4246"/>
                      <a:pt x="9456" y="4399"/>
                      <a:pt x="9268" y="4399"/>
                    </a:cubicBezTo>
                    <a:cubicBezTo>
                      <a:pt x="9081" y="4399"/>
                      <a:pt x="8929" y="4246"/>
                      <a:pt x="8929" y="4056"/>
                    </a:cubicBezTo>
                    <a:close/>
                    <a:moveTo>
                      <a:pt x="9642" y="4561"/>
                    </a:moveTo>
                    <a:cubicBezTo>
                      <a:pt x="9592" y="4523"/>
                      <a:pt x="9541" y="4489"/>
                      <a:pt x="9482" y="4469"/>
                    </a:cubicBezTo>
                    <a:cubicBezTo>
                      <a:pt x="9427" y="4449"/>
                      <a:pt x="9369" y="4439"/>
                      <a:pt x="9310" y="4434"/>
                    </a:cubicBezTo>
                    <a:lnTo>
                      <a:pt x="9398" y="5365"/>
                    </a:lnTo>
                    <a:lnTo>
                      <a:pt x="9272" y="5515"/>
                    </a:lnTo>
                    <a:lnTo>
                      <a:pt x="9127" y="5365"/>
                    </a:lnTo>
                    <a:lnTo>
                      <a:pt x="9237" y="4433"/>
                    </a:lnTo>
                    <a:cubicBezTo>
                      <a:pt x="9173" y="4435"/>
                      <a:pt x="9110" y="4446"/>
                      <a:pt x="9050" y="4467"/>
                    </a:cubicBezTo>
                    <a:cubicBezTo>
                      <a:pt x="9025" y="4476"/>
                      <a:pt x="9002" y="4487"/>
                      <a:pt x="8979" y="4500"/>
                    </a:cubicBezTo>
                    <a:cubicBezTo>
                      <a:pt x="8940" y="4523"/>
                      <a:pt x="8903" y="4551"/>
                      <a:pt x="8869" y="4582"/>
                    </a:cubicBezTo>
                    <a:cubicBezTo>
                      <a:pt x="8700" y="4734"/>
                      <a:pt x="8609" y="4997"/>
                      <a:pt x="8589" y="5387"/>
                    </a:cubicBezTo>
                    <a:cubicBezTo>
                      <a:pt x="8586" y="5454"/>
                      <a:pt x="8637" y="5511"/>
                      <a:pt x="8703" y="5514"/>
                    </a:cubicBezTo>
                    <a:cubicBezTo>
                      <a:pt x="8705" y="5514"/>
                      <a:pt x="8707" y="5514"/>
                      <a:pt x="8709" y="5514"/>
                    </a:cubicBezTo>
                    <a:cubicBezTo>
                      <a:pt x="8772" y="5514"/>
                      <a:pt x="8825" y="5464"/>
                      <a:pt x="8828" y="5399"/>
                    </a:cubicBezTo>
                    <a:cubicBezTo>
                      <a:pt x="8842" y="5135"/>
                      <a:pt x="8893" y="4938"/>
                      <a:pt x="8978" y="4821"/>
                    </a:cubicBezTo>
                    <a:cubicBezTo>
                      <a:pt x="8972" y="4944"/>
                      <a:pt x="8961" y="5167"/>
                      <a:pt x="8952" y="5395"/>
                    </a:cubicBezTo>
                    <a:cubicBezTo>
                      <a:pt x="8951" y="5399"/>
                      <a:pt x="8950" y="5403"/>
                      <a:pt x="8950" y="5407"/>
                    </a:cubicBezTo>
                    <a:lnTo>
                      <a:pt x="8854" y="6776"/>
                    </a:lnTo>
                    <a:cubicBezTo>
                      <a:pt x="8848" y="6863"/>
                      <a:pt x="8912" y="6938"/>
                      <a:pt x="8998" y="6944"/>
                    </a:cubicBezTo>
                    <a:cubicBezTo>
                      <a:pt x="9002" y="6944"/>
                      <a:pt x="9005" y="6944"/>
                      <a:pt x="9009" y="6944"/>
                    </a:cubicBezTo>
                    <a:cubicBezTo>
                      <a:pt x="9090" y="6944"/>
                      <a:pt x="9158" y="6881"/>
                      <a:pt x="9163" y="6798"/>
                    </a:cubicBezTo>
                    <a:lnTo>
                      <a:pt x="9239" y="5720"/>
                    </a:lnTo>
                    <a:cubicBezTo>
                      <a:pt x="9251" y="5717"/>
                      <a:pt x="9262" y="5714"/>
                      <a:pt x="9273" y="5714"/>
                    </a:cubicBezTo>
                    <a:cubicBezTo>
                      <a:pt x="9284" y="5714"/>
                      <a:pt x="9296" y="5716"/>
                      <a:pt x="9307" y="5717"/>
                    </a:cubicBezTo>
                    <a:lnTo>
                      <a:pt x="9377" y="6807"/>
                    </a:lnTo>
                    <a:cubicBezTo>
                      <a:pt x="9382" y="6890"/>
                      <a:pt x="9451" y="6954"/>
                      <a:pt x="9532" y="6954"/>
                    </a:cubicBezTo>
                    <a:cubicBezTo>
                      <a:pt x="9535" y="6954"/>
                      <a:pt x="9539" y="6954"/>
                      <a:pt x="9542" y="6954"/>
                    </a:cubicBezTo>
                    <a:cubicBezTo>
                      <a:pt x="9628" y="6948"/>
                      <a:pt x="9692" y="6873"/>
                      <a:pt x="9687" y="6787"/>
                    </a:cubicBezTo>
                    <a:lnTo>
                      <a:pt x="9604" y="5493"/>
                    </a:lnTo>
                    <a:cubicBezTo>
                      <a:pt x="9604" y="5486"/>
                      <a:pt x="9602" y="5479"/>
                      <a:pt x="9601" y="5472"/>
                    </a:cubicBezTo>
                    <a:cubicBezTo>
                      <a:pt x="9594" y="5274"/>
                      <a:pt x="9571" y="4981"/>
                      <a:pt x="9559" y="4821"/>
                    </a:cubicBezTo>
                    <a:cubicBezTo>
                      <a:pt x="9645" y="4939"/>
                      <a:pt x="9694" y="5134"/>
                      <a:pt x="9700" y="5396"/>
                    </a:cubicBezTo>
                    <a:cubicBezTo>
                      <a:pt x="9701" y="5462"/>
                      <a:pt x="9754" y="5514"/>
                      <a:pt x="9822" y="5514"/>
                    </a:cubicBezTo>
                    <a:cubicBezTo>
                      <a:pt x="9888" y="5513"/>
                      <a:pt x="9940" y="5458"/>
                      <a:pt x="9939" y="5391"/>
                    </a:cubicBezTo>
                    <a:cubicBezTo>
                      <a:pt x="9931" y="4988"/>
                      <a:pt x="9831" y="4709"/>
                      <a:pt x="9642" y="4561"/>
                    </a:cubicBezTo>
                    <a:close/>
                    <a:moveTo>
                      <a:pt x="5448" y="2261"/>
                    </a:moveTo>
                    <a:cubicBezTo>
                      <a:pt x="6065" y="2261"/>
                      <a:pt x="6566" y="1755"/>
                      <a:pt x="6566" y="1130"/>
                    </a:cubicBezTo>
                    <a:cubicBezTo>
                      <a:pt x="6566" y="506"/>
                      <a:pt x="6065" y="0"/>
                      <a:pt x="5448" y="0"/>
                    </a:cubicBezTo>
                    <a:cubicBezTo>
                      <a:pt x="4832" y="0"/>
                      <a:pt x="4332" y="506"/>
                      <a:pt x="4332" y="1130"/>
                    </a:cubicBezTo>
                    <a:cubicBezTo>
                      <a:pt x="4332" y="1755"/>
                      <a:pt x="4832" y="2261"/>
                      <a:pt x="5448" y="2261"/>
                    </a:cubicBezTo>
                    <a:close/>
                    <a:moveTo>
                      <a:pt x="9566" y="9187"/>
                    </a:moveTo>
                    <a:cubicBezTo>
                      <a:pt x="9566" y="8589"/>
                      <a:pt x="8569" y="8079"/>
                      <a:pt x="7146" y="7846"/>
                    </a:cubicBezTo>
                    <a:lnTo>
                      <a:pt x="7197" y="8282"/>
                    </a:lnTo>
                    <a:cubicBezTo>
                      <a:pt x="7559" y="8431"/>
                      <a:pt x="7781" y="8624"/>
                      <a:pt x="7781" y="8836"/>
                    </a:cubicBezTo>
                    <a:cubicBezTo>
                      <a:pt x="7781" y="9120"/>
                      <a:pt x="7386" y="9369"/>
                      <a:pt x="6788" y="9523"/>
                    </a:cubicBezTo>
                    <a:lnTo>
                      <a:pt x="6553" y="5860"/>
                    </a:lnTo>
                    <a:cubicBezTo>
                      <a:pt x="6552" y="5836"/>
                      <a:pt x="6547" y="5814"/>
                      <a:pt x="6542" y="5791"/>
                    </a:cubicBezTo>
                    <a:cubicBezTo>
                      <a:pt x="6519" y="5139"/>
                      <a:pt x="6446" y="4174"/>
                      <a:pt x="6403" y="3649"/>
                    </a:cubicBezTo>
                    <a:cubicBezTo>
                      <a:pt x="6689" y="4036"/>
                      <a:pt x="6850" y="4677"/>
                      <a:pt x="6867" y="5540"/>
                    </a:cubicBezTo>
                    <a:cubicBezTo>
                      <a:pt x="6872" y="5758"/>
                      <a:pt x="7047" y="5931"/>
                      <a:pt x="7269" y="5931"/>
                    </a:cubicBezTo>
                    <a:cubicBezTo>
                      <a:pt x="7487" y="5926"/>
                      <a:pt x="7660" y="5744"/>
                      <a:pt x="7655" y="5524"/>
                    </a:cubicBezTo>
                    <a:cubicBezTo>
                      <a:pt x="7628" y="4200"/>
                      <a:pt x="7299" y="3281"/>
                      <a:pt x="6677" y="2794"/>
                    </a:cubicBezTo>
                    <a:cubicBezTo>
                      <a:pt x="6515" y="2666"/>
                      <a:pt x="6346" y="2557"/>
                      <a:pt x="6150" y="2489"/>
                    </a:cubicBezTo>
                    <a:cubicBezTo>
                      <a:pt x="5969" y="2425"/>
                      <a:pt x="5778" y="2390"/>
                      <a:pt x="5587" y="2376"/>
                    </a:cubicBezTo>
                    <a:lnTo>
                      <a:pt x="5875" y="5440"/>
                    </a:lnTo>
                    <a:lnTo>
                      <a:pt x="5459" y="5934"/>
                    </a:lnTo>
                    <a:lnTo>
                      <a:pt x="4983" y="5440"/>
                    </a:lnTo>
                    <a:lnTo>
                      <a:pt x="5344" y="2372"/>
                    </a:lnTo>
                    <a:cubicBezTo>
                      <a:pt x="5135" y="2379"/>
                      <a:pt x="4926" y="2413"/>
                      <a:pt x="4729" y="2484"/>
                    </a:cubicBezTo>
                    <a:cubicBezTo>
                      <a:pt x="4648" y="2513"/>
                      <a:pt x="4570" y="2548"/>
                      <a:pt x="4496" y="2592"/>
                    </a:cubicBezTo>
                    <a:cubicBezTo>
                      <a:pt x="4366" y="2669"/>
                      <a:pt x="4247" y="2762"/>
                      <a:pt x="4134" y="2863"/>
                    </a:cubicBezTo>
                    <a:cubicBezTo>
                      <a:pt x="3578" y="3362"/>
                      <a:pt x="3276" y="4228"/>
                      <a:pt x="3213" y="5512"/>
                    </a:cubicBezTo>
                    <a:cubicBezTo>
                      <a:pt x="3202" y="5732"/>
                      <a:pt x="3369" y="5919"/>
                      <a:pt x="3586" y="5930"/>
                    </a:cubicBezTo>
                    <a:cubicBezTo>
                      <a:pt x="3593" y="5931"/>
                      <a:pt x="3600" y="5931"/>
                      <a:pt x="3606" y="5931"/>
                    </a:cubicBezTo>
                    <a:cubicBezTo>
                      <a:pt x="3815" y="5931"/>
                      <a:pt x="3989" y="5765"/>
                      <a:pt x="4000" y="5552"/>
                    </a:cubicBezTo>
                    <a:cubicBezTo>
                      <a:pt x="4043" y="4683"/>
                      <a:pt x="4213" y="4034"/>
                      <a:pt x="4493" y="3649"/>
                    </a:cubicBezTo>
                    <a:cubicBezTo>
                      <a:pt x="4473" y="4053"/>
                      <a:pt x="4437" y="4787"/>
                      <a:pt x="4406" y="5536"/>
                    </a:cubicBezTo>
                    <a:cubicBezTo>
                      <a:pt x="4404" y="5550"/>
                      <a:pt x="4400" y="5563"/>
                      <a:pt x="4399" y="5577"/>
                    </a:cubicBezTo>
                    <a:lnTo>
                      <a:pt x="4121" y="9550"/>
                    </a:lnTo>
                    <a:cubicBezTo>
                      <a:pt x="3469" y="9398"/>
                      <a:pt x="3036" y="9136"/>
                      <a:pt x="3036" y="8836"/>
                    </a:cubicBezTo>
                    <a:cubicBezTo>
                      <a:pt x="3036" y="8606"/>
                      <a:pt x="3298" y="8398"/>
                      <a:pt x="3715" y="8245"/>
                    </a:cubicBezTo>
                    <a:lnTo>
                      <a:pt x="3745" y="7843"/>
                    </a:lnTo>
                    <a:cubicBezTo>
                      <a:pt x="2309" y="8075"/>
                      <a:pt x="1301" y="8586"/>
                      <a:pt x="1301" y="9187"/>
                    </a:cubicBezTo>
                    <a:cubicBezTo>
                      <a:pt x="1301" y="9666"/>
                      <a:pt x="1867" y="9963"/>
                      <a:pt x="2241" y="10125"/>
                    </a:cubicBezTo>
                    <a:cubicBezTo>
                      <a:pt x="2579" y="10272"/>
                      <a:pt x="2936" y="10374"/>
                      <a:pt x="3295" y="10452"/>
                    </a:cubicBezTo>
                    <a:cubicBezTo>
                      <a:pt x="3509" y="10498"/>
                      <a:pt x="3725" y="10536"/>
                      <a:pt x="3942" y="10566"/>
                    </a:cubicBezTo>
                    <a:cubicBezTo>
                      <a:pt x="4438" y="10635"/>
                      <a:pt x="4931" y="10667"/>
                      <a:pt x="5434" y="10667"/>
                    </a:cubicBezTo>
                    <a:cubicBezTo>
                      <a:pt x="5609" y="10667"/>
                      <a:pt x="5784" y="10662"/>
                      <a:pt x="5959" y="10654"/>
                    </a:cubicBezTo>
                    <a:cubicBezTo>
                      <a:pt x="6767" y="10615"/>
                      <a:pt x="7596" y="10506"/>
                      <a:pt x="8368" y="10227"/>
                    </a:cubicBezTo>
                    <a:cubicBezTo>
                      <a:pt x="8794" y="10073"/>
                      <a:pt x="9463" y="9799"/>
                      <a:pt x="9557" y="9286"/>
                    </a:cubicBezTo>
                    <a:cubicBezTo>
                      <a:pt x="9563" y="9253"/>
                      <a:pt x="9566" y="9220"/>
                      <a:pt x="9566" y="9187"/>
                    </a:cubicBezTo>
                    <a:close/>
                    <a:moveTo>
                      <a:pt x="5409" y="9687"/>
                    </a:moveTo>
                    <a:cubicBezTo>
                      <a:pt x="5316" y="9687"/>
                      <a:pt x="5226" y="9685"/>
                      <a:pt x="5136" y="9681"/>
                    </a:cubicBezTo>
                    <a:lnTo>
                      <a:pt x="5351" y="6608"/>
                    </a:lnTo>
                    <a:cubicBezTo>
                      <a:pt x="5390" y="6597"/>
                      <a:pt x="5429" y="6588"/>
                      <a:pt x="5462" y="6588"/>
                    </a:cubicBezTo>
                    <a:cubicBezTo>
                      <a:pt x="5501" y="6588"/>
                      <a:pt x="5539" y="6595"/>
                      <a:pt x="5577" y="6599"/>
                    </a:cubicBezTo>
                    <a:lnTo>
                      <a:pt x="5773" y="9671"/>
                    </a:lnTo>
                    <a:cubicBezTo>
                      <a:pt x="5653" y="9678"/>
                      <a:pt x="5535" y="9687"/>
                      <a:pt x="5409" y="9687"/>
                    </a:cubicBezTo>
                    <a:close/>
                    <a:moveTo>
                      <a:pt x="9863" y="6751"/>
                    </a:moveTo>
                    <a:cubicBezTo>
                      <a:pt x="9985" y="6801"/>
                      <a:pt x="10061" y="6867"/>
                      <a:pt x="10061" y="6939"/>
                    </a:cubicBezTo>
                    <a:cubicBezTo>
                      <a:pt x="10061" y="7043"/>
                      <a:pt x="9905" y="7134"/>
                      <a:pt x="9674" y="7185"/>
                    </a:cubicBezTo>
                    <a:cubicBezTo>
                      <a:pt x="9657" y="7190"/>
                      <a:pt x="9638" y="7195"/>
                      <a:pt x="9619" y="7197"/>
                    </a:cubicBezTo>
                    <a:cubicBezTo>
                      <a:pt x="9614" y="7198"/>
                      <a:pt x="9609" y="7198"/>
                      <a:pt x="9605" y="7198"/>
                    </a:cubicBezTo>
                    <a:cubicBezTo>
                      <a:pt x="9499" y="7217"/>
                      <a:pt x="9382" y="7228"/>
                      <a:pt x="9255" y="7228"/>
                    </a:cubicBezTo>
                    <a:cubicBezTo>
                      <a:pt x="8811" y="7228"/>
                      <a:pt x="8451" y="7098"/>
                      <a:pt x="8451" y="6939"/>
                    </a:cubicBezTo>
                    <a:cubicBezTo>
                      <a:pt x="8451" y="6861"/>
                      <a:pt x="8539" y="6790"/>
                      <a:pt x="8681" y="6739"/>
                    </a:cubicBezTo>
                    <a:lnTo>
                      <a:pt x="8691" y="6602"/>
                    </a:lnTo>
                    <a:cubicBezTo>
                      <a:pt x="8203" y="6681"/>
                      <a:pt x="7861" y="6854"/>
                      <a:pt x="7861" y="7058"/>
                    </a:cubicBezTo>
                    <a:cubicBezTo>
                      <a:pt x="7861" y="7335"/>
                      <a:pt x="8489" y="7560"/>
                      <a:pt x="9264" y="7560"/>
                    </a:cubicBezTo>
                    <a:cubicBezTo>
                      <a:pt x="10039" y="7560"/>
                      <a:pt x="10667" y="7335"/>
                      <a:pt x="10667" y="7058"/>
                    </a:cubicBezTo>
                    <a:cubicBezTo>
                      <a:pt x="10667" y="6855"/>
                      <a:pt x="10328" y="6682"/>
                      <a:pt x="9845" y="6603"/>
                    </a:cubicBezTo>
                    <a:lnTo>
                      <a:pt x="9863" y="6751"/>
                    </a:lnTo>
                    <a:close/>
                    <a:moveTo>
                      <a:pt x="1068" y="4056"/>
                    </a:moveTo>
                    <a:cubicBezTo>
                      <a:pt x="1068" y="3866"/>
                      <a:pt x="1220" y="3713"/>
                      <a:pt x="1407" y="3713"/>
                    </a:cubicBezTo>
                    <a:cubicBezTo>
                      <a:pt x="1594" y="3713"/>
                      <a:pt x="1747" y="3866"/>
                      <a:pt x="1747" y="4056"/>
                    </a:cubicBezTo>
                    <a:cubicBezTo>
                      <a:pt x="1747" y="4246"/>
                      <a:pt x="1594" y="4399"/>
                      <a:pt x="1407" y="4399"/>
                    </a:cubicBezTo>
                    <a:cubicBezTo>
                      <a:pt x="1220" y="4399"/>
                      <a:pt x="1068" y="4246"/>
                      <a:pt x="1068" y="4056"/>
                    </a:cubicBezTo>
                    <a:close/>
                    <a:moveTo>
                      <a:pt x="1780" y="4561"/>
                    </a:moveTo>
                    <a:cubicBezTo>
                      <a:pt x="1731" y="4523"/>
                      <a:pt x="1680" y="4489"/>
                      <a:pt x="1620" y="4469"/>
                    </a:cubicBezTo>
                    <a:cubicBezTo>
                      <a:pt x="1565" y="4449"/>
                      <a:pt x="1507" y="4439"/>
                      <a:pt x="1449" y="4434"/>
                    </a:cubicBezTo>
                    <a:lnTo>
                      <a:pt x="1537" y="5365"/>
                    </a:lnTo>
                    <a:lnTo>
                      <a:pt x="1410" y="5515"/>
                    </a:lnTo>
                    <a:lnTo>
                      <a:pt x="1266" y="5365"/>
                    </a:lnTo>
                    <a:lnTo>
                      <a:pt x="1376" y="4433"/>
                    </a:lnTo>
                    <a:cubicBezTo>
                      <a:pt x="1312" y="4435"/>
                      <a:pt x="1248" y="4446"/>
                      <a:pt x="1189" y="4467"/>
                    </a:cubicBezTo>
                    <a:cubicBezTo>
                      <a:pt x="1164" y="4476"/>
                      <a:pt x="1140" y="4487"/>
                      <a:pt x="1118" y="4500"/>
                    </a:cubicBezTo>
                    <a:cubicBezTo>
                      <a:pt x="1078" y="4523"/>
                      <a:pt x="1042" y="4551"/>
                      <a:pt x="1008" y="4582"/>
                    </a:cubicBezTo>
                    <a:cubicBezTo>
                      <a:pt x="839" y="4734"/>
                      <a:pt x="747" y="4997"/>
                      <a:pt x="728" y="5387"/>
                    </a:cubicBezTo>
                    <a:cubicBezTo>
                      <a:pt x="725" y="5454"/>
                      <a:pt x="775" y="5511"/>
                      <a:pt x="841" y="5514"/>
                    </a:cubicBezTo>
                    <a:cubicBezTo>
                      <a:pt x="843" y="5514"/>
                      <a:pt x="845" y="5514"/>
                      <a:pt x="848" y="5514"/>
                    </a:cubicBezTo>
                    <a:cubicBezTo>
                      <a:pt x="911" y="5514"/>
                      <a:pt x="964" y="5464"/>
                      <a:pt x="967" y="5399"/>
                    </a:cubicBezTo>
                    <a:cubicBezTo>
                      <a:pt x="980" y="5135"/>
                      <a:pt x="1032" y="4938"/>
                      <a:pt x="1117" y="4821"/>
                    </a:cubicBezTo>
                    <a:cubicBezTo>
                      <a:pt x="1111" y="4944"/>
                      <a:pt x="1100" y="5167"/>
                      <a:pt x="1090" y="5395"/>
                    </a:cubicBezTo>
                    <a:cubicBezTo>
                      <a:pt x="1090" y="5399"/>
                      <a:pt x="1089" y="5403"/>
                      <a:pt x="1088" y="5407"/>
                    </a:cubicBezTo>
                    <a:lnTo>
                      <a:pt x="993" y="6776"/>
                    </a:lnTo>
                    <a:cubicBezTo>
                      <a:pt x="987" y="6863"/>
                      <a:pt x="1051" y="6938"/>
                      <a:pt x="1136" y="6944"/>
                    </a:cubicBezTo>
                    <a:cubicBezTo>
                      <a:pt x="1140" y="6944"/>
                      <a:pt x="1144" y="6944"/>
                      <a:pt x="1148" y="6944"/>
                    </a:cubicBezTo>
                    <a:cubicBezTo>
                      <a:pt x="1228" y="6944"/>
                      <a:pt x="1296" y="6881"/>
                      <a:pt x="1302" y="6798"/>
                    </a:cubicBezTo>
                    <a:lnTo>
                      <a:pt x="1378" y="5720"/>
                    </a:lnTo>
                    <a:cubicBezTo>
                      <a:pt x="1389" y="5717"/>
                      <a:pt x="1401" y="5714"/>
                      <a:pt x="1411" y="5714"/>
                    </a:cubicBezTo>
                    <a:cubicBezTo>
                      <a:pt x="1423" y="5714"/>
                      <a:pt x="1435" y="5716"/>
                      <a:pt x="1446" y="5717"/>
                    </a:cubicBezTo>
                    <a:lnTo>
                      <a:pt x="1516" y="6807"/>
                    </a:lnTo>
                    <a:cubicBezTo>
                      <a:pt x="1521" y="6890"/>
                      <a:pt x="1589" y="6954"/>
                      <a:pt x="1671" y="6954"/>
                    </a:cubicBezTo>
                    <a:cubicBezTo>
                      <a:pt x="1674" y="6954"/>
                      <a:pt x="1677" y="6954"/>
                      <a:pt x="1681" y="6954"/>
                    </a:cubicBezTo>
                    <a:cubicBezTo>
                      <a:pt x="1766" y="6948"/>
                      <a:pt x="1831" y="6873"/>
                      <a:pt x="1826" y="6787"/>
                    </a:cubicBezTo>
                    <a:lnTo>
                      <a:pt x="1743" y="5493"/>
                    </a:lnTo>
                    <a:cubicBezTo>
                      <a:pt x="1742" y="5486"/>
                      <a:pt x="1741" y="5479"/>
                      <a:pt x="1739" y="5472"/>
                    </a:cubicBezTo>
                    <a:cubicBezTo>
                      <a:pt x="1732" y="5274"/>
                      <a:pt x="1710" y="4981"/>
                      <a:pt x="1697" y="4821"/>
                    </a:cubicBezTo>
                    <a:cubicBezTo>
                      <a:pt x="1784" y="4939"/>
                      <a:pt x="1833" y="5134"/>
                      <a:pt x="1838" y="5396"/>
                    </a:cubicBezTo>
                    <a:cubicBezTo>
                      <a:pt x="1840" y="5462"/>
                      <a:pt x="1893" y="5514"/>
                      <a:pt x="1960" y="5514"/>
                    </a:cubicBezTo>
                    <a:cubicBezTo>
                      <a:pt x="2027" y="5513"/>
                      <a:pt x="2079" y="5458"/>
                      <a:pt x="2078" y="5391"/>
                    </a:cubicBezTo>
                    <a:cubicBezTo>
                      <a:pt x="2069" y="4988"/>
                      <a:pt x="1969" y="4709"/>
                      <a:pt x="1780" y="4561"/>
                    </a:cubicBezTo>
                    <a:close/>
                    <a:moveTo>
                      <a:pt x="2002" y="6751"/>
                    </a:moveTo>
                    <a:cubicBezTo>
                      <a:pt x="2124" y="6801"/>
                      <a:pt x="2200" y="6867"/>
                      <a:pt x="2200" y="6939"/>
                    </a:cubicBezTo>
                    <a:cubicBezTo>
                      <a:pt x="2200" y="7043"/>
                      <a:pt x="2044" y="7134"/>
                      <a:pt x="1813" y="7185"/>
                    </a:cubicBezTo>
                    <a:cubicBezTo>
                      <a:pt x="1795" y="7190"/>
                      <a:pt x="1777" y="7195"/>
                      <a:pt x="1758" y="7197"/>
                    </a:cubicBezTo>
                    <a:cubicBezTo>
                      <a:pt x="1753" y="7198"/>
                      <a:pt x="1748" y="7198"/>
                      <a:pt x="1743" y="7198"/>
                    </a:cubicBezTo>
                    <a:cubicBezTo>
                      <a:pt x="1637" y="7217"/>
                      <a:pt x="1520" y="7228"/>
                      <a:pt x="1394" y="7228"/>
                    </a:cubicBezTo>
                    <a:cubicBezTo>
                      <a:pt x="950" y="7228"/>
                      <a:pt x="589" y="7098"/>
                      <a:pt x="589" y="6939"/>
                    </a:cubicBezTo>
                    <a:cubicBezTo>
                      <a:pt x="589" y="6861"/>
                      <a:pt x="678" y="6790"/>
                      <a:pt x="820" y="6739"/>
                    </a:cubicBezTo>
                    <a:lnTo>
                      <a:pt x="830" y="6602"/>
                    </a:lnTo>
                    <a:cubicBezTo>
                      <a:pt x="342" y="6681"/>
                      <a:pt x="0" y="6854"/>
                      <a:pt x="0" y="7058"/>
                    </a:cubicBezTo>
                    <a:cubicBezTo>
                      <a:pt x="0" y="7335"/>
                      <a:pt x="628" y="7560"/>
                      <a:pt x="1403" y="7560"/>
                    </a:cubicBezTo>
                    <a:cubicBezTo>
                      <a:pt x="2177" y="7560"/>
                      <a:pt x="2805" y="7335"/>
                      <a:pt x="2805" y="7058"/>
                    </a:cubicBezTo>
                    <a:cubicBezTo>
                      <a:pt x="2805" y="6855"/>
                      <a:pt x="2467" y="6682"/>
                      <a:pt x="1984" y="6603"/>
                    </a:cubicBezTo>
                    <a:lnTo>
                      <a:pt x="2002" y="6751"/>
                    </a:lnTo>
                    <a:close/>
                  </a:path>
                </a:pathLst>
              </a:custGeom>
              <a:solidFill>
                <a:schemeClr val="accent1"/>
              </a:solidFill>
              <a:ln w="9525">
                <a:noFill/>
                <a:round/>
              </a:ln>
            </p:spPr>
            <p:txBody>
              <a:bodyPr lIns="0" tIns="0" rIns="0" bIns="0" anchor="ctr"/>
              <a:lstStyle/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0155CE03-095F-4AAC-940E-9F78815C2537}"/>
                </a:ext>
              </a:extLst>
            </p:cNvPr>
            <p:cNvGrpSpPr/>
            <p:nvPr/>
          </p:nvGrpSpPr>
          <p:grpSpPr>
            <a:xfrm>
              <a:off x="1009839" y="3973869"/>
              <a:ext cx="1849411" cy="997226"/>
              <a:chOff x="1072499" y="1797239"/>
              <a:chExt cx="1849411" cy="997226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ECC8FA32-5E42-4983-9D0B-8C97D4DF2C61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BDE0D30D-54C5-4CB9-8B3D-EA5F0E35ADFE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B643CFC1-60B1-40F8-9C74-C34E4491331C}"/>
                </a:ext>
              </a:extLst>
            </p:cNvPr>
            <p:cNvGrpSpPr/>
            <p:nvPr/>
          </p:nvGrpSpPr>
          <p:grpSpPr>
            <a:xfrm>
              <a:off x="3090566" y="3973869"/>
              <a:ext cx="1849411" cy="997226"/>
              <a:chOff x="1072499" y="1797239"/>
              <a:chExt cx="1849411" cy="997226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8724BA88-89B1-4E51-8307-CF322D13641D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8077C3F9-A9DC-47F5-AD88-9ED22DBF47AD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63F8DE81-3EA2-4CE8-9B5C-3F4E05C29C62}"/>
                </a:ext>
              </a:extLst>
            </p:cNvPr>
            <p:cNvGrpSpPr/>
            <p:nvPr/>
          </p:nvGrpSpPr>
          <p:grpSpPr>
            <a:xfrm>
              <a:off x="5171293" y="1494920"/>
              <a:ext cx="1849411" cy="997226"/>
              <a:chOff x="1072499" y="1797239"/>
              <a:chExt cx="1849411" cy="997226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9F157CB4-8562-4DD6-84EC-9D53D4D5CE93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2" name="矩形 21">
                <a:extLst>
                  <a:ext uri="{FF2B5EF4-FFF2-40B4-BE49-F238E27FC236}">
                    <a16:creationId xmlns:a16="http://schemas.microsoft.com/office/drawing/2014/main" id="{4C6CE4D1-37A3-47CE-BD7E-D9F4DF1942E6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34A72D5A-D49D-420A-8AFC-CDA8122FF49E}"/>
                </a:ext>
              </a:extLst>
            </p:cNvPr>
            <p:cNvGrpSpPr/>
            <p:nvPr/>
          </p:nvGrpSpPr>
          <p:grpSpPr>
            <a:xfrm>
              <a:off x="7252020" y="3973869"/>
              <a:ext cx="1849411" cy="997226"/>
              <a:chOff x="1072499" y="1797239"/>
              <a:chExt cx="1849411" cy="997226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F5820974-7EC8-4375-86AE-E4C30FE1EAE9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0" name="矩形 19">
                <a:extLst>
                  <a:ext uri="{FF2B5EF4-FFF2-40B4-BE49-F238E27FC236}">
                    <a16:creationId xmlns:a16="http://schemas.microsoft.com/office/drawing/2014/main" id="{1A53AA3B-0EC0-4039-986D-F3369CA00F6F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1F9AAB4C-B607-412E-B162-324E845C967E}"/>
                </a:ext>
              </a:extLst>
            </p:cNvPr>
            <p:cNvGrpSpPr/>
            <p:nvPr/>
          </p:nvGrpSpPr>
          <p:grpSpPr>
            <a:xfrm>
              <a:off x="9332747" y="3973869"/>
              <a:ext cx="1849411" cy="997226"/>
              <a:chOff x="1072499" y="1797239"/>
              <a:chExt cx="1849411" cy="997226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D418AB33-C541-4ECA-BBC7-E1080905DF18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18" name="矩形 17">
                <a:extLst>
                  <a:ext uri="{FF2B5EF4-FFF2-40B4-BE49-F238E27FC236}">
                    <a16:creationId xmlns:a16="http://schemas.microsoft.com/office/drawing/2014/main" id="{0B4EA58B-19E5-4946-88F4-00772E468729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541237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6B1C268-085D-4DE8-9101-2D4B52E5F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5C3CDFC1-6EBB-4E2D-B6C2-D8AFFE2FC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53B0B5-0BBC-43E5-96DC-C5F1C63085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25606952-5690-442C-9C76-6AC1FD6C6A80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336682"/>
            <a:ext cx="10847388" cy="4817595"/>
            <a:chOff x="673100" y="1336682"/>
            <a:chExt cx="10847388" cy="4817595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0172D5E2-99AE-4FB1-A405-CAB6DD831B1D}"/>
                </a:ext>
              </a:extLst>
            </p:cNvPr>
            <p:cNvGrpSpPr/>
            <p:nvPr/>
          </p:nvGrpSpPr>
          <p:grpSpPr>
            <a:xfrm>
              <a:off x="3621741" y="2326986"/>
              <a:ext cx="4948518" cy="1979406"/>
              <a:chOff x="3621741" y="2439297"/>
              <a:chExt cx="4948518" cy="1979406"/>
            </a:xfrm>
          </p:grpSpPr>
          <p:sp>
            <p:nvSpPr>
              <p:cNvPr id="49" name="形状 48">
                <a:extLst>
                  <a:ext uri="{FF2B5EF4-FFF2-40B4-BE49-F238E27FC236}">
                    <a16:creationId xmlns:a16="http://schemas.microsoft.com/office/drawing/2014/main" id="{DA299F04-3991-4AA9-809B-961C34AFC463}"/>
                  </a:ext>
                </a:extLst>
              </p:cNvPr>
              <p:cNvSpPr/>
              <p:nvPr/>
            </p:nvSpPr>
            <p:spPr>
              <a:xfrm>
                <a:off x="3621741" y="2439297"/>
                <a:ext cx="4948518" cy="1979406"/>
              </a:xfrm>
              <a:prstGeom prst="leftRightRibbon">
                <a:avLst>
                  <a:gd name="adj1" fmla="val 50000"/>
                  <a:gd name="adj2" fmla="val 50000"/>
                  <a:gd name="adj3" fmla="val 17379"/>
                </a:avLst>
              </a:prstGeom>
              <a:solidFill>
                <a:schemeClr val="bg1">
                  <a:lumMod val="95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文本框 49">
                <a:extLst>
                  <a:ext uri="{FF2B5EF4-FFF2-40B4-BE49-F238E27FC236}">
                    <a16:creationId xmlns:a16="http://schemas.microsoft.com/office/drawing/2014/main" id="{6ABC88E8-5175-4723-A83B-83C398374EFD}"/>
                  </a:ext>
                </a:extLst>
              </p:cNvPr>
              <p:cNvSpPr txBox="1"/>
              <p:nvPr/>
            </p:nvSpPr>
            <p:spPr bwMode="auto">
              <a:xfrm>
                <a:off x="4500628" y="3006839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  <p:sp>
            <p:nvSpPr>
              <p:cNvPr id="51" name="文本框 50">
                <a:extLst>
                  <a:ext uri="{FF2B5EF4-FFF2-40B4-BE49-F238E27FC236}">
                    <a16:creationId xmlns:a16="http://schemas.microsoft.com/office/drawing/2014/main" id="{FEFEAFD1-D0CA-4646-9B80-E43BAF7E89D6}"/>
                  </a:ext>
                </a:extLst>
              </p:cNvPr>
              <p:cNvSpPr txBox="1"/>
              <p:nvPr/>
            </p:nvSpPr>
            <p:spPr bwMode="auto">
              <a:xfrm>
                <a:off x="6360007" y="3387316"/>
                <a:ext cx="1331365" cy="463846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35DC9054-357D-4F69-A718-C4EB9E7B316E}"/>
                </a:ext>
              </a:extLst>
            </p:cNvPr>
            <p:cNvGrpSpPr/>
            <p:nvPr/>
          </p:nvGrpSpPr>
          <p:grpSpPr>
            <a:xfrm>
              <a:off x="673100" y="1336682"/>
              <a:ext cx="2736851" cy="1033406"/>
              <a:chOff x="673100" y="1336682"/>
              <a:chExt cx="2736851" cy="1033406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DA9622D5-BECE-4CB7-B7CF-BA479A659EA2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7" name="椭圆 46">
                  <a:extLst>
                    <a:ext uri="{FF2B5EF4-FFF2-40B4-BE49-F238E27FC236}">
                      <a16:creationId xmlns:a16="http://schemas.microsoft.com/office/drawing/2014/main" id="{3AAE2F66-8D86-4D67-BDF4-38E9BB23C76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任意多边形: 形状 47">
                  <a:extLst>
                    <a:ext uri="{FF2B5EF4-FFF2-40B4-BE49-F238E27FC236}">
                      <a16:creationId xmlns:a16="http://schemas.microsoft.com/office/drawing/2014/main" id="{06C66DFE-ABD8-4AEB-A4B6-903E3C8B773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EB3597E-D000-4A5B-843E-FF7A0013684A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45" name="矩形 44">
                  <a:extLst>
                    <a:ext uri="{FF2B5EF4-FFF2-40B4-BE49-F238E27FC236}">
                      <a16:creationId xmlns:a16="http://schemas.microsoft.com/office/drawing/2014/main" id="{212C9FB6-F3DF-4811-BDFC-982A44FD8B5B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矩形 45">
                  <a:extLst>
                    <a:ext uri="{FF2B5EF4-FFF2-40B4-BE49-F238E27FC236}">
                      <a16:creationId xmlns:a16="http://schemas.microsoft.com/office/drawing/2014/main" id="{ED126A44-D434-4B65-8807-6829D15AD177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0C7BBE3F-139D-49A4-9378-E73D0CDC665E}"/>
                </a:ext>
              </a:extLst>
            </p:cNvPr>
            <p:cNvGrpSpPr/>
            <p:nvPr/>
          </p:nvGrpSpPr>
          <p:grpSpPr>
            <a:xfrm>
              <a:off x="673100" y="2722059"/>
              <a:ext cx="2736851" cy="1033406"/>
              <a:chOff x="673100" y="1336682"/>
              <a:chExt cx="2736851" cy="1033406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2D138EA0-B987-42CB-895F-D87592690BDD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41" name="椭圆 40">
                  <a:extLst>
                    <a:ext uri="{FF2B5EF4-FFF2-40B4-BE49-F238E27FC236}">
                      <a16:creationId xmlns:a16="http://schemas.microsoft.com/office/drawing/2014/main" id="{F43089DB-234F-47A4-A829-70C6CE3F3CE4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E03751C1-769B-40DF-B1C9-4F1F692C0BBB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22F4C8A3-8377-44B2-9165-FBBBEEE47675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39" name="矩形 38">
                  <a:extLst>
                    <a:ext uri="{FF2B5EF4-FFF2-40B4-BE49-F238E27FC236}">
                      <a16:creationId xmlns:a16="http://schemas.microsoft.com/office/drawing/2014/main" id="{BC717764-3B25-4882-8CC7-BB7F7D02F9A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矩形 39">
                  <a:extLst>
                    <a:ext uri="{FF2B5EF4-FFF2-40B4-BE49-F238E27FC236}">
                      <a16:creationId xmlns:a16="http://schemas.microsoft.com/office/drawing/2014/main" id="{09F694BC-FE72-4AF5-9F7D-5F6A6C210ABD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348BD8D-5537-47A3-9F7E-1105E5992533}"/>
                </a:ext>
              </a:extLst>
            </p:cNvPr>
            <p:cNvGrpSpPr/>
            <p:nvPr/>
          </p:nvGrpSpPr>
          <p:grpSpPr>
            <a:xfrm>
              <a:off x="673100" y="4107436"/>
              <a:ext cx="2736851" cy="1033406"/>
              <a:chOff x="673100" y="1336682"/>
              <a:chExt cx="2736851" cy="1033406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76A06202-BA45-474C-BCFA-5EC6D735F8EA}"/>
                  </a:ext>
                </a:extLst>
              </p:cNvPr>
              <p:cNvGrpSpPr/>
              <p:nvPr/>
            </p:nvGrpSpPr>
            <p:grpSpPr>
              <a:xfrm>
                <a:off x="2647463" y="1336682"/>
                <a:ext cx="762488" cy="762486"/>
                <a:chOff x="669925" y="1181875"/>
                <a:chExt cx="546847" cy="546847"/>
              </a:xfrm>
            </p:grpSpPr>
            <p:sp>
              <p:nvSpPr>
                <p:cNvPr id="35" name="椭圆 34">
                  <a:extLst>
                    <a:ext uri="{FF2B5EF4-FFF2-40B4-BE49-F238E27FC236}">
                      <a16:creationId xmlns:a16="http://schemas.microsoft.com/office/drawing/2014/main" id="{469F4741-0DF8-4DAA-BDDE-1085CC32AD8C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7C888A1F-10EF-4427-B1C8-74EF839F2688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FCB5F828-B0FA-4D67-BF6E-C4A92D1A5211}"/>
                  </a:ext>
                </a:extLst>
              </p:cNvPr>
              <p:cNvGrpSpPr/>
              <p:nvPr/>
            </p:nvGrpSpPr>
            <p:grpSpPr>
              <a:xfrm>
                <a:off x="673100" y="1339864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33" name="矩形 32">
                  <a:extLst>
                    <a:ext uri="{FF2B5EF4-FFF2-40B4-BE49-F238E27FC236}">
                      <a16:creationId xmlns:a16="http://schemas.microsoft.com/office/drawing/2014/main" id="{D60F80BD-3C73-4853-9166-D9A50F4533E3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矩形 33">
                  <a:extLst>
                    <a:ext uri="{FF2B5EF4-FFF2-40B4-BE49-F238E27FC236}">
                      <a16:creationId xmlns:a16="http://schemas.microsoft.com/office/drawing/2014/main" id="{EDBCB0F9-794F-4FF8-B9DD-ABE545C71C64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 algn="r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EA8BAE68-60BB-4E5D-9940-B0A95E15675B}"/>
                </a:ext>
              </a:extLst>
            </p:cNvPr>
            <p:cNvGrpSpPr/>
            <p:nvPr/>
          </p:nvGrpSpPr>
          <p:grpSpPr>
            <a:xfrm>
              <a:off x="8664844" y="2107301"/>
              <a:ext cx="2855644" cy="1033406"/>
              <a:chOff x="7222373" y="4107436"/>
              <a:chExt cx="2855644" cy="1033406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3A9E3AA2-2AC4-40D8-837C-278F5A9533CC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9" name="椭圆 28">
                  <a:extLst>
                    <a:ext uri="{FF2B5EF4-FFF2-40B4-BE49-F238E27FC236}">
                      <a16:creationId xmlns:a16="http://schemas.microsoft.com/office/drawing/2014/main" id="{5709985A-4032-43E5-B976-EA953E315157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4D949F07-33AE-447F-80DD-1A9CF4E0C7C4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FDE0392E-B8C9-4FE3-9C20-C6C4F3717352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7" name="矩形 26">
                  <a:extLst>
                    <a:ext uri="{FF2B5EF4-FFF2-40B4-BE49-F238E27FC236}">
                      <a16:creationId xmlns:a16="http://schemas.microsoft.com/office/drawing/2014/main" id="{4E82E71A-1287-45E8-9875-D2A9EB865277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矩形 27">
                  <a:extLst>
                    <a:ext uri="{FF2B5EF4-FFF2-40B4-BE49-F238E27FC236}">
                      <a16:creationId xmlns:a16="http://schemas.microsoft.com/office/drawing/2014/main" id="{715461BC-FD33-4BE8-8E88-7484D2ED2DA9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335C651D-635E-4F8F-8908-255F910EDB8A}"/>
                </a:ext>
              </a:extLst>
            </p:cNvPr>
            <p:cNvGrpSpPr/>
            <p:nvPr/>
          </p:nvGrpSpPr>
          <p:grpSpPr>
            <a:xfrm>
              <a:off x="8664844" y="3614086"/>
              <a:ext cx="2855644" cy="1033406"/>
              <a:chOff x="7222373" y="4107436"/>
              <a:chExt cx="2855644" cy="1033406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542513E7-899B-43AF-9463-81D9AF21CD87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23" name="椭圆 22">
                  <a:extLst>
                    <a:ext uri="{FF2B5EF4-FFF2-40B4-BE49-F238E27FC236}">
                      <a16:creationId xmlns:a16="http://schemas.microsoft.com/office/drawing/2014/main" id="{C0643201-A972-47EC-8AE3-3FA47DBC3C30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任意多边形: 形状 23">
                  <a:extLst>
                    <a:ext uri="{FF2B5EF4-FFF2-40B4-BE49-F238E27FC236}">
                      <a16:creationId xmlns:a16="http://schemas.microsoft.com/office/drawing/2014/main" id="{9A8EA14D-DCD5-4D5E-9DE3-B499DA77A887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C1A4E485-31E5-42B4-8AED-2EFD176F8C7F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21" name="矩形 20">
                  <a:extLst>
                    <a:ext uri="{FF2B5EF4-FFF2-40B4-BE49-F238E27FC236}">
                      <a16:creationId xmlns:a16="http://schemas.microsoft.com/office/drawing/2014/main" id="{E92450C7-C2E5-4CBD-B9A1-8E3B8CF6A49C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矩形 21">
                  <a:extLst>
                    <a:ext uri="{FF2B5EF4-FFF2-40B4-BE49-F238E27FC236}">
                      <a16:creationId xmlns:a16="http://schemas.microsoft.com/office/drawing/2014/main" id="{7EC133C5-11F1-4708-98FA-8ED6B29B7A82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38F63540-F8A1-4D4F-8AB8-A2D3481B9F1A}"/>
                </a:ext>
              </a:extLst>
            </p:cNvPr>
            <p:cNvGrpSpPr/>
            <p:nvPr/>
          </p:nvGrpSpPr>
          <p:grpSpPr>
            <a:xfrm>
              <a:off x="8664844" y="5120871"/>
              <a:ext cx="2855644" cy="1033406"/>
              <a:chOff x="7222373" y="4107436"/>
              <a:chExt cx="2855644" cy="1033406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9BE9444-249D-4F58-9274-8C8A9F4765D2}"/>
                  </a:ext>
                </a:extLst>
              </p:cNvPr>
              <p:cNvGrpSpPr/>
              <p:nvPr/>
            </p:nvGrpSpPr>
            <p:grpSpPr>
              <a:xfrm>
                <a:off x="7222373" y="4107436"/>
                <a:ext cx="762488" cy="762486"/>
                <a:chOff x="669925" y="1181875"/>
                <a:chExt cx="546847" cy="546847"/>
              </a:xfrm>
            </p:grpSpPr>
            <p:sp>
              <p:nvSpPr>
                <p:cNvPr id="17" name="椭圆 16">
                  <a:extLst>
                    <a:ext uri="{FF2B5EF4-FFF2-40B4-BE49-F238E27FC236}">
                      <a16:creationId xmlns:a16="http://schemas.microsoft.com/office/drawing/2014/main" id="{9B4A0534-96ED-43B0-A712-147B22AA9B8F}"/>
                    </a:ext>
                  </a:extLst>
                </p:cNvPr>
                <p:cNvSpPr/>
                <p:nvPr/>
              </p:nvSpPr>
              <p:spPr>
                <a:xfrm>
                  <a:off x="669925" y="1181875"/>
                  <a:ext cx="546847" cy="546847"/>
                </a:xfrm>
                <a:prstGeom prst="ellipse">
                  <a:avLst/>
                </a:prstGeom>
                <a:solidFill>
                  <a:schemeClr val="accent2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>
                  <a:normAutofit/>
                </a:bodyPr>
                <a:lstStyle/>
                <a:p>
                  <a:pPr algn="ctr"/>
                  <a:endParaRPr lang="zh-CN" altLang="en-US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C8246B7E-740C-4AF1-B27C-9AF11BD0BC8E}"/>
                    </a:ext>
                  </a:extLst>
                </p:cNvPr>
                <p:cNvSpPr/>
                <p:nvPr/>
              </p:nvSpPr>
              <p:spPr bwMode="auto">
                <a:xfrm>
                  <a:off x="800847" y="1324564"/>
                  <a:ext cx="285004" cy="261470"/>
                </a:xfrm>
                <a:custGeom>
                  <a:avLst/>
                  <a:gdLst>
                    <a:gd name="connsiteX0" fmla="*/ 303857 w 607639"/>
                    <a:gd name="connsiteY0" fmla="*/ 303714 h 557467"/>
                    <a:gd name="connsiteX1" fmla="*/ 352986 w 607639"/>
                    <a:gd name="connsiteY1" fmla="*/ 309132 h 557467"/>
                    <a:gd name="connsiteX2" fmla="*/ 514597 w 607639"/>
                    <a:gd name="connsiteY2" fmla="*/ 449845 h 557467"/>
                    <a:gd name="connsiteX3" fmla="*/ 528676 w 607639"/>
                    <a:gd name="connsiteY3" fmla="*/ 528182 h 557467"/>
                    <a:gd name="connsiteX4" fmla="*/ 499345 w 607639"/>
                    <a:gd name="connsiteY4" fmla="*/ 557467 h 557467"/>
                    <a:gd name="connsiteX5" fmla="*/ 108223 w 607639"/>
                    <a:gd name="connsiteY5" fmla="*/ 557467 h 557467"/>
                    <a:gd name="connsiteX6" fmla="*/ 78892 w 607639"/>
                    <a:gd name="connsiteY6" fmla="*/ 528182 h 557467"/>
                    <a:gd name="connsiteX7" fmla="*/ 303857 w 607639"/>
                    <a:gd name="connsiteY7" fmla="*/ 303714 h 557467"/>
                    <a:gd name="connsiteX8" fmla="*/ 455825 w 607639"/>
                    <a:gd name="connsiteY8" fmla="*/ 268995 h 557467"/>
                    <a:gd name="connsiteX9" fmla="*/ 607639 w 607639"/>
                    <a:gd name="connsiteY9" fmla="*/ 420565 h 557467"/>
                    <a:gd name="connsiteX10" fmla="*/ 578303 w 607639"/>
                    <a:gd name="connsiteY10" fmla="*/ 449854 h 557467"/>
                    <a:gd name="connsiteX11" fmla="*/ 576396 w 607639"/>
                    <a:gd name="connsiteY11" fmla="*/ 449854 h 557467"/>
                    <a:gd name="connsiteX12" fmla="*/ 424875 w 607639"/>
                    <a:gd name="connsiteY12" fmla="*/ 272217 h 557467"/>
                    <a:gd name="connsiteX13" fmla="*/ 455825 w 607639"/>
                    <a:gd name="connsiteY13" fmla="*/ 268995 h 557467"/>
                    <a:gd name="connsiteX14" fmla="*/ 151811 w 607639"/>
                    <a:gd name="connsiteY14" fmla="*/ 268995 h 557467"/>
                    <a:gd name="connsiteX15" fmla="*/ 182906 w 607639"/>
                    <a:gd name="connsiteY15" fmla="*/ 272217 h 557467"/>
                    <a:gd name="connsiteX16" fmla="*/ 31389 w 607639"/>
                    <a:gd name="connsiteY16" fmla="*/ 449854 h 557467"/>
                    <a:gd name="connsiteX17" fmla="*/ 29335 w 607639"/>
                    <a:gd name="connsiteY17" fmla="*/ 449854 h 557467"/>
                    <a:gd name="connsiteX18" fmla="*/ 0 w 607639"/>
                    <a:gd name="connsiteY18" fmla="*/ 420565 h 557467"/>
                    <a:gd name="connsiteX19" fmla="*/ 151811 w 607639"/>
                    <a:gd name="connsiteY19" fmla="*/ 268995 h 557467"/>
                    <a:gd name="connsiteX20" fmla="*/ 462556 w 607639"/>
                    <a:gd name="connsiteY20" fmla="*/ 35000 h 557467"/>
                    <a:gd name="connsiteX21" fmla="*/ 543847 w 607639"/>
                    <a:gd name="connsiteY21" fmla="*/ 122571 h 557467"/>
                    <a:gd name="connsiteX22" fmla="*/ 462556 w 607639"/>
                    <a:gd name="connsiteY22" fmla="*/ 210143 h 557467"/>
                    <a:gd name="connsiteX23" fmla="*/ 485153 w 607639"/>
                    <a:gd name="connsiteY23" fmla="*/ 122571 h 557467"/>
                    <a:gd name="connsiteX24" fmla="*/ 462556 w 607639"/>
                    <a:gd name="connsiteY24" fmla="*/ 35000 h 557467"/>
                    <a:gd name="connsiteX25" fmla="*/ 145224 w 607639"/>
                    <a:gd name="connsiteY25" fmla="*/ 35000 h 557467"/>
                    <a:gd name="connsiteX26" fmla="*/ 122481 w 607639"/>
                    <a:gd name="connsiteY26" fmla="*/ 122571 h 557467"/>
                    <a:gd name="connsiteX27" fmla="*/ 145224 w 607639"/>
                    <a:gd name="connsiteY27" fmla="*/ 210143 h 557467"/>
                    <a:gd name="connsiteX28" fmla="*/ 63791 w 607639"/>
                    <a:gd name="connsiteY28" fmla="*/ 122571 h 557467"/>
                    <a:gd name="connsiteX29" fmla="*/ 145224 w 607639"/>
                    <a:gd name="connsiteY29" fmla="*/ 35000 h 557467"/>
                    <a:gd name="connsiteX30" fmla="*/ 303892 w 607639"/>
                    <a:gd name="connsiteY30" fmla="*/ 0 h 557467"/>
                    <a:gd name="connsiteX31" fmla="*/ 403912 w 607639"/>
                    <a:gd name="connsiteY31" fmla="*/ 51694 h 557467"/>
                    <a:gd name="connsiteX32" fmla="*/ 426497 w 607639"/>
                    <a:gd name="connsiteY32" fmla="*/ 122572 h 557467"/>
                    <a:gd name="connsiteX33" fmla="*/ 403912 w 607639"/>
                    <a:gd name="connsiteY33" fmla="*/ 193450 h 557467"/>
                    <a:gd name="connsiteX34" fmla="*/ 303892 w 607639"/>
                    <a:gd name="connsiteY34" fmla="*/ 245144 h 557467"/>
                    <a:gd name="connsiteX35" fmla="*/ 181141 w 607639"/>
                    <a:gd name="connsiteY35" fmla="*/ 122572 h 557467"/>
                    <a:gd name="connsiteX36" fmla="*/ 303892 w 607639"/>
                    <a:gd name="connsiteY36" fmla="*/ 0 h 557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607639" h="557467">
                      <a:moveTo>
                        <a:pt x="303857" y="303714"/>
                      </a:moveTo>
                      <a:cubicBezTo>
                        <a:pt x="320722" y="303714"/>
                        <a:pt x="337148" y="305618"/>
                        <a:pt x="352986" y="309132"/>
                      </a:cubicBezTo>
                      <a:cubicBezTo>
                        <a:pt x="427486" y="325824"/>
                        <a:pt x="488200" y="379562"/>
                        <a:pt x="514597" y="449845"/>
                      </a:cubicBezTo>
                      <a:cubicBezTo>
                        <a:pt x="523690" y="474298"/>
                        <a:pt x="528676" y="500655"/>
                        <a:pt x="528676" y="528182"/>
                      </a:cubicBezTo>
                      <a:cubicBezTo>
                        <a:pt x="528676" y="544289"/>
                        <a:pt x="515477" y="557467"/>
                        <a:pt x="499345" y="557467"/>
                      </a:cubicBezTo>
                      <a:lnTo>
                        <a:pt x="108223" y="557467"/>
                      </a:lnTo>
                      <a:cubicBezTo>
                        <a:pt x="92091" y="557467"/>
                        <a:pt x="78892" y="544289"/>
                        <a:pt x="78892" y="528182"/>
                      </a:cubicBezTo>
                      <a:cubicBezTo>
                        <a:pt x="78892" y="404307"/>
                        <a:pt x="179789" y="303714"/>
                        <a:pt x="303857" y="303714"/>
                      </a:cubicBezTo>
                      <a:close/>
                      <a:moveTo>
                        <a:pt x="455825" y="268995"/>
                      </a:moveTo>
                      <a:cubicBezTo>
                        <a:pt x="539579" y="268995"/>
                        <a:pt x="607639" y="336945"/>
                        <a:pt x="607639" y="420565"/>
                      </a:cubicBezTo>
                      <a:cubicBezTo>
                        <a:pt x="607639" y="436674"/>
                        <a:pt x="594584" y="449854"/>
                        <a:pt x="578303" y="449854"/>
                      </a:cubicBezTo>
                      <a:lnTo>
                        <a:pt x="576396" y="449854"/>
                      </a:lnTo>
                      <a:cubicBezTo>
                        <a:pt x="553661" y="371360"/>
                        <a:pt x="497775" y="306631"/>
                        <a:pt x="424875" y="272217"/>
                      </a:cubicBezTo>
                      <a:cubicBezTo>
                        <a:pt x="434996" y="270020"/>
                        <a:pt x="445410" y="268995"/>
                        <a:pt x="455825" y="268995"/>
                      </a:cubicBezTo>
                      <a:close/>
                      <a:moveTo>
                        <a:pt x="151811" y="268995"/>
                      </a:moveTo>
                      <a:cubicBezTo>
                        <a:pt x="162371" y="268995"/>
                        <a:pt x="172785" y="270020"/>
                        <a:pt x="182906" y="272217"/>
                      </a:cubicBezTo>
                      <a:cubicBezTo>
                        <a:pt x="110008" y="306631"/>
                        <a:pt x="53977" y="371360"/>
                        <a:pt x="31389" y="449854"/>
                      </a:cubicBezTo>
                      <a:lnTo>
                        <a:pt x="29335" y="449854"/>
                      </a:lnTo>
                      <a:cubicBezTo>
                        <a:pt x="13201" y="449854"/>
                        <a:pt x="0" y="436674"/>
                        <a:pt x="0" y="420565"/>
                      </a:cubicBezTo>
                      <a:cubicBezTo>
                        <a:pt x="0" y="336945"/>
                        <a:pt x="68058" y="268995"/>
                        <a:pt x="151811" y="268995"/>
                      </a:cubicBezTo>
                      <a:close/>
                      <a:moveTo>
                        <a:pt x="462556" y="35000"/>
                      </a:moveTo>
                      <a:cubicBezTo>
                        <a:pt x="507897" y="38368"/>
                        <a:pt x="543847" y="76296"/>
                        <a:pt x="543847" y="122571"/>
                      </a:cubicBezTo>
                      <a:cubicBezTo>
                        <a:pt x="543847" y="168847"/>
                        <a:pt x="507897" y="206775"/>
                        <a:pt x="462556" y="210143"/>
                      </a:cubicBezTo>
                      <a:cubicBezTo>
                        <a:pt x="476936" y="184223"/>
                        <a:pt x="485153" y="154349"/>
                        <a:pt x="485153" y="122571"/>
                      </a:cubicBezTo>
                      <a:cubicBezTo>
                        <a:pt x="485153" y="90794"/>
                        <a:pt x="476936" y="60920"/>
                        <a:pt x="462556" y="35000"/>
                      </a:cubicBezTo>
                      <a:close/>
                      <a:moveTo>
                        <a:pt x="145224" y="35000"/>
                      </a:moveTo>
                      <a:cubicBezTo>
                        <a:pt x="130698" y="60920"/>
                        <a:pt x="122481" y="90794"/>
                        <a:pt x="122481" y="122571"/>
                      </a:cubicBezTo>
                      <a:cubicBezTo>
                        <a:pt x="122481" y="154349"/>
                        <a:pt x="130698" y="184223"/>
                        <a:pt x="145224" y="210143"/>
                      </a:cubicBezTo>
                      <a:cubicBezTo>
                        <a:pt x="99739" y="206775"/>
                        <a:pt x="63791" y="168847"/>
                        <a:pt x="63791" y="122571"/>
                      </a:cubicBezTo>
                      <a:cubicBezTo>
                        <a:pt x="63791" y="76296"/>
                        <a:pt x="99739" y="38368"/>
                        <a:pt x="145224" y="35000"/>
                      </a:cubicBezTo>
                      <a:close/>
                      <a:moveTo>
                        <a:pt x="303892" y="0"/>
                      </a:moveTo>
                      <a:cubicBezTo>
                        <a:pt x="345103" y="0"/>
                        <a:pt x="381620" y="20502"/>
                        <a:pt x="403912" y="51694"/>
                      </a:cubicBezTo>
                      <a:cubicBezTo>
                        <a:pt x="418138" y="71756"/>
                        <a:pt x="426497" y="96212"/>
                        <a:pt x="426497" y="122572"/>
                      </a:cubicBezTo>
                      <a:cubicBezTo>
                        <a:pt x="426497" y="148931"/>
                        <a:pt x="418138" y="173387"/>
                        <a:pt x="403912" y="193450"/>
                      </a:cubicBezTo>
                      <a:cubicBezTo>
                        <a:pt x="381620" y="224642"/>
                        <a:pt x="345103" y="245144"/>
                        <a:pt x="303892" y="245144"/>
                      </a:cubicBezTo>
                      <a:cubicBezTo>
                        <a:pt x="236137" y="245144"/>
                        <a:pt x="181141" y="190082"/>
                        <a:pt x="181141" y="122572"/>
                      </a:cubicBezTo>
                      <a:cubicBezTo>
                        <a:pt x="181141" y="55062"/>
                        <a:pt x="236137" y="0"/>
                        <a:pt x="303892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/>
                <a:lstStyle/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3EF4A81C-2216-4738-A75B-9CC7C79F9A4A}"/>
                  </a:ext>
                </a:extLst>
              </p:cNvPr>
              <p:cNvGrpSpPr/>
              <p:nvPr/>
            </p:nvGrpSpPr>
            <p:grpSpPr>
              <a:xfrm>
                <a:off x="8167409" y="4110618"/>
                <a:ext cx="1910608" cy="1030224"/>
                <a:chOff x="5875776" y="1130300"/>
                <a:chExt cx="1910608" cy="1030224"/>
              </a:xfrm>
            </p:grpSpPr>
            <p:sp>
              <p:nvSpPr>
                <p:cNvPr id="15" name="矩形 14">
                  <a:extLst>
                    <a:ext uri="{FF2B5EF4-FFF2-40B4-BE49-F238E27FC236}">
                      <a16:creationId xmlns:a16="http://schemas.microsoft.com/office/drawing/2014/main" id="{3451FCB7-9B4C-4C64-B81C-99243DF1A25A}"/>
                    </a:ext>
                  </a:extLst>
                </p:cNvPr>
                <p:cNvSpPr/>
                <p:nvPr/>
              </p:nvSpPr>
              <p:spPr bwMode="auto">
                <a:xfrm>
                  <a:off x="5875776" y="1130300"/>
                  <a:ext cx="1910608" cy="392113"/>
                </a:xfrm>
                <a:prstGeom prst="rect">
                  <a:avLst/>
                </a:prstGeom>
                <a:noFill/>
                <a:ln w="28575" algn="ctr">
                  <a:noFill/>
                  <a:round/>
                  <a:headEnd/>
                  <a:tailEnd/>
                </a:ln>
              </p:spPr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defTabSz="914400"/>
                  <a:r>
                    <a:rPr lang="en-US" altLang="zh-CN" sz="1600" b="1" kern="0" dirty="0">
                      <a:cs typeface="+mn-ea"/>
                      <a:sym typeface="+mn-lt"/>
                    </a:rPr>
                    <a:t>Text here</a:t>
                  </a:r>
                  <a:endParaRPr lang="zh-CN" altLang="en-US" sz="1600" b="1" kern="0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矩形 15">
                  <a:extLst>
                    <a:ext uri="{FF2B5EF4-FFF2-40B4-BE49-F238E27FC236}">
                      <a16:creationId xmlns:a16="http://schemas.microsoft.com/office/drawing/2014/main" id="{FA8D1563-3F3A-425E-ACB3-2B635CDE4193}"/>
                    </a:ext>
                  </a:extLst>
                </p:cNvPr>
                <p:cNvSpPr/>
                <p:nvPr/>
              </p:nvSpPr>
              <p:spPr>
                <a:xfrm>
                  <a:off x="5875776" y="1522413"/>
                  <a:ext cx="1910608" cy="638111"/>
                </a:xfrm>
                <a:prstGeom prst="rect">
                  <a:avLst/>
                </a:prstGeom>
                <a:noFill/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rtlCol="0" anchor="t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Supporting text here.</a:t>
                  </a:r>
                </a:p>
                <a:p>
                  <a:pPr lvl="0">
                    <a:lnSpc>
                      <a:spcPct val="150000"/>
                    </a:lnSpc>
                  </a:pPr>
                  <a:r>
                    <a:rPr lang="en-US" altLang="zh-CN" sz="1100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95195154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B4539B5D-72E3-49E3-A37F-29BB21384F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DEF281C-97E6-4384-88BA-8976F171D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7D1E7E2-8EAF-40BB-AFF9-F368DF2E5C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AF7B8381-93F0-4776-A939-539CDCEC3455}"/>
              </a:ext>
            </a:extLst>
          </p:cNvPr>
          <p:cNvGrpSpPr>
            <a:grpSpLocks noChangeAspect="1"/>
          </p:cNvGrpSpPr>
          <p:nvPr/>
        </p:nvGrpSpPr>
        <p:grpSpPr>
          <a:xfrm>
            <a:off x="1889599" y="1254443"/>
            <a:ext cx="8420063" cy="5603557"/>
            <a:chOff x="1889598" y="1254441"/>
            <a:chExt cx="8420064" cy="5603558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FA4F13B7-4D8E-4FD9-9255-189AD8109098}"/>
                </a:ext>
              </a:extLst>
            </p:cNvPr>
            <p:cNvGrpSpPr/>
            <p:nvPr/>
          </p:nvGrpSpPr>
          <p:grpSpPr>
            <a:xfrm>
              <a:off x="1889598" y="1428916"/>
              <a:ext cx="6526307" cy="5429083"/>
              <a:chOff x="3825081" y="2368549"/>
              <a:chExt cx="4541837" cy="3778251"/>
            </a:xfrm>
          </p:grpSpPr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87987424-7AFD-497A-8D5A-0ADF39E99ED8}"/>
                  </a:ext>
                </a:extLst>
              </p:cNvPr>
              <p:cNvSpPr/>
              <p:nvPr/>
            </p:nvSpPr>
            <p:spPr bwMode="auto">
              <a:xfrm>
                <a:off x="5587206" y="2836862"/>
                <a:ext cx="1609725" cy="801688"/>
              </a:xfrm>
              <a:custGeom>
                <a:avLst/>
                <a:gdLst>
                  <a:gd name="T0" fmla="*/ 1 w 1014"/>
                  <a:gd name="T1" fmla="*/ 0 h 505"/>
                  <a:gd name="T2" fmla="*/ 3 w 1014"/>
                  <a:gd name="T3" fmla="*/ 14 h 505"/>
                  <a:gd name="T4" fmla="*/ 11 w 1014"/>
                  <a:gd name="T5" fmla="*/ 27 h 505"/>
                  <a:gd name="T6" fmla="*/ 22 w 1014"/>
                  <a:gd name="T7" fmla="*/ 38 h 505"/>
                  <a:gd name="T8" fmla="*/ 33 w 1014"/>
                  <a:gd name="T9" fmla="*/ 47 h 505"/>
                  <a:gd name="T10" fmla="*/ 64 w 1014"/>
                  <a:gd name="T11" fmla="*/ 66 h 505"/>
                  <a:gd name="T12" fmla="*/ 97 w 1014"/>
                  <a:gd name="T13" fmla="*/ 80 h 505"/>
                  <a:gd name="T14" fmla="*/ 133 w 1014"/>
                  <a:gd name="T15" fmla="*/ 93 h 505"/>
                  <a:gd name="T16" fmla="*/ 207 w 1014"/>
                  <a:gd name="T17" fmla="*/ 114 h 505"/>
                  <a:gd name="T18" fmla="*/ 244 w 1014"/>
                  <a:gd name="T19" fmla="*/ 122 h 505"/>
                  <a:gd name="T20" fmla="*/ 324 w 1014"/>
                  <a:gd name="T21" fmla="*/ 137 h 505"/>
                  <a:gd name="T22" fmla="*/ 404 w 1014"/>
                  <a:gd name="T23" fmla="*/ 151 h 505"/>
                  <a:gd name="T24" fmla="*/ 563 w 1014"/>
                  <a:gd name="T25" fmla="*/ 187 h 505"/>
                  <a:gd name="T26" fmla="*/ 600 w 1014"/>
                  <a:gd name="T27" fmla="*/ 197 h 505"/>
                  <a:gd name="T28" fmla="*/ 675 w 1014"/>
                  <a:gd name="T29" fmla="*/ 219 h 505"/>
                  <a:gd name="T30" fmla="*/ 750 w 1014"/>
                  <a:gd name="T31" fmla="*/ 244 h 505"/>
                  <a:gd name="T32" fmla="*/ 821 w 1014"/>
                  <a:gd name="T33" fmla="*/ 275 h 505"/>
                  <a:gd name="T34" fmla="*/ 856 w 1014"/>
                  <a:gd name="T35" fmla="*/ 291 h 505"/>
                  <a:gd name="T36" fmla="*/ 904 w 1014"/>
                  <a:gd name="T37" fmla="*/ 319 h 505"/>
                  <a:gd name="T38" fmla="*/ 933 w 1014"/>
                  <a:gd name="T39" fmla="*/ 339 h 505"/>
                  <a:gd name="T40" fmla="*/ 961 w 1014"/>
                  <a:gd name="T41" fmla="*/ 364 h 505"/>
                  <a:gd name="T42" fmla="*/ 973 w 1014"/>
                  <a:gd name="T43" fmla="*/ 377 h 505"/>
                  <a:gd name="T44" fmla="*/ 988 w 1014"/>
                  <a:gd name="T45" fmla="*/ 395 h 505"/>
                  <a:gd name="T46" fmla="*/ 999 w 1014"/>
                  <a:gd name="T47" fmla="*/ 414 h 505"/>
                  <a:gd name="T48" fmla="*/ 1006 w 1014"/>
                  <a:gd name="T49" fmla="*/ 432 h 505"/>
                  <a:gd name="T50" fmla="*/ 1013 w 1014"/>
                  <a:gd name="T51" fmla="*/ 465 h 505"/>
                  <a:gd name="T52" fmla="*/ 1014 w 1014"/>
                  <a:gd name="T53" fmla="*/ 505 h 505"/>
                  <a:gd name="T54" fmla="*/ 1013 w 1014"/>
                  <a:gd name="T55" fmla="*/ 490 h 505"/>
                  <a:gd name="T56" fmla="*/ 1009 w 1014"/>
                  <a:gd name="T57" fmla="*/ 474 h 505"/>
                  <a:gd name="T58" fmla="*/ 1002 w 1014"/>
                  <a:gd name="T59" fmla="*/ 448 h 505"/>
                  <a:gd name="T60" fmla="*/ 991 w 1014"/>
                  <a:gd name="T61" fmla="*/ 427 h 505"/>
                  <a:gd name="T62" fmla="*/ 972 w 1014"/>
                  <a:gd name="T63" fmla="*/ 403 h 505"/>
                  <a:gd name="T64" fmla="*/ 958 w 1014"/>
                  <a:gd name="T65" fmla="*/ 390 h 505"/>
                  <a:gd name="T66" fmla="*/ 930 w 1014"/>
                  <a:gd name="T67" fmla="*/ 366 h 505"/>
                  <a:gd name="T68" fmla="*/ 900 w 1014"/>
                  <a:gd name="T69" fmla="*/ 346 h 505"/>
                  <a:gd name="T70" fmla="*/ 838 w 1014"/>
                  <a:gd name="T71" fmla="*/ 311 h 505"/>
                  <a:gd name="T72" fmla="*/ 803 w 1014"/>
                  <a:gd name="T73" fmla="*/ 294 h 505"/>
                  <a:gd name="T74" fmla="*/ 730 w 1014"/>
                  <a:gd name="T75" fmla="*/ 266 h 505"/>
                  <a:gd name="T76" fmla="*/ 656 w 1014"/>
                  <a:gd name="T77" fmla="*/ 242 h 505"/>
                  <a:gd name="T78" fmla="*/ 544 w 1014"/>
                  <a:gd name="T79" fmla="*/ 211 h 505"/>
                  <a:gd name="T80" fmla="*/ 465 w 1014"/>
                  <a:gd name="T81" fmla="*/ 193 h 505"/>
                  <a:gd name="T82" fmla="*/ 386 w 1014"/>
                  <a:gd name="T83" fmla="*/ 177 h 505"/>
                  <a:gd name="T84" fmla="*/ 267 w 1014"/>
                  <a:gd name="T85" fmla="*/ 156 h 505"/>
                  <a:gd name="T86" fmla="*/ 228 w 1014"/>
                  <a:gd name="T87" fmla="*/ 147 h 505"/>
                  <a:gd name="T88" fmla="*/ 157 w 1014"/>
                  <a:gd name="T89" fmla="*/ 129 h 505"/>
                  <a:gd name="T90" fmla="*/ 89 w 1014"/>
                  <a:gd name="T91" fmla="*/ 105 h 505"/>
                  <a:gd name="T92" fmla="*/ 74 w 1014"/>
                  <a:gd name="T93" fmla="*/ 99 h 505"/>
                  <a:gd name="T94" fmla="*/ 44 w 1014"/>
                  <a:gd name="T95" fmla="*/ 83 h 505"/>
                  <a:gd name="T96" fmla="*/ 31 w 1014"/>
                  <a:gd name="T97" fmla="*/ 73 h 505"/>
                  <a:gd name="T98" fmla="*/ 12 w 1014"/>
                  <a:gd name="T99" fmla="*/ 56 h 505"/>
                  <a:gd name="T100" fmla="*/ 3 w 1014"/>
                  <a:gd name="T101" fmla="*/ 43 h 505"/>
                  <a:gd name="T102" fmla="*/ 1 w 1014"/>
                  <a:gd name="T103" fmla="*/ 33 h 505"/>
                  <a:gd name="T104" fmla="*/ 1 w 1014"/>
                  <a:gd name="T105" fmla="*/ 0 h 5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14" h="505">
                    <a:moveTo>
                      <a:pt x="1" y="0"/>
                    </a:moveTo>
                    <a:lnTo>
                      <a:pt x="1" y="0"/>
                    </a:lnTo>
                    <a:lnTo>
                      <a:pt x="1" y="6"/>
                    </a:lnTo>
                    <a:lnTo>
                      <a:pt x="3" y="14"/>
                    </a:lnTo>
                    <a:lnTo>
                      <a:pt x="7" y="21"/>
                    </a:lnTo>
                    <a:lnTo>
                      <a:pt x="11" y="27"/>
                    </a:lnTo>
                    <a:lnTo>
                      <a:pt x="17" y="33"/>
                    </a:lnTo>
                    <a:lnTo>
                      <a:pt x="22" y="38"/>
                    </a:lnTo>
                    <a:lnTo>
                      <a:pt x="33" y="47"/>
                    </a:lnTo>
                    <a:lnTo>
                      <a:pt x="33" y="47"/>
                    </a:lnTo>
                    <a:lnTo>
                      <a:pt x="49" y="57"/>
                    </a:lnTo>
                    <a:lnTo>
                      <a:pt x="64" y="66"/>
                    </a:lnTo>
                    <a:lnTo>
                      <a:pt x="80" y="73"/>
                    </a:lnTo>
                    <a:lnTo>
                      <a:pt x="97" y="80"/>
                    </a:lnTo>
                    <a:lnTo>
                      <a:pt x="97" y="80"/>
                    </a:lnTo>
                    <a:lnTo>
                      <a:pt x="133" y="93"/>
                    </a:lnTo>
                    <a:lnTo>
                      <a:pt x="169" y="104"/>
                    </a:lnTo>
                    <a:lnTo>
                      <a:pt x="207" y="114"/>
                    </a:lnTo>
                    <a:lnTo>
                      <a:pt x="244" y="122"/>
                    </a:lnTo>
                    <a:lnTo>
                      <a:pt x="244" y="122"/>
                    </a:lnTo>
                    <a:lnTo>
                      <a:pt x="284" y="129"/>
                    </a:lnTo>
                    <a:lnTo>
                      <a:pt x="324" y="137"/>
                    </a:lnTo>
                    <a:lnTo>
                      <a:pt x="404" y="151"/>
                    </a:lnTo>
                    <a:lnTo>
                      <a:pt x="404" y="151"/>
                    </a:lnTo>
                    <a:lnTo>
                      <a:pt x="484" y="168"/>
                    </a:lnTo>
                    <a:lnTo>
                      <a:pt x="563" y="187"/>
                    </a:lnTo>
                    <a:lnTo>
                      <a:pt x="563" y="187"/>
                    </a:lnTo>
                    <a:lnTo>
                      <a:pt x="600" y="197"/>
                    </a:lnTo>
                    <a:lnTo>
                      <a:pt x="638" y="208"/>
                    </a:lnTo>
                    <a:lnTo>
                      <a:pt x="675" y="219"/>
                    </a:lnTo>
                    <a:lnTo>
                      <a:pt x="712" y="231"/>
                    </a:lnTo>
                    <a:lnTo>
                      <a:pt x="750" y="244"/>
                    </a:lnTo>
                    <a:lnTo>
                      <a:pt x="786" y="258"/>
                    </a:lnTo>
                    <a:lnTo>
                      <a:pt x="821" y="275"/>
                    </a:lnTo>
                    <a:lnTo>
                      <a:pt x="856" y="291"/>
                    </a:lnTo>
                    <a:lnTo>
                      <a:pt x="856" y="291"/>
                    </a:lnTo>
                    <a:lnTo>
                      <a:pt x="888" y="309"/>
                    </a:lnTo>
                    <a:lnTo>
                      <a:pt x="904" y="319"/>
                    </a:lnTo>
                    <a:lnTo>
                      <a:pt x="919" y="328"/>
                    </a:lnTo>
                    <a:lnTo>
                      <a:pt x="933" y="339"/>
                    </a:lnTo>
                    <a:lnTo>
                      <a:pt x="948" y="352"/>
                    </a:lnTo>
                    <a:lnTo>
                      <a:pt x="961" y="364"/>
                    </a:lnTo>
                    <a:lnTo>
                      <a:pt x="973" y="377"/>
                    </a:lnTo>
                    <a:lnTo>
                      <a:pt x="973" y="377"/>
                    </a:lnTo>
                    <a:lnTo>
                      <a:pt x="982" y="387"/>
                    </a:lnTo>
                    <a:lnTo>
                      <a:pt x="988" y="395"/>
                    </a:lnTo>
                    <a:lnTo>
                      <a:pt x="994" y="405"/>
                    </a:lnTo>
                    <a:lnTo>
                      <a:pt x="999" y="414"/>
                    </a:lnTo>
                    <a:lnTo>
                      <a:pt x="1003" y="423"/>
                    </a:lnTo>
                    <a:lnTo>
                      <a:pt x="1006" y="432"/>
                    </a:lnTo>
                    <a:lnTo>
                      <a:pt x="1010" y="449"/>
                    </a:lnTo>
                    <a:lnTo>
                      <a:pt x="1013" y="465"/>
                    </a:lnTo>
                    <a:lnTo>
                      <a:pt x="1014" y="479"/>
                    </a:lnTo>
                    <a:lnTo>
                      <a:pt x="1014" y="505"/>
                    </a:lnTo>
                    <a:lnTo>
                      <a:pt x="1014" y="505"/>
                    </a:lnTo>
                    <a:lnTo>
                      <a:pt x="1013" y="490"/>
                    </a:lnTo>
                    <a:lnTo>
                      <a:pt x="1009" y="474"/>
                    </a:lnTo>
                    <a:lnTo>
                      <a:pt x="1009" y="474"/>
                    </a:lnTo>
                    <a:lnTo>
                      <a:pt x="1005" y="457"/>
                    </a:lnTo>
                    <a:lnTo>
                      <a:pt x="1002" y="448"/>
                    </a:lnTo>
                    <a:lnTo>
                      <a:pt x="996" y="438"/>
                    </a:lnTo>
                    <a:lnTo>
                      <a:pt x="991" y="427"/>
                    </a:lnTo>
                    <a:lnTo>
                      <a:pt x="982" y="415"/>
                    </a:lnTo>
                    <a:lnTo>
                      <a:pt x="972" y="403"/>
                    </a:lnTo>
                    <a:lnTo>
                      <a:pt x="958" y="390"/>
                    </a:lnTo>
                    <a:lnTo>
                      <a:pt x="958" y="390"/>
                    </a:lnTo>
                    <a:lnTo>
                      <a:pt x="944" y="378"/>
                    </a:lnTo>
                    <a:lnTo>
                      <a:pt x="930" y="366"/>
                    </a:lnTo>
                    <a:lnTo>
                      <a:pt x="916" y="356"/>
                    </a:lnTo>
                    <a:lnTo>
                      <a:pt x="900" y="346"/>
                    </a:lnTo>
                    <a:lnTo>
                      <a:pt x="870" y="327"/>
                    </a:lnTo>
                    <a:lnTo>
                      <a:pt x="838" y="311"/>
                    </a:lnTo>
                    <a:lnTo>
                      <a:pt x="838" y="311"/>
                    </a:lnTo>
                    <a:lnTo>
                      <a:pt x="803" y="294"/>
                    </a:lnTo>
                    <a:lnTo>
                      <a:pt x="766" y="279"/>
                    </a:lnTo>
                    <a:lnTo>
                      <a:pt x="730" y="266"/>
                    </a:lnTo>
                    <a:lnTo>
                      <a:pt x="694" y="253"/>
                    </a:lnTo>
                    <a:lnTo>
                      <a:pt x="656" y="242"/>
                    </a:lnTo>
                    <a:lnTo>
                      <a:pt x="619" y="231"/>
                    </a:lnTo>
                    <a:lnTo>
                      <a:pt x="544" y="211"/>
                    </a:lnTo>
                    <a:lnTo>
                      <a:pt x="544" y="211"/>
                    </a:lnTo>
                    <a:lnTo>
                      <a:pt x="465" y="193"/>
                    </a:lnTo>
                    <a:lnTo>
                      <a:pt x="386" y="177"/>
                    </a:lnTo>
                    <a:lnTo>
                      <a:pt x="386" y="177"/>
                    </a:lnTo>
                    <a:lnTo>
                      <a:pt x="307" y="162"/>
                    </a:lnTo>
                    <a:lnTo>
                      <a:pt x="267" y="156"/>
                    </a:lnTo>
                    <a:lnTo>
                      <a:pt x="228" y="147"/>
                    </a:lnTo>
                    <a:lnTo>
                      <a:pt x="228" y="147"/>
                    </a:lnTo>
                    <a:lnTo>
                      <a:pt x="193" y="138"/>
                    </a:lnTo>
                    <a:lnTo>
                      <a:pt x="157" y="129"/>
                    </a:lnTo>
                    <a:lnTo>
                      <a:pt x="122" y="118"/>
                    </a:lnTo>
                    <a:lnTo>
                      <a:pt x="89" y="105"/>
                    </a:lnTo>
                    <a:lnTo>
                      <a:pt x="89" y="105"/>
                    </a:lnTo>
                    <a:lnTo>
                      <a:pt x="74" y="99"/>
                    </a:lnTo>
                    <a:lnTo>
                      <a:pt x="58" y="92"/>
                    </a:lnTo>
                    <a:lnTo>
                      <a:pt x="44" y="83"/>
                    </a:lnTo>
                    <a:lnTo>
                      <a:pt x="31" y="73"/>
                    </a:lnTo>
                    <a:lnTo>
                      <a:pt x="31" y="73"/>
                    </a:lnTo>
                    <a:lnTo>
                      <a:pt x="19" y="65"/>
                    </a:lnTo>
                    <a:lnTo>
                      <a:pt x="12" y="56"/>
                    </a:lnTo>
                    <a:lnTo>
                      <a:pt x="7" y="49"/>
                    </a:lnTo>
                    <a:lnTo>
                      <a:pt x="3" y="43"/>
                    </a:lnTo>
                    <a:lnTo>
                      <a:pt x="3" y="43"/>
                    </a:lnTo>
                    <a:lnTo>
                      <a:pt x="1" y="33"/>
                    </a:lnTo>
                    <a:lnTo>
                      <a:pt x="0" y="23"/>
                    </a:lnTo>
                    <a:lnTo>
                      <a:pt x="1" y="0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AA2A9E7E-1EE7-42C9-8738-99F6753EDB97}"/>
                  </a:ext>
                </a:extLst>
              </p:cNvPr>
              <p:cNvSpPr/>
              <p:nvPr/>
            </p:nvSpPr>
            <p:spPr bwMode="auto">
              <a:xfrm>
                <a:off x="6036468" y="2395537"/>
                <a:ext cx="371475" cy="111125"/>
              </a:xfrm>
              <a:custGeom>
                <a:avLst/>
                <a:gdLst>
                  <a:gd name="T0" fmla="*/ 152 w 234"/>
                  <a:gd name="T1" fmla="*/ 14 h 70"/>
                  <a:gd name="T2" fmla="*/ 152 w 234"/>
                  <a:gd name="T3" fmla="*/ 14 h 70"/>
                  <a:gd name="T4" fmla="*/ 190 w 234"/>
                  <a:gd name="T5" fmla="*/ 11 h 70"/>
                  <a:gd name="T6" fmla="*/ 215 w 234"/>
                  <a:gd name="T7" fmla="*/ 8 h 70"/>
                  <a:gd name="T8" fmla="*/ 224 w 234"/>
                  <a:gd name="T9" fmla="*/ 6 h 70"/>
                  <a:gd name="T10" fmla="*/ 229 w 234"/>
                  <a:gd name="T11" fmla="*/ 5 h 70"/>
                  <a:gd name="T12" fmla="*/ 233 w 234"/>
                  <a:gd name="T13" fmla="*/ 3 h 70"/>
                  <a:gd name="T14" fmla="*/ 234 w 234"/>
                  <a:gd name="T15" fmla="*/ 0 h 70"/>
                  <a:gd name="T16" fmla="*/ 234 w 234"/>
                  <a:gd name="T17" fmla="*/ 28 h 70"/>
                  <a:gd name="T18" fmla="*/ 234 w 234"/>
                  <a:gd name="T19" fmla="*/ 28 h 70"/>
                  <a:gd name="T20" fmla="*/ 233 w 234"/>
                  <a:gd name="T21" fmla="*/ 32 h 70"/>
                  <a:gd name="T22" fmla="*/ 229 w 234"/>
                  <a:gd name="T23" fmla="*/ 34 h 70"/>
                  <a:gd name="T24" fmla="*/ 224 w 234"/>
                  <a:gd name="T25" fmla="*/ 35 h 70"/>
                  <a:gd name="T26" fmla="*/ 215 w 234"/>
                  <a:gd name="T27" fmla="*/ 37 h 70"/>
                  <a:gd name="T28" fmla="*/ 190 w 234"/>
                  <a:gd name="T29" fmla="*/ 40 h 70"/>
                  <a:gd name="T30" fmla="*/ 152 w 234"/>
                  <a:gd name="T31" fmla="*/ 43 h 70"/>
                  <a:gd name="T32" fmla="*/ 152 w 234"/>
                  <a:gd name="T33" fmla="*/ 43 h 70"/>
                  <a:gd name="T34" fmla="*/ 105 w 234"/>
                  <a:gd name="T35" fmla="*/ 47 h 70"/>
                  <a:gd name="T36" fmla="*/ 56 w 234"/>
                  <a:gd name="T37" fmla="*/ 54 h 70"/>
                  <a:gd name="T38" fmla="*/ 34 w 234"/>
                  <a:gd name="T39" fmla="*/ 57 h 70"/>
                  <a:gd name="T40" fmla="*/ 16 w 234"/>
                  <a:gd name="T41" fmla="*/ 61 h 70"/>
                  <a:gd name="T42" fmla="*/ 4 w 234"/>
                  <a:gd name="T43" fmla="*/ 66 h 70"/>
                  <a:gd name="T44" fmla="*/ 1 w 234"/>
                  <a:gd name="T45" fmla="*/ 68 h 70"/>
                  <a:gd name="T46" fmla="*/ 0 w 234"/>
                  <a:gd name="T47" fmla="*/ 70 h 70"/>
                  <a:gd name="T48" fmla="*/ 0 w 234"/>
                  <a:gd name="T49" fmla="*/ 41 h 70"/>
                  <a:gd name="T50" fmla="*/ 0 w 234"/>
                  <a:gd name="T51" fmla="*/ 41 h 70"/>
                  <a:gd name="T52" fmla="*/ 1 w 234"/>
                  <a:gd name="T53" fmla="*/ 39 h 70"/>
                  <a:gd name="T54" fmla="*/ 4 w 234"/>
                  <a:gd name="T55" fmla="*/ 37 h 70"/>
                  <a:gd name="T56" fmla="*/ 16 w 234"/>
                  <a:gd name="T57" fmla="*/ 33 h 70"/>
                  <a:gd name="T58" fmla="*/ 34 w 234"/>
                  <a:gd name="T59" fmla="*/ 28 h 70"/>
                  <a:gd name="T60" fmla="*/ 56 w 234"/>
                  <a:gd name="T61" fmla="*/ 25 h 70"/>
                  <a:gd name="T62" fmla="*/ 105 w 234"/>
                  <a:gd name="T63" fmla="*/ 18 h 70"/>
                  <a:gd name="T64" fmla="*/ 152 w 234"/>
                  <a:gd name="T65" fmla="*/ 14 h 70"/>
                  <a:gd name="T66" fmla="*/ 152 w 234"/>
                  <a:gd name="T67" fmla="*/ 1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34" h="70">
                    <a:moveTo>
                      <a:pt x="152" y="14"/>
                    </a:moveTo>
                    <a:lnTo>
                      <a:pt x="152" y="14"/>
                    </a:lnTo>
                    <a:lnTo>
                      <a:pt x="190" y="11"/>
                    </a:lnTo>
                    <a:lnTo>
                      <a:pt x="215" y="8"/>
                    </a:lnTo>
                    <a:lnTo>
                      <a:pt x="224" y="6"/>
                    </a:lnTo>
                    <a:lnTo>
                      <a:pt x="229" y="5"/>
                    </a:lnTo>
                    <a:lnTo>
                      <a:pt x="233" y="3"/>
                    </a:lnTo>
                    <a:lnTo>
                      <a:pt x="234" y="0"/>
                    </a:lnTo>
                    <a:lnTo>
                      <a:pt x="234" y="28"/>
                    </a:lnTo>
                    <a:lnTo>
                      <a:pt x="234" y="28"/>
                    </a:lnTo>
                    <a:lnTo>
                      <a:pt x="233" y="32"/>
                    </a:lnTo>
                    <a:lnTo>
                      <a:pt x="229" y="34"/>
                    </a:lnTo>
                    <a:lnTo>
                      <a:pt x="224" y="35"/>
                    </a:lnTo>
                    <a:lnTo>
                      <a:pt x="215" y="37"/>
                    </a:lnTo>
                    <a:lnTo>
                      <a:pt x="190" y="40"/>
                    </a:lnTo>
                    <a:lnTo>
                      <a:pt x="152" y="43"/>
                    </a:lnTo>
                    <a:lnTo>
                      <a:pt x="152" y="43"/>
                    </a:lnTo>
                    <a:lnTo>
                      <a:pt x="105" y="47"/>
                    </a:lnTo>
                    <a:lnTo>
                      <a:pt x="56" y="54"/>
                    </a:lnTo>
                    <a:lnTo>
                      <a:pt x="34" y="57"/>
                    </a:lnTo>
                    <a:lnTo>
                      <a:pt x="16" y="61"/>
                    </a:lnTo>
                    <a:lnTo>
                      <a:pt x="4" y="66"/>
                    </a:lnTo>
                    <a:lnTo>
                      <a:pt x="1" y="68"/>
                    </a:lnTo>
                    <a:lnTo>
                      <a:pt x="0" y="70"/>
                    </a:lnTo>
                    <a:lnTo>
                      <a:pt x="0" y="41"/>
                    </a:lnTo>
                    <a:lnTo>
                      <a:pt x="0" y="41"/>
                    </a:lnTo>
                    <a:lnTo>
                      <a:pt x="1" y="39"/>
                    </a:lnTo>
                    <a:lnTo>
                      <a:pt x="4" y="37"/>
                    </a:lnTo>
                    <a:lnTo>
                      <a:pt x="16" y="33"/>
                    </a:lnTo>
                    <a:lnTo>
                      <a:pt x="34" y="28"/>
                    </a:lnTo>
                    <a:lnTo>
                      <a:pt x="56" y="25"/>
                    </a:lnTo>
                    <a:lnTo>
                      <a:pt x="105" y="18"/>
                    </a:lnTo>
                    <a:lnTo>
                      <a:pt x="152" y="14"/>
                    </a:lnTo>
                    <a:lnTo>
                      <a:pt x="152" y="14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41ADD550-243E-45E3-932B-2BB0C6D53152}"/>
                  </a:ext>
                </a:extLst>
              </p:cNvPr>
              <p:cNvSpPr/>
              <p:nvPr/>
            </p:nvSpPr>
            <p:spPr bwMode="auto">
              <a:xfrm>
                <a:off x="5787231" y="2460624"/>
                <a:ext cx="669925" cy="136525"/>
              </a:xfrm>
              <a:custGeom>
                <a:avLst/>
                <a:gdLst>
                  <a:gd name="T0" fmla="*/ 13 w 422"/>
                  <a:gd name="T1" fmla="*/ 9 h 86"/>
                  <a:gd name="T2" fmla="*/ 13 w 422"/>
                  <a:gd name="T3" fmla="*/ 9 h 86"/>
                  <a:gd name="T4" fmla="*/ 23 w 422"/>
                  <a:gd name="T5" fmla="*/ 13 h 86"/>
                  <a:gd name="T6" fmla="*/ 39 w 422"/>
                  <a:gd name="T7" fmla="*/ 15 h 86"/>
                  <a:gd name="T8" fmla="*/ 85 w 422"/>
                  <a:gd name="T9" fmla="*/ 19 h 86"/>
                  <a:gd name="T10" fmla="*/ 145 w 422"/>
                  <a:gd name="T11" fmla="*/ 25 h 86"/>
                  <a:gd name="T12" fmla="*/ 209 w 422"/>
                  <a:gd name="T13" fmla="*/ 29 h 86"/>
                  <a:gd name="T14" fmla="*/ 275 w 422"/>
                  <a:gd name="T15" fmla="*/ 35 h 86"/>
                  <a:gd name="T16" fmla="*/ 335 w 422"/>
                  <a:gd name="T17" fmla="*/ 39 h 86"/>
                  <a:gd name="T18" fmla="*/ 383 w 422"/>
                  <a:gd name="T19" fmla="*/ 44 h 86"/>
                  <a:gd name="T20" fmla="*/ 401 w 422"/>
                  <a:gd name="T21" fmla="*/ 48 h 86"/>
                  <a:gd name="T22" fmla="*/ 414 w 422"/>
                  <a:gd name="T23" fmla="*/ 51 h 86"/>
                  <a:gd name="T24" fmla="*/ 414 w 422"/>
                  <a:gd name="T25" fmla="*/ 51 h 86"/>
                  <a:gd name="T26" fmla="*/ 418 w 422"/>
                  <a:gd name="T27" fmla="*/ 53 h 86"/>
                  <a:gd name="T28" fmla="*/ 420 w 422"/>
                  <a:gd name="T29" fmla="*/ 55 h 86"/>
                  <a:gd name="T30" fmla="*/ 422 w 422"/>
                  <a:gd name="T31" fmla="*/ 56 h 86"/>
                  <a:gd name="T32" fmla="*/ 422 w 422"/>
                  <a:gd name="T33" fmla="*/ 86 h 86"/>
                  <a:gd name="T34" fmla="*/ 422 w 422"/>
                  <a:gd name="T35" fmla="*/ 86 h 86"/>
                  <a:gd name="T36" fmla="*/ 420 w 422"/>
                  <a:gd name="T37" fmla="*/ 84 h 86"/>
                  <a:gd name="T38" fmla="*/ 418 w 422"/>
                  <a:gd name="T39" fmla="*/ 82 h 86"/>
                  <a:gd name="T40" fmla="*/ 414 w 422"/>
                  <a:gd name="T41" fmla="*/ 80 h 86"/>
                  <a:gd name="T42" fmla="*/ 414 w 422"/>
                  <a:gd name="T43" fmla="*/ 80 h 86"/>
                  <a:gd name="T44" fmla="*/ 401 w 422"/>
                  <a:gd name="T45" fmla="*/ 76 h 86"/>
                  <a:gd name="T46" fmla="*/ 383 w 422"/>
                  <a:gd name="T47" fmla="*/ 74 h 86"/>
                  <a:gd name="T48" fmla="*/ 335 w 422"/>
                  <a:gd name="T49" fmla="*/ 67 h 86"/>
                  <a:gd name="T50" fmla="*/ 275 w 422"/>
                  <a:gd name="T51" fmla="*/ 63 h 86"/>
                  <a:gd name="T52" fmla="*/ 209 w 422"/>
                  <a:gd name="T53" fmla="*/ 58 h 86"/>
                  <a:gd name="T54" fmla="*/ 145 w 422"/>
                  <a:gd name="T55" fmla="*/ 53 h 86"/>
                  <a:gd name="T56" fmla="*/ 85 w 422"/>
                  <a:gd name="T57" fmla="*/ 49 h 86"/>
                  <a:gd name="T58" fmla="*/ 39 w 422"/>
                  <a:gd name="T59" fmla="*/ 43 h 86"/>
                  <a:gd name="T60" fmla="*/ 23 w 422"/>
                  <a:gd name="T61" fmla="*/ 41 h 86"/>
                  <a:gd name="T62" fmla="*/ 13 w 422"/>
                  <a:gd name="T63" fmla="*/ 38 h 86"/>
                  <a:gd name="T64" fmla="*/ 13 w 422"/>
                  <a:gd name="T65" fmla="*/ 38 h 86"/>
                  <a:gd name="T66" fmla="*/ 5 w 422"/>
                  <a:gd name="T67" fmla="*/ 35 h 86"/>
                  <a:gd name="T68" fmla="*/ 2 w 422"/>
                  <a:gd name="T69" fmla="*/ 32 h 86"/>
                  <a:gd name="T70" fmla="*/ 0 w 422"/>
                  <a:gd name="T71" fmla="*/ 30 h 86"/>
                  <a:gd name="T72" fmla="*/ 0 w 422"/>
                  <a:gd name="T73" fmla="*/ 30 h 86"/>
                  <a:gd name="T74" fmla="*/ 0 w 422"/>
                  <a:gd name="T75" fmla="*/ 0 h 86"/>
                  <a:gd name="T76" fmla="*/ 0 w 422"/>
                  <a:gd name="T77" fmla="*/ 0 h 86"/>
                  <a:gd name="T78" fmla="*/ 0 w 422"/>
                  <a:gd name="T79" fmla="*/ 3 h 86"/>
                  <a:gd name="T80" fmla="*/ 1 w 422"/>
                  <a:gd name="T81" fmla="*/ 4 h 86"/>
                  <a:gd name="T82" fmla="*/ 5 w 422"/>
                  <a:gd name="T83" fmla="*/ 6 h 86"/>
                  <a:gd name="T84" fmla="*/ 13 w 422"/>
                  <a:gd name="T85" fmla="*/ 9 h 86"/>
                  <a:gd name="T86" fmla="*/ 13 w 422"/>
                  <a:gd name="T87" fmla="*/ 9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422" h="86">
                    <a:moveTo>
                      <a:pt x="13" y="9"/>
                    </a:moveTo>
                    <a:lnTo>
                      <a:pt x="13" y="9"/>
                    </a:lnTo>
                    <a:lnTo>
                      <a:pt x="23" y="13"/>
                    </a:lnTo>
                    <a:lnTo>
                      <a:pt x="39" y="15"/>
                    </a:lnTo>
                    <a:lnTo>
                      <a:pt x="85" y="19"/>
                    </a:lnTo>
                    <a:lnTo>
                      <a:pt x="145" y="25"/>
                    </a:lnTo>
                    <a:lnTo>
                      <a:pt x="209" y="29"/>
                    </a:lnTo>
                    <a:lnTo>
                      <a:pt x="275" y="35"/>
                    </a:lnTo>
                    <a:lnTo>
                      <a:pt x="335" y="39"/>
                    </a:lnTo>
                    <a:lnTo>
                      <a:pt x="383" y="44"/>
                    </a:lnTo>
                    <a:lnTo>
                      <a:pt x="401" y="48"/>
                    </a:lnTo>
                    <a:lnTo>
                      <a:pt x="414" y="51"/>
                    </a:lnTo>
                    <a:lnTo>
                      <a:pt x="414" y="51"/>
                    </a:lnTo>
                    <a:lnTo>
                      <a:pt x="418" y="53"/>
                    </a:lnTo>
                    <a:lnTo>
                      <a:pt x="420" y="55"/>
                    </a:lnTo>
                    <a:lnTo>
                      <a:pt x="422" y="56"/>
                    </a:lnTo>
                    <a:lnTo>
                      <a:pt x="422" y="86"/>
                    </a:lnTo>
                    <a:lnTo>
                      <a:pt x="422" y="86"/>
                    </a:lnTo>
                    <a:lnTo>
                      <a:pt x="420" y="84"/>
                    </a:lnTo>
                    <a:lnTo>
                      <a:pt x="418" y="82"/>
                    </a:lnTo>
                    <a:lnTo>
                      <a:pt x="414" y="80"/>
                    </a:lnTo>
                    <a:lnTo>
                      <a:pt x="414" y="80"/>
                    </a:lnTo>
                    <a:lnTo>
                      <a:pt x="401" y="76"/>
                    </a:lnTo>
                    <a:lnTo>
                      <a:pt x="383" y="74"/>
                    </a:lnTo>
                    <a:lnTo>
                      <a:pt x="335" y="67"/>
                    </a:lnTo>
                    <a:lnTo>
                      <a:pt x="275" y="63"/>
                    </a:lnTo>
                    <a:lnTo>
                      <a:pt x="209" y="58"/>
                    </a:lnTo>
                    <a:lnTo>
                      <a:pt x="145" y="53"/>
                    </a:lnTo>
                    <a:lnTo>
                      <a:pt x="85" y="49"/>
                    </a:lnTo>
                    <a:lnTo>
                      <a:pt x="39" y="43"/>
                    </a:lnTo>
                    <a:lnTo>
                      <a:pt x="23" y="41"/>
                    </a:lnTo>
                    <a:lnTo>
                      <a:pt x="13" y="38"/>
                    </a:lnTo>
                    <a:lnTo>
                      <a:pt x="13" y="38"/>
                    </a:lnTo>
                    <a:lnTo>
                      <a:pt x="5" y="35"/>
                    </a:lnTo>
                    <a:lnTo>
                      <a:pt x="2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3"/>
                    </a:lnTo>
                    <a:lnTo>
                      <a:pt x="1" y="4"/>
                    </a:lnTo>
                    <a:lnTo>
                      <a:pt x="5" y="6"/>
                    </a:lnTo>
                    <a:lnTo>
                      <a:pt x="13" y="9"/>
                    </a:lnTo>
                    <a:lnTo>
                      <a:pt x="13" y="9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F9830ED3-3DBC-48FD-BA9A-36F5BDAE3177}"/>
                  </a:ext>
                </a:extLst>
              </p:cNvPr>
              <p:cNvSpPr/>
              <p:nvPr/>
            </p:nvSpPr>
            <p:spPr bwMode="auto">
              <a:xfrm>
                <a:off x="6119018" y="2565399"/>
                <a:ext cx="673100" cy="282575"/>
              </a:xfrm>
              <a:custGeom>
                <a:avLst/>
                <a:gdLst>
                  <a:gd name="T0" fmla="*/ 423 w 424"/>
                  <a:gd name="T1" fmla="*/ 4 h 178"/>
                  <a:gd name="T2" fmla="*/ 423 w 424"/>
                  <a:gd name="T3" fmla="*/ 4 h 178"/>
                  <a:gd name="T4" fmla="*/ 424 w 424"/>
                  <a:gd name="T5" fmla="*/ 3 h 178"/>
                  <a:gd name="T6" fmla="*/ 424 w 424"/>
                  <a:gd name="T7" fmla="*/ 0 h 178"/>
                  <a:gd name="T8" fmla="*/ 424 w 424"/>
                  <a:gd name="T9" fmla="*/ 29 h 178"/>
                  <a:gd name="T10" fmla="*/ 424 w 424"/>
                  <a:gd name="T11" fmla="*/ 29 h 178"/>
                  <a:gd name="T12" fmla="*/ 424 w 424"/>
                  <a:gd name="T13" fmla="*/ 31 h 178"/>
                  <a:gd name="T14" fmla="*/ 423 w 424"/>
                  <a:gd name="T15" fmla="*/ 33 h 178"/>
                  <a:gd name="T16" fmla="*/ 423 w 424"/>
                  <a:gd name="T17" fmla="*/ 33 h 178"/>
                  <a:gd name="T18" fmla="*/ 419 w 424"/>
                  <a:gd name="T19" fmla="*/ 37 h 178"/>
                  <a:gd name="T20" fmla="*/ 413 w 424"/>
                  <a:gd name="T21" fmla="*/ 40 h 178"/>
                  <a:gd name="T22" fmla="*/ 396 w 424"/>
                  <a:gd name="T23" fmla="*/ 48 h 178"/>
                  <a:gd name="T24" fmla="*/ 373 w 424"/>
                  <a:gd name="T25" fmla="*/ 54 h 178"/>
                  <a:gd name="T26" fmla="*/ 344 w 424"/>
                  <a:gd name="T27" fmla="*/ 62 h 178"/>
                  <a:gd name="T28" fmla="*/ 276 w 424"/>
                  <a:gd name="T29" fmla="*/ 78 h 178"/>
                  <a:gd name="T30" fmla="*/ 201 w 424"/>
                  <a:gd name="T31" fmla="*/ 96 h 178"/>
                  <a:gd name="T32" fmla="*/ 163 w 424"/>
                  <a:gd name="T33" fmla="*/ 105 h 178"/>
                  <a:gd name="T34" fmla="*/ 126 w 424"/>
                  <a:gd name="T35" fmla="*/ 115 h 178"/>
                  <a:gd name="T36" fmla="*/ 93 w 424"/>
                  <a:gd name="T37" fmla="*/ 125 h 178"/>
                  <a:gd name="T38" fmla="*/ 62 w 424"/>
                  <a:gd name="T39" fmla="*/ 134 h 178"/>
                  <a:gd name="T40" fmla="*/ 37 w 424"/>
                  <a:gd name="T41" fmla="*/ 145 h 178"/>
                  <a:gd name="T42" fmla="*/ 26 w 424"/>
                  <a:gd name="T43" fmla="*/ 151 h 178"/>
                  <a:gd name="T44" fmla="*/ 17 w 424"/>
                  <a:gd name="T45" fmla="*/ 155 h 178"/>
                  <a:gd name="T46" fmla="*/ 10 w 424"/>
                  <a:gd name="T47" fmla="*/ 161 h 178"/>
                  <a:gd name="T48" fmla="*/ 5 w 424"/>
                  <a:gd name="T49" fmla="*/ 167 h 178"/>
                  <a:gd name="T50" fmla="*/ 2 w 424"/>
                  <a:gd name="T51" fmla="*/ 173 h 178"/>
                  <a:gd name="T52" fmla="*/ 0 w 424"/>
                  <a:gd name="T53" fmla="*/ 178 h 178"/>
                  <a:gd name="T54" fmla="*/ 0 w 424"/>
                  <a:gd name="T55" fmla="*/ 150 h 178"/>
                  <a:gd name="T56" fmla="*/ 0 w 424"/>
                  <a:gd name="T57" fmla="*/ 150 h 178"/>
                  <a:gd name="T58" fmla="*/ 2 w 424"/>
                  <a:gd name="T59" fmla="*/ 144 h 178"/>
                  <a:gd name="T60" fmla="*/ 5 w 424"/>
                  <a:gd name="T61" fmla="*/ 138 h 178"/>
                  <a:gd name="T62" fmla="*/ 10 w 424"/>
                  <a:gd name="T63" fmla="*/ 132 h 178"/>
                  <a:gd name="T64" fmla="*/ 17 w 424"/>
                  <a:gd name="T65" fmla="*/ 127 h 178"/>
                  <a:gd name="T66" fmla="*/ 26 w 424"/>
                  <a:gd name="T67" fmla="*/ 121 h 178"/>
                  <a:gd name="T68" fmla="*/ 37 w 424"/>
                  <a:gd name="T69" fmla="*/ 117 h 178"/>
                  <a:gd name="T70" fmla="*/ 62 w 424"/>
                  <a:gd name="T71" fmla="*/ 106 h 178"/>
                  <a:gd name="T72" fmla="*/ 93 w 424"/>
                  <a:gd name="T73" fmla="*/ 96 h 178"/>
                  <a:gd name="T74" fmla="*/ 126 w 424"/>
                  <a:gd name="T75" fmla="*/ 86 h 178"/>
                  <a:gd name="T76" fmla="*/ 163 w 424"/>
                  <a:gd name="T77" fmla="*/ 76 h 178"/>
                  <a:gd name="T78" fmla="*/ 201 w 424"/>
                  <a:gd name="T79" fmla="*/ 67 h 178"/>
                  <a:gd name="T80" fmla="*/ 276 w 424"/>
                  <a:gd name="T81" fmla="*/ 50 h 178"/>
                  <a:gd name="T82" fmla="*/ 344 w 424"/>
                  <a:gd name="T83" fmla="*/ 33 h 178"/>
                  <a:gd name="T84" fmla="*/ 373 w 424"/>
                  <a:gd name="T85" fmla="*/ 26 h 178"/>
                  <a:gd name="T86" fmla="*/ 396 w 424"/>
                  <a:gd name="T87" fmla="*/ 18 h 178"/>
                  <a:gd name="T88" fmla="*/ 413 w 424"/>
                  <a:gd name="T89" fmla="*/ 11 h 178"/>
                  <a:gd name="T90" fmla="*/ 419 w 424"/>
                  <a:gd name="T91" fmla="*/ 8 h 178"/>
                  <a:gd name="T92" fmla="*/ 423 w 424"/>
                  <a:gd name="T93" fmla="*/ 4 h 178"/>
                  <a:gd name="T94" fmla="*/ 423 w 424"/>
                  <a:gd name="T95" fmla="*/ 4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4" h="178">
                    <a:moveTo>
                      <a:pt x="423" y="4"/>
                    </a:moveTo>
                    <a:lnTo>
                      <a:pt x="423" y="4"/>
                    </a:lnTo>
                    <a:lnTo>
                      <a:pt x="424" y="3"/>
                    </a:lnTo>
                    <a:lnTo>
                      <a:pt x="424" y="0"/>
                    </a:lnTo>
                    <a:lnTo>
                      <a:pt x="424" y="29"/>
                    </a:lnTo>
                    <a:lnTo>
                      <a:pt x="424" y="29"/>
                    </a:lnTo>
                    <a:lnTo>
                      <a:pt x="424" y="31"/>
                    </a:lnTo>
                    <a:lnTo>
                      <a:pt x="423" y="33"/>
                    </a:lnTo>
                    <a:lnTo>
                      <a:pt x="423" y="33"/>
                    </a:lnTo>
                    <a:lnTo>
                      <a:pt x="419" y="37"/>
                    </a:lnTo>
                    <a:lnTo>
                      <a:pt x="413" y="40"/>
                    </a:lnTo>
                    <a:lnTo>
                      <a:pt x="396" y="48"/>
                    </a:lnTo>
                    <a:lnTo>
                      <a:pt x="373" y="54"/>
                    </a:lnTo>
                    <a:lnTo>
                      <a:pt x="344" y="62"/>
                    </a:lnTo>
                    <a:lnTo>
                      <a:pt x="276" y="78"/>
                    </a:lnTo>
                    <a:lnTo>
                      <a:pt x="201" y="96"/>
                    </a:lnTo>
                    <a:lnTo>
                      <a:pt x="163" y="105"/>
                    </a:lnTo>
                    <a:lnTo>
                      <a:pt x="126" y="115"/>
                    </a:lnTo>
                    <a:lnTo>
                      <a:pt x="93" y="125"/>
                    </a:lnTo>
                    <a:lnTo>
                      <a:pt x="62" y="134"/>
                    </a:lnTo>
                    <a:lnTo>
                      <a:pt x="37" y="145"/>
                    </a:lnTo>
                    <a:lnTo>
                      <a:pt x="26" y="151"/>
                    </a:lnTo>
                    <a:lnTo>
                      <a:pt x="17" y="155"/>
                    </a:lnTo>
                    <a:lnTo>
                      <a:pt x="10" y="161"/>
                    </a:lnTo>
                    <a:lnTo>
                      <a:pt x="5" y="167"/>
                    </a:lnTo>
                    <a:lnTo>
                      <a:pt x="2" y="173"/>
                    </a:lnTo>
                    <a:lnTo>
                      <a:pt x="0" y="178"/>
                    </a:lnTo>
                    <a:lnTo>
                      <a:pt x="0" y="150"/>
                    </a:lnTo>
                    <a:lnTo>
                      <a:pt x="0" y="150"/>
                    </a:lnTo>
                    <a:lnTo>
                      <a:pt x="2" y="144"/>
                    </a:lnTo>
                    <a:lnTo>
                      <a:pt x="5" y="138"/>
                    </a:lnTo>
                    <a:lnTo>
                      <a:pt x="10" y="132"/>
                    </a:lnTo>
                    <a:lnTo>
                      <a:pt x="17" y="127"/>
                    </a:lnTo>
                    <a:lnTo>
                      <a:pt x="26" y="121"/>
                    </a:lnTo>
                    <a:lnTo>
                      <a:pt x="37" y="117"/>
                    </a:lnTo>
                    <a:lnTo>
                      <a:pt x="62" y="106"/>
                    </a:lnTo>
                    <a:lnTo>
                      <a:pt x="93" y="96"/>
                    </a:lnTo>
                    <a:lnTo>
                      <a:pt x="126" y="86"/>
                    </a:lnTo>
                    <a:lnTo>
                      <a:pt x="163" y="76"/>
                    </a:lnTo>
                    <a:lnTo>
                      <a:pt x="201" y="67"/>
                    </a:lnTo>
                    <a:lnTo>
                      <a:pt x="276" y="50"/>
                    </a:lnTo>
                    <a:lnTo>
                      <a:pt x="344" y="33"/>
                    </a:lnTo>
                    <a:lnTo>
                      <a:pt x="373" y="26"/>
                    </a:lnTo>
                    <a:lnTo>
                      <a:pt x="396" y="18"/>
                    </a:lnTo>
                    <a:lnTo>
                      <a:pt x="413" y="11"/>
                    </a:lnTo>
                    <a:lnTo>
                      <a:pt x="419" y="8"/>
                    </a:lnTo>
                    <a:lnTo>
                      <a:pt x="423" y="4"/>
                    </a:lnTo>
                    <a:lnTo>
                      <a:pt x="423" y="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7BC7EAFD-5AF1-4FFA-812C-3B6915FB76FD}"/>
                  </a:ext>
                </a:extLst>
              </p:cNvPr>
              <p:cNvSpPr/>
              <p:nvPr/>
            </p:nvSpPr>
            <p:spPr bwMode="auto">
              <a:xfrm>
                <a:off x="6463506" y="3838574"/>
                <a:ext cx="1903412" cy="2308225"/>
              </a:xfrm>
              <a:custGeom>
                <a:avLst/>
                <a:gdLst>
                  <a:gd name="T0" fmla="*/ 27 w 1199"/>
                  <a:gd name="T1" fmla="*/ 1454 h 1454"/>
                  <a:gd name="T2" fmla="*/ 27 w 1199"/>
                  <a:gd name="T3" fmla="*/ 1454 h 1454"/>
                  <a:gd name="T4" fmla="*/ 90 w 1199"/>
                  <a:gd name="T5" fmla="*/ 1388 h 1454"/>
                  <a:gd name="T6" fmla="*/ 154 w 1199"/>
                  <a:gd name="T7" fmla="*/ 1324 h 1454"/>
                  <a:gd name="T8" fmla="*/ 291 w 1199"/>
                  <a:gd name="T9" fmla="*/ 1185 h 1454"/>
                  <a:gd name="T10" fmla="*/ 373 w 1199"/>
                  <a:gd name="T11" fmla="*/ 1101 h 1454"/>
                  <a:gd name="T12" fmla="*/ 467 w 1199"/>
                  <a:gd name="T13" fmla="*/ 1001 h 1454"/>
                  <a:gd name="T14" fmla="*/ 577 w 1199"/>
                  <a:gd name="T15" fmla="*/ 882 h 1454"/>
                  <a:gd name="T16" fmla="*/ 708 w 1199"/>
                  <a:gd name="T17" fmla="*/ 741 h 1454"/>
                  <a:gd name="T18" fmla="*/ 708 w 1199"/>
                  <a:gd name="T19" fmla="*/ 741 h 1454"/>
                  <a:gd name="T20" fmla="*/ 805 w 1199"/>
                  <a:gd name="T21" fmla="*/ 631 h 1454"/>
                  <a:gd name="T22" fmla="*/ 890 w 1199"/>
                  <a:gd name="T23" fmla="*/ 532 h 1454"/>
                  <a:gd name="T24" fmla="*/ 965 w 1199"/>
                  <a:gd name="T25" fmla="*/ 443 h 1454"/>
                  <a:gd name="T26" fmla="*/ 1028 w 1199"/>
                  <a:gd name="T27" fmla="*/ 364 h 1454"/>
                  <a:gd name="T28" fmla="*/ 1079 w 1199"/>
                  <a:gd name="T29" fmla="*/ 297 h 1454"/>
                  <a:gd name="T30" fmla="*/ 1120 w 1199"/>
                  <a:gd name="T31" fmla="*/ 242 h 1454"/>
                  <a:gd name="T32" fmla="*/ 1150 w 1199"/>
                  <a:gd name="T33" fmla="*/ 199 h 1454"/>
                  <a:gd name="T34" fmla="*/ 1160 w 1199"/>
                  <a:gd name="T35" fmla="*/ 182 h 1454"/>
                  <a:gd name="T36" fmla="*/ 1167 w 1199"/>
                  <a:gd name="T37" fmla="*/ 169 h 1454"/>
                  <a:gd name="T38" fmla="*/ 1167 w 1199"/>
                  <a:gd name="T39" fmla="*/ 169 h 1454"/>
                  <a:gd name="T40" fmla="*/ 1176 w 1199"/>
                  <a:gd name="T41" fmla="*/ 148 h 1454"/>
                  <a:gd name="T42" fmla="*/ 1182 w 1199"/>
                  <a:gd name="T43" fmla="*/ 134 h 1454"/>
                  <a:gd name="T44" fmla="*/ 1187 w 1199"/>
                  <a:gd name="T45" fmla="*/ 116 h 1454"/>
                  <a:gd name="T46" fmla="*/ 1192 w 1199"/>
                  <a:gd name="T47" fmla="*/ 98 h 1454"/>
                  <a:gd name="T48" fmla="*/ 1196 w 1199"/>
                  <a:gd name="T49" fmla="*/ 77 h 1454"/>
                  <a:gd name="T50" fmla="*/ 1198 w 1199"/>
                  <a:gd name="T51" fmla="*/ 54 h 1454"/>
                  <a:gd name="T52" fmla="*/ 1199 w 1199"/>
                  <a:gd name="T53" fmla="*/ 28 h 1454"/>
                  <a:gd name="T54" fmla="*/ 1199 w 1199"/>
                  <a:gd name="T55" fmla="*/ 0 h 1454"/>
                  <a:gd name="T56" fmla="*/ 1199 w 1199"/>
                  <a:gd name="T57" fmla="*/ 0 h 1454"/>
                  <a:gd name="T58" fmla="*/ 1198 w 1199"/>
                  <a:gd name="T59" fmla="*/ 25 h 1454"/>
                  <a:gd name="T60" fmla="*/ 1196 w 1199"/>
                  <a:gd name="T61" fmla="*/ 48 h 1454"/>
                  <a:gd name="T62" fmla="*/ 1192 w 1199"/>
                  <a:gd name="T63" fmla="*/ 69 h 1454"/>
                  <a:gd name="T64" fmla="*/ 1187 w 1199"/>
                  <a:gd name="T65" fmla="*/ 88 h 1454"/>
                  <a:gd name="T66" fmla="*/ 1182 w 1199"/>
                  <a:gd name="T67" fmla="*/ 105 h 1454"/>
                  <a:gd name="T68" fmla="*/ 1176 w 1199"/>
                  <a:gd name="T69" fmla="*/ 120 h 1454"/>
                  <a:gd name="T70" fmla="*/ 1167 w 1199"/>
                  <a:gd name="T71" fmla="*/ 140 h 1454"/>
                  <a:gd name="T72" fmla="*/ 1167 w 1199"/>
                  <a:gd name="T73" fmla="*/ 140 h 1454"/>
                  <a:gd name="T74" fmla="*/ 1160 w 1199"/>
                  <a:gd name="T75" fmla="*/ 154 h 1454"/>
                  <a:gd name="T76" fmla="*/ 1150 w 1199"/>
                  <a:gd name="T77" fmla="*/ 170 h 1454"/>
                  <a:gd name="T78" fmla="*/ 1120 w 1199"/>
                  <a:gd name="T79" fmla="*/ 213 h 1454"/>
                  <a:gd name="T80" fmla="*/ 1079 w 1199"/>
                  <a:gd name="T81" fmla="*/ 268 h 1454"/>
                  <a:gd name="T82" fmla="*/ 1028 w 1199"/>
                  <a:gd name="T83" fmla="*/ 335 h 1454"/>
                  <a:gd name="T84" fmla="*/ 965 w 1199"/>
                  <a:gd name="T85" fmla="*/ 414 h 1454"/>
                  <a:gd name="T86" fmla="*/ 890 w 1199"/>
                  <a:gd name="T87" fmla="*/ 503 h 1454"/>
                  <a:gd name="T88" fmla="*/ 805 w 1199"/>
                  <a:gd name="T89" fmla="*/ 602 h 1454"/>
                  <a:gd name="T90" fmla="*/ 708 w 1199"/>
                  <a:gd name="T91" fmla="*/ 711 h 1454"/>
                  <a:gd name="T92" fmla="*/ 708 w 1199"/>
                  <a:gd name="T93" fmla="*/ 711 h 1454"/>
                  <a:gd name="T94" fmla="*/ 572 w 1199"/>
                  <a:gd name="T95" fmla="*/ 860 h 1454"/>
                  <a:gd name="T96" fmla="*/ 456 w 1199"/>
                  <a:gd name="T97" fmla="*/ 985 h 1454"/>
                  <a:gd name="T98" fmla="*/ 359 w 1199"/>
                  <a:gd name="T99" fmla="*/ 1087 h 1454"/>
                  <a:gd name="T100" fmla="*/ 276 w 1199"/>
                  <a:gd name="T101" fmla="*/ 1173 h 1454"/>
                  <a:gd name="T102" fmla="*/ 134 w 1199"/>
                  <a:gd name="T103" fmla="*/ 1315 h 1454"/>
                  <a:gd name="T104" fmla="*/ 67 w 1199"/>
                  <a:gd name="T105" fmla="*/ 1383 h 1454"/>
                  <a:gd name="T106" fmla="*/ 0 w 1199"/>
                  <a:gd name="T107" fmla="*/ 1454 h 1454"/>
                  <a:gd name="T108" fmla="*/ 27 w 1199"/>
                  <a:gd name="T109" fmla="*/ 1454 h 14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99" h="1454">
                    <a:moveTo>
                      <a:pt x="27" y="1454"/>
                    </a:moveTo>
                    <a:lnTo>
                      <a:pt x="27" y="1454"/>
                    </a:lnTo>
                    <a:lnTo>
                      <a:pt x="90" y="1388"/>
                    </a:lnTo>
                    <a:lnTo>
                      <a:pt x="154" y="1324"/>
                    </a:lnTo>
                    <a:lnTo>
                      <a:pt x="291" y="1185"/>
                    </a:lnTo>
                    <a:lnTo>
                      <a:pt x="373" y="1101"/>
                    </a:lnTo>
                    <a:lnTo>
                      <a:pt x="467" y="1001"/>
                    </a:lnTo>
                    <a:lnTo>
                      <a:pt x="577" y="882"/>
                    </a:lnTo>
                    <a:lnTo>
                      <a:pt x="708" y="741"/>
                    </a:lnTo>
                    <a:lnTo>
                      <a:pt x="708" y="741"/>
                    </a:lnTo>
                    <a:lnTo>
                      <a:pt x="805" y="631"/>
                    </a:lnTo>
                    <a:lnTo>
                      <a:pt x="890" y="532"/>
                    </a:lnTo>
                    <a:lnTo>
                      <a:pt x="965" y="443"/>
                    </a:lnTo>
                    <a:lnTo>
                      <a:pt x="1028" y="364"/>
                    </a:lnTo>
                    <a:lnTo>
                      <a:pt x="1079" y="297"/>
                    </a:lnTo>
                    <a:lnTo>
                      <a:pt x="1120" y="242"/>
                    </a:lnTo>
                    <a:lnTo>
                      <a:pt x="1150" y="199"/>
                    </a:lnTo>
                    <a:lnTo>
                      <a:pt x="1160" y="182"/>
                    </a:lnTo>
                    <a:lnTo>
                      <a:pt x="1167" y="169"/>
                    </a:lnTo>
                    <a:lnTo>
                      <a:pt x="1167" y="169"/>
                    </a:lnTo>
                    <a:lnTo>
                      <a:pt x="1176" y="148"/>
                    </a:lnTo>
                    <a:lnTo>
                      <a:pt x="1182" y="134"/>
                    </a:lnTo>
                    <a:lnTo>
                      <a:pt x="1187" y="116"/>
                    </a:lnTo>
                    <a:lnTo>
                      <a:pt x="1192" y="98"/>
                    </a:lnTo>
                    <a:lnTo>
                      <a:pt x="1196" y="77"/>
                    </a:lnTo>
                    <a:lnTo>
                      <a:pt x="1198" y="54"/>
                    </a:lnTo>
                    <a:lnTo>
                      <a:pt x="1199" y="28"/>
                    </a:lnTo>
                    <a:lnTo>
                      <a:pt x="1199" y="0"/>
                    </a:lnTo>
                    <a:lnTo>
                      <a:pt x="1199" y="0"/>
                    </a:lnTo>
                    <a:lnTo>
                      <a:pt x="1198" y="25"/>
                    </a:lnTo>
                    <a:lnTo>
                      <a:pt x="1196" y="48"/>
                    </a:lnTo>
                    <a:lnTo>
                      <a:pt x="1192" y="69"/>
                    </a:lnTo>
                    <a:lnTo>
                      <a:pt x="1187" y="88"/>
                    </a:lnTo>
                    <a:lnTo>
                      <a:pt x="1182" y="105"/>
                    </a:lnTo>
                    <a:lnTo>
                      <a:pt x="1176" y="120"/>
                    </a:lnTo>
                    <a:lnTo>
                      <a:pt x="1167" y="140"/>
                    </a:lnTo>
                    <a:lnTo>
                      <a:pt x="1167" y="140"/>
                    </a:lnTo>
                    <a:lnTo>
                      <a:pt x="1160" y="154"/>
                    </a:lnTo>
                    <a:lnTo>
                      <a:pt x="1150" y="170"/>
                    </a:lnTo>
                    <a:lnTo>
                      <a:pt x="1120" y="213"/>
                    </a:lnTo>
                    <a:lnTo>
                      <a:pt x="1079" y="268"/>
                    </a:lnTo>
                    <a:lnTo>
                      <a:pt x="1028" y="335"/>
                    </a:lnTo>
                    <a:lnTo>
                      <a:pt x="965" y="414"/>
                    </a:lnTo>
                    <a:lnTo>
                      <a:pt x="890" y="503"/>
                    </a:lnTo>
                    <a:lnTo>
                      <a:pt x="805" y="602"/>
                    </a:lnTo>
                    <a:lnTo>
                      <a:pt x="708" y="711"/>
                    </a:lnTo>
                    <a:lnTo>
                      <a:pt x="708" y="711"/>
                    </a:lnTo>
                    <a:lnTo>
                      <a:pt x="572" y="860"/>
                    </a:lnTo>
                    <a:lnTo>
                      <a:pt x="456" y="985"/>
                    </a:lnTo>
                    <a:lnTo>
                      <a:pt x="359" y="1087"/>
                    </a:lnTo>
                    <a:lnTo>
                      <a:pt x="276" y="1173"/>
                    </a:lnTo>
                    <a:lnTo>
                      <a:pt x="134" y="1315"/>
                    </a:lnTo>
                    <a:lnTo>
                      <a:pt x="67" y="1383"/>
                    </a:lnTo>
                    <a:lnTo>
                      <a:pt x="0" y="1454"/>
                    </a:lnTo>
                    <a:lnTo>
                      <a:pt x="27" y="1454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E7415BB-8EA1-4222-85B8-8D6C3A978B63}"/>
                  </a:ext>
                </a:extLst>
              </p:cNvPr>
              <p:cNvSpPr/>
              <p:nvPr/>
            </p:nvSpPr>
            <p:spPr bwMode="auto">
              <a:xfrm>
                <a:off x="3825081" y="2368549"/>
                <a:ext cx="4541837" cy="3778250"/>
              </a:xfrm>
              <a:custGeom>
                <a:avLst/>
                <a:gdLst>
                  <a:gd name="T0" fmla="*/ 1582 w 2861"/>
                  <a:gd name="T1" fmla="*/ 461 h 2380"/>
                  <a:gd name="T2" fmla="*/ 1774 w 2861"/>
                  <a:gd name="T3" fmla="*/ 510 h 2380"/>
                  <a:gd name="T4" fmla="*/ 1915 w 2861"/>
                  <a:gd name="T5" fmla="*/ 562 h 2380"/>
                  <a:gd name="T6" fmla="*/ 2012 w 2861"/>
                  <a:gd name="T7" fmla="*/ 612 h 2380"/>
                  <a:gd name="T8" fmla="*/ 2093 w 2861"/>
                  <a:gd name="T9" fmla="*/ 684 h 2380"/>
                  <a:gd name="T10" fmla="*/ 2119 w 2861"/>
                  <a:gd name="T11" fmla="*/ 739 h 2380"/>
                  <a:gd name="T12" fmla="*/ 2121 w 2861"/>
                  <a:gd name="T13" fmla="*/ 794 h 2380"/>
                  <a:gd name="T14" fmla="*/ 2092 w 2861"/>
                  <a:gd name="T15" fmla="*/ 863 h 2380"/>
                  <a:gd name="T16" fmla="*/ 2010 w 2861"/>
                  <a:gd name="T17" fmla="*/ 962 h 2380"/>
                  <a:gd name="T18" fmla="*/ 1855 w 2861"/>
                  <a:gd name="T19" fmla="*/ 1102 h 2380"/>
                  <a:gd name="T20" fmla="*/ 1607 w 2861"/>
                  <a:gd name="T21" fmla="*/ 1291 h 2380"/>
                  <a:gd name="T22" fmla="*/ 1325 w 2861"/>
                  <a:gd name="T23" fmla="*/ 1485 h 2380"/>
                  <a:gd name="T24" fmla="*/ 1662 w 2861"/>
                  <a:gd name="T25" fmla="*/ 2380 h 2380"/>
                  <a:gd name="T26" fmla="*/ 2021 w 2861"/>
                  <a:gd name="T27" fmla="*/ 2013 h 2380"/>
                  <a:gd name="T28" fmla="*/ 2467 w 2861"/>
                  <a:gd name="T29" fmla="*/ 1528 h 2380"/>
                  <a:gd name="T30" fmla="*/ 2782 w 2861"/>
                  <a:gd name="T31" fmla="*/ 1139 h 2380"/>
                  <a:gd name="T32" fmla="*/ 2835 w 2861"/>
                  <a:gd name="T33" fmla="*/ 1054 h 2380"/>
                  <a:gd name="T34" fmla="*/ 2860 w 2861"/>
                  <a:gd name="T35" fmla="*/ 959 h 2380"/>
                  <a:gd name="T36" fmla="*/ 2858 w 2861"/>
                  <a:gd name="T37" fmla="*/ 881 h 2380"/>
                  <a:gd name="T38" fmla="*/ 2832 w 2861"/>
                  <a:gd name="T39" fmla="*/ 791 h 2380"/>
                  <a:gd name="T40" fmla="*/ 2768 w 2861"/>
                  <a:gd name="T41" fmla="*/ 694 h 2380"/>
                  <a:gd name="T42" fmla="*/ 2657 w 2861"/>
                  <a:gd name="T43" fmla="*/ 596 h 2380"/>
                  <a:gd name="T44" fmla="*/ 2525 w 2861"/>
                  <a:gd name="T45" fmla="*/ 522 h 2380"/>
                  <a:gd name="T46" fmla="*/ 2315 w 2861"/>
                  <a:gd name="T47" fmla="*/ 453 h 2380"/>
                  <a:gd name="T48" fmla="*/ 2032 w 2861"/>
                  <a:gd name="T49" fmla="*/ 394 h 2380"/>
                  <a:gd name="T50" fmla="*/ 1611 w 2861"/>
                  <a:gd name="T51" fmla="*/ 330 h 2380"/>
                  <a:gd name="T52" fmla="*/ 1469 w 2861"/>
                  <a:gd name="T53" fmla="*/ 297 h 2380"/>
                  <a:gd name="T54" fmla="*/ 1447 w 2861"/>
                  <a:gd name="T55" fmla="*/ 279 h 2380"/>
                  <a:gd name="T56" fmla="*/ 1466 w 2861"/>
                  <a:gd name="T57" fmla="*/ 249 h 2380"/>
                  <a:gd name="T58" fmla="*/ 1587 w 2861"/>
                  <a:gd name="T59" fmla="*/ 206 h 2380"/>
                  <a:gd name="T60" fmla="*/ 1839 w 2861"/>
                  <a:gd name="T61" fmla="*/ 143 h 2380"/>
                  <a:gd name="T62" fmla="*/ 1868 w 2861"/>
                  <a:gd name="T63" fmla="*/ 128 h 2380"/>
                  <a:gd name="T64" fmla="*/ 1849 w 2861"/>
                  <a:gd name="T65" fmla="*/ 112 h 2380"/>
                  <a:gd name="T66" fmla="*/ 1659 w 2861"/>
                  <a:gd name="T67" fmla="*/ 86 h 2380"/>
                  <a:gd name="T68" fmla="*/ 1399 w 2861"/>
                  <a:gd name="T69" fmla="*/ 63 h 2380"/>
                  <a:gd name="T70" fmla="*/ 1398 w 2861"/>
                  <a:gd name="T71" fmla="*/ 53 h 2380"/>
                  <a:gd name="T72" fmla="*/ 1492 w 2861"/>
                  <a:gd name="T73" fmla="*/ 36 h 2380"/>
                  <a:gd name="T74" fmla="*/ 1618 w 2861"/>
                  <a:gd name="T75" fmla="*/ 23 h 2380"/>
                  <a:gd name="T76" fmla="*/ 1625 w 2861"/>
                  <a:gd name="T77" fmla="*/ 14 h 2380"/>
                  <a:gd name="T78" fmla="*/ 1544 w 2861"/>
                  <a:gd name="T79" fmla="*/ 1 h 2380"/>
                  <a:gd name="T80" fmla="*/ 1493 w 2861"/>
                  <a:gd name="T81" fmla="*/ 2 h 2380"/>
                  <a:gd name="T82" fmla="*/ 1510 w 2861"/>
                  <a:gd name="T83" fmla="*/ 6 h 2380"/>
                  <a:gd name="T84" fmla="*/ 1543 w 2861"/>
                  <a:gd name="T85" fmla="*/ 12 h 2380"/>
                  <a:gd name="T86" fmla="*/ 1389 w 2861"/>
                  <a:gd name="T87" fmla="*/ 30 h 2380"/>
                  <a:gd name="T88" fmla="*/ 1240 w 2861"/>
                  <a:gd name="T89" fmla="*/ 54 h 2380"/>
                  <a:gd name="T90" fmla="*/ 1249 w 2861"/>
                  <a:gd name="T91" fmla="*/ 67 h 2380"/>
                  <a:gd name="T92" fmla="*/ 1381 w 2861"/>
                  <a:gd name="T93" fmla="*/ 83 h 2380"/>
                  <a:gd name="T94" fmla="*/ 1637 w 2861"/>
                  <a:gd name="T95" fmla="*/ 106 h 2380"/>
                  <a:gd name="T96" fmla="*/ 1658 w 2861"/>
                  <a:gd name="T97" fmla="*/ 114 h 2380"/>
                  <a:gd name="T98" fmla="*/ 1640 w 2861"/>
                  <a:gd name="T99" fmla="*/ 125 h 2380"/>
                  <a:gd name="T100" fmla="*/ 1410 w 2861"/>
                  <a:gd name="T101" fmla="*/ 169 h 2380"/>
                  <a:gd name="T102" fmla="*/ 1237 w 2861"/>
                  <a:gd name="T103" fmla="*/ 209 h 2380"/>
                  <a:gd name="T104" fmla="*/ 1144 w 2861"/>
                  <a:gd name="T105" fmla="*/ 249 h 2380"/>
                  <a:gd name="T106" fmla="*/ 1116 w 2861"/>
                  <a:gd name="T107" fmla="*/ 276 h 2380"/>
                  <a:gd name="T108" fmla="*/ 1113 w 2861"/>
                  <a:gd name="T109" fmla="*/ 307 h 2380"/>
                  <a:gd name="T110" fmla="*/ 1137 w 2861"/>
                  <a:gd name="T111" fmla="*/ 337 h 2380"/>
                  <a:gd name="T112" fmla="*/ 1195 w 2861"/>
                  <a:gd name="T113" fmla="*/ 371 h 2380"/>
                  <a:gd name="T114" fmla="*/ 1304 w 2861"/>
                  <a:gd name="T115" fmla="*/ 406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2861" h="2380">
                    <a:moveTo>
                      <a:pt x="1437" y="433"/>
                    </a:moveTo>
                    <a:lnTo>
                      <a:pt x="1437" y="433"/>
                    </a:lnTo>
                    <a:lnTo>
                      <a:pt x="1487" y="442"/>
                    </a:lnTo>
                    <a:lnTo>
                      <a:pt x="1536" y="451"/>
                    </a:lnTo>
                    <a:lnTo>
                      <a:pt x="1582" y="461"/>
                    </a:lnTo>
                    <a:lnTo>
                      <a:pt x="1625" y="471"/>
                    </a:lnTo>
                    <a:lnTo>
                      <a:pt x="1665" y="481"/>
                    </a:lnTo>
                    <a:lnTo>
                      <a:pt x="1704" y="490"/>
                    </a:lnTo>
                    <a:lnTo>
                      <a:pt x="1740" y="500"/>
                    </a:lnTo>
                    <a:lnTo>
                      <a:pt x="1774" y="510"/>
                    </a:lnTo>
                    <a:lnTo>
                      <a:pt x="1807" y="520"/>
                    </a:lnTo>
                    <a:lnTo>
                      <a:pt x="1837" y="531"/>
                    </a:lnTo>
                    <a:lnTo>
                      <a:pt x="1864" y="541"/>
                    </a:lnTo>
                    <a:lnTo>
                      <a:pt x="1891" y="552"/>
                    </a:lnTo>
                    <a:lnTo>
                      <a:pt x="1915" y="562"/>
                    </a:lnTo>
                    <a:lnTo>
                      <a:pt x="1938" y="572"/>
                    </a:lnTo>
                    <a:lnTo>
                      <a:pt x="1959" y="583"/>
                    </a:lnTo>
                    <a:lnTo>
                      <a:pt x="1977" y="593"/>
                    </a:lnTo>
                    <a:lnTo>
                      <a:pt x="1995" y="603"/>
                    </a:lnTo>
                    <a:lnTo>
                      <a:pt x="2012" y="612"/>
                    </a:lnTo>
                    <a:lnTo>
                      <a:pt x="2026" y="622"/>
                    </a:lnTo>
                    <a:lnTo>
                      <a:pt x="2039" y="631"/>
                    </a:lnTo>
                    <a:lnTo>
                      <a:pt x="2062" y="650"/>
                    </a:lnTo>
                    <a:lnTo>
                      <a:pt x="2080" y="667"/>
                    </a:lnTo>
                    <a:lnTo>
                      <a:pt x="2093" y="684"/>
                    </a:lnTo>
                    <a:lnTo>
                      <a:pt x="2103" y="699"/>
                    </a:lnTo>
                    <a:lnTo>
                      <a:pt x="2110" y="712"/>
                    </a:lnTo>
                    <a:lnTo>
                      <a:pt x="2115" y="725"/>
                    </a:lnTo>
                    <a:lnTo>
                      <a:pt x="2115" y="725"/>
                    </a:lnTo>
                    <a:lnTo>
                      <a:pt x="2119" y="739"/>
                    </a:lnTo>
                    <a:lnTo>
                      <a:pt x="2123" y="755"/>
                    </a:lnTo>
                    <a:lnTo>
                      <a:pt x="2124" y="764"/>
                    </a:lnTo>
                    <a:lnTo>
                      <a:pt x="2124" y="773"/>
                    </a:lnTo>
                    <a:lnTo>
                      <a:pt x="2123" y="784"/>
                    </a:lnTo>
                    <a:lnTo>
                      <a:pt x="2121" y="794"/>
                    </a:lnTo>
                    <a:lnTo>
                      <a:pt x="2118" y="806"/>
                    </a:lnTo>
                    <a:lnTo>
                      <a:pt x="2114" y="819"/>
                    </a:lnTo>
                    <a:lnTo>
                      <a:pt x="2108" y="832"/>
                    </a:lnTo>
                    <a:lnTo>
                      <a:pt x="2101" y="847"/>
                    </a:lnTo>
                    <a:lnTo>
                      <a:pt x="2092" y="863"/>
                    </a:lnTo>
                    <a:lnTo>
                      <a:pt x="2081" y="880"/>
                    </a:lnTo>
                    <a:lnTo>
                      <a:pt x="2066" y="898"/>
                    </a:lnTo>
                    <a:lnTo>
                      <a:pt x="2050" y="918"/>
                    </a:lnTo>
                    <a:lnTo>
                      <a:pt x="2031" y="939"/>
                    </a:lnTo>
                    <a:lnTo>
                      <a:pt x="2010" y="962"/>
                    </a:lnTo>
                    <a:lnTo>
                      <a:pt x="1986" y="986"/>
                    </a:lnTo>
                    <a:lnTo>
                      <a:pt x="1959" y="1013"/>
                    </a:lnTo>
                    <a:lnTo>
                      <a:pt x="1928" y="1040"/>
                    </a:lnTo>
                    <a:lnTo>
                      <a:pt x="1894" y="1070"/>
                    </a:lnTo>
                    <a:lnTo>
                      <a:pt x="1855" y="1102"/>
                    </a:lnTo>
                    <a:lnTo>
                      <a:pt x="1815" y="1135"/>
                    </a:lnTo>
                    <a:lnTo>
                      <a:pt x="1769" y="1171"/>
                    </a:lnTo>
                    <a:lnTo>
                      <a:pt x="1719" y="1208"/>
                    </a:lnTo>
                    <a:lnTo>
                      <a:pt x="1665" y="1249"/>
                    </a:lnTo>
                    <a:lnTo>
                      <a:pt x="1607" y="1291"/>
                    </a:lnTo>
                    <a:lnTo>
                      <a:pt x="1543" y="1336"/>
                    </a:lnTo>
                    <a:lnTo>
                      <a:pt x="1476" y="1383"/>
                    </a:lnTo>
                    <a:lnTo>
                      <a:pt x="1403" y="1432"/>
                    </a:lnTo>
                    <a:lnTo>
                      <a:pt x="1325" y="1485"/>
                    </a:lnTo>
                    <a:lnTo>
                      <a:pt x="1325" y="1485"/>
                    </a:lnTo>
                    <a:lnTo>
                      <a:pt x="938" y="1745"/>
                    </a:lnTo>
                    <a:lnTo>
                      <a:pt x="568" y="1993"/>
                    </a:lnTo>
                    <a:lnTo>
                      <a:pt x="246" y="2212"/>
                    </a:lnTo>
                    <a:lnTo>
                      <a:pt x="0" y="2380"/>
                    </a:lnTo>
                    <a:lnTo>
                      <a:pt x="1662" y="2380"/>
                    </a:lnTo>
                    <a:lnTo>
                      <a:pt x="1662" y="2380"/>
                    </a:lnTo>
                    <a:lnTo>
                      <a:pt x="1729" y="2309"/>
                    </a:lnTo>
                    <a:lnTo>
                      <a:pt x="1796" y="2241"/>
                    </a:lnTo>
                    <a:lnTo>
                      <a:pt x="1938" y="2099"/>
                    </a:lnTo>
                    <a:lnTo>
                      <a:pt x="2021" y="2013"/>
                    </a:lnTo>
                    <a:lnTo>
                      <a:pt x="2118" y="1911"/>
                    </a:lnTo>
                    <a:lnTo>
                      <a:pt x="2234" y="1786"/>
                    </a:lnTo>
                    <a:lnTo>
                      <a:pt x="2370" y="1637"/>
                    </a:lnTo>
                    <a:lnTo>
                      <a:pt x="2370" y="1637"/>
                    </a:lnTo>
                    <a:lnTo>
                      <a:pt x="2467" y="1528"/>
                    </a:lnTo>
                    <a:lnTo>
                      <a:pt x="2552" y="1429"/>
                    </a:lnTo>
                    <a:lnTo>
                      <a:pt x="2627" y="1340"/>
                    </a:lnTo>
                    <a:lnTo>
                      <a:pt x="2690" y="1261"/>
                    </a:lnTo>
                    <a:lnTo>
                      <a:pt x="2741" y="1194"/>
                    </a:lnTo>
                    <a:lnTo>
                      <a:pt x="2782" y="1139"/>
                    </a:lnTo>
                    <a:lnTo>
                      <a:pt x="2812" y="1096"/>
                    </a:lnTo>
                    <a:lnTo>
                      <a:pt x="2822" y="1080"/>
                    </a:lnTo>
                    <a:lnTo>
                      <a:pt x="2829" y="1066"/>
                    </a:lnTo>
                    <a:lnTo>
                      <a:pt x="2829" y="1066"/>
                    </a:lnTo>
                    <a:lnTo>
                      <a:pt x="2835" y="1054"/>
                    </a:lnTo>
                    <a:lnTo>
                      <a:pt x="2840" y="1039"/>
                    </a:lnTo>
                    <a:lnTo>
                      <a:pt x="2847" y="1020"/>
                    </a:lnTo>
                    <a:lnTo>
                      <a:pt x="2854" y="998"/>
                    </a:lnTo>
                    <a:lnTo>
                      <a:pt x="2858" y="972"/>
                    </a:lnTo>
                    <a:lnTo>
                      <a:pt x="2860" y="959"/>
                    </a:lnTo>
                    <a:lnTo>
                      <a:pt x="2861" y="944"/>
                    </a:lnTo>
                    <a:lnTo>
                      <a:pt x="2861" y="929"/>
                    </a:lnTo>
                    <a:lnTo>
                      <a:pt x="2861" y="914"/>
                    </a:lnTo>
                    <a:lnTo>
                      <a:pt x="2860" y="897"/>
                    </a:lnTo>
                    <a:lnTo>
                      <a:pt x="2858" y="881"/>
                    </a:lnTo>
                    <a:lnTo>
                      <a:pt x="2856" y="863"/>
                    </a:lnTo>
                    <a:lnTo>
                      <a:pt x="2851" y="845"/>
                    </a:lnTo>
                    <a:lnTo>
                      <a:pt x="2846" y="828"/>
                    </a:lnTo>
                    <a:lnTo>
                      <a:pt x="2839" y="809"/>
                    </a:lnTo>
                    <a:lnTo>
                      <a:pt x="2832" y="791"/>
                    </a:lnTo>
                    <a:lnTo>
                      <a:pt x="2822" y="772"/>
                    </a:lnTo>
                    <a:lnTo>
                      <a:pt x="2811" y="752"/>
                    </a:lnTo>
                    <a:lnTo>
                      <a:pt x="2799" y="733"/>
                    </a:lnTo>
                    <a:lnTo>
                      <a:pt x="2784" y="714"/>
                    </a:lnTo>
                    <a:lnTo>
                      <a:pt x="2768" y="694"/>
                    </a:lnTo>
                    <a:lnTo>
                      <a:pt x="2749" y="674"/>
                    </a:lnTo>
                    <a:lnTo>
                      <a:pt x="2729" y="654"/>
                    </a:lnTo>
                    <a:lnTo>
                      <a:pt x="2707" y="634"/>
                    </a:lnTo>
                    <a:lnTo>
                      <a:pt x="2683" y="615"/>
                    </a:lnTo>
                    <a:lnTo>
                      <a:pt x="2657" y="596"/>
                    </a:lnTo>
                    <a:lnTo>
                      <a:pt x="2627" y="576"/>
                    </a:lnTo>
                    <a:lnTo>
                      <a:pt x="2627" y="576"/>
                    </a:lnTo>
                    <a:lnTo>
                      <a:pt x="2596" y="557"/>
                    </a:lnTo>
                    <a:lnTo>
                      <a:pt x="2562" y="540"/>
                    </a:lnTo>
                    <a:lnTo>
                      <a:pt x="2525" y="522"/>
                    </a:lnTo>
                    <a:lnTo>
                      <a:pt x="2486" y="507"/>
                    </a:lnTo>
                    <a:lnTo>
                      <a:pt x="2446" y="492"/>
                    </a:lnTo>
                    <a:lnTo>
                      <a:pt x="2404" y="478"/>
                    </a:lnTo>
                    <a:lnTo>
                      <a:pt x="2360" y="465"/>
                    </a:lnTo>
                    <a:lnTo>
                      <a:pt x="2315" y="453"/>
                    </a:lnTo>
                    <a:lnTo>
                      <a:pt x="2269" y="441"/>
                    </a:lnTo>
                    <a:lnTo>
                      <a:pt x="2223" y="431"/>
                    </a:lnTo>
                    <a:lnTo>
                      <a:pt x="2175" y="420"/>
                    </a:lnTo>
                    <a:lnTo>
                      <a:pt x="2127" y="411"/>
                    </a:lnTo>
                    <a:lnTo>
                      <a:pt x="2032" y="394"/>
                    </a:lnTo>
                    <a:lnTo>
                      <a:pt x="1938" y="378"/>
                    </a:lnTo>
                    <a:lnTo>
                      <a:pt x="1847" y="365"/>
                    </a:lnTo>
                    <a:lnTo>
                      <a:pt x="1761" y="352"/>
                    </a:lnTo>
                    <a:lnTo>
                      <a:pt x="1682" y="341"/>
                    </a:lnTo>
                    <a:lnTo>
                      <a:pt x="1611" y="330"/>
                    </a:lnTo>
                    <a:lnTo>
                      <a:pt x="1551" y="319"/>
                    </a:lnTo>
                    <a:lnTo>
                      <a:pt x="1525" y="315"/>
                    </a:lnTo>
                    <a:lnTo>
                      <a:pt x="1503" y="309"/>
                    </a:lnTo>
                    <a:lnTo>
                      <a:pt x="1484" y="304"/>
                    </a:lnTo>
                    <a:lnTo>
                      <a:pt x="1469" y="297"/>
                    </a:lnTo>
                    <a:lnTo>
                      <a:pt x="1456" y="291"/>
                    </a:lnTo>
                    <a:lnTo>
                      <a:pt x="1453" y="288"/>
                    </a:lnTo>
                    <a:lnTo>
                      <a:pt x="1450" y="285"/>
                    </a:lnTo>
                    <a:lnTo>
                      <a:pt x="1450" y="285"/>
                    </a:lnTo>
                    <a:lnTo>
                      <a:pt x="1447" y="279"/>
                    </a:lnTo>
                    <a:lnTo>
                      <a:pt x="1445" y="273"/>
                    </a:lnTo>
                    <a:lnTo>
                      <a:pt x="1447" y="266"/>
                    </a:lnTo>
                    <a:lnTo>
                      <a:pt x="1451" y="261"/>
                    </a:lnTo>
                    <a:lnTo>
                      <a:pt x="1458" y="254"/>
                    </a:lnTo>
                    <a:lnTo>
                      <a:pt x="1466" y="249"/>
                    </a:lnTo>
                    <a:lnTo>
                      <a:pt x="1476" y="243"/>
                    </a:lnTo>
                    <a:lnTo>
                      <a:pt x="1488" y="238"/>
                    </a:lnTo>
                    <a:lnTo>
                      <a:pt x="1517" y="227"/>
                    </a:lnTo>
                    <a:lnTo>
                      <a:pt x="1551" y="216"/>
                    </a:lnTo>
                    <a:lnTo>
                      <a:pt x="1587" y="206"/>
                    </a:lnTo>
                    <a:lnTo>
                      <a:pt x="1627" y="196"/>
                    </a:lnTo>
                    <a:lnTo>
                      <a:pt x="1708" y="177"/>
                    </a:lnTo>
                    <a:lnTo>
                      <a:pt x="1782" y="160"/>
                    </a:lnTo>
                    <a:lnTo>
                      <a:pt x="1814" y="152"/>
                    </a:lnTo>
                    <a:lnTo>
                      <a:pt x="1839" y="143"/>
                    </a:lnTo>
                    <a:lnTo>
                      <a:pt x="1849" y="140"/>
                    </a:lnTo>
                    <a:lnTo>
                      <a:pt x="1858" y="135"/>
                    </a:lnTo>
                    <a:lnTo>
                      <a:pt x="1863" y="132"/>
                    </a:lnTo>
                    <a:lnTo>
                      <a:pt x="1868" y="128"/>
                    </a:lnTo>
                    <a:lnTo>
                      <a:pt x="1868" y="128"/>
                    </a:lnTo>
                    <a:lnTo>
                      <a:pt x="1869" y="124"/>
                    </a:lnTo>
                    <a:lnTo>
                      <a:pt x="1868" y="121"/>
                    </a:lnTo>
                    <a:lnTo>
                      <a:pt x="1864" y="118"/>
                    </a:lnTo>
                    <a:lnTo>
                      <a:pt x="1858" y="114"/>
                    </a:lnTo>
                    <a:lnTo>
                      <a:pt x="1849" y="112"/>
                    </a:lnTo>
                    <a:lnTo>
                      <a:pt x="1839" y="109"/>
                    </a:lnTo>
                    <a:lnTo>
                      <a:pt x="1813" y="103"/>
                    </a:lnTo>
                    <a:lnTo>
                      <a:pt x="1780" y="99"/>
                    </a:lnTo>
                    <a:lnTo>
                      <a:pt x="1742" y="95"/>
                    </a:lnTo>
                    <a:lnTo>
                      <a:pt x="1659" y="86"/>
                    </a:lnTo>
                    <a:lnTo>
                      <a:pt x="1492" y="74"/>
                    </a:lnTo>
                    <a:lnTo>
                      <a:pt x="1431" y="68"/>
                    </a:lnTo>
                    <a:lnTo>
                      <a:pt x="1411" y="66"/>
                    </a:lnTo>
                    <a:lnTo>
                      <a:pt x="1399" y="63"/>
                    </a:lnTo>
                    <a:lnTo>
                      <a:pt x="1399" y="63"/>
                    </a:lnTo>
                    <a:lnTo>
                      <a:pt x="1395" y="61"/>
                    </a:lnTo>
                    <a:lnTo>
                      <a:pt x="1394" y="60"/>
                    </a:lnTo>
                    <a:lnTo>
                      <a:pt x="1393" y="58"/>
                    </a:lnTo>
                    <a:lnTo>
                      <a:pt x="1395" y="55"/>
                    </a:lnTo>
                    <a:lnTo>
                      <a:pt x="1398" y="53"/>
                    </a:lnTo>
                    <a:lnTo>
                      <a:pt x="1405" y="51"/>
                    </a:lnTo>
                    <a:lnTo>
                      <a:pt x="1414" y="49"/>
                    </a:lnTo>
                    <a:lnTo>
                      <a:pt x="1436" y="44"/>
                    </a:lnTo>
                    <a:lnTo>
                      <a:pt x="1462" y="40"/>
                    </a:lnTo>
                    <a:lnTo>
                      <a:pt x="1492" y="36"/>
                    </a:lnTo>
                    <a:lnTo>
                      <a:pt x="1545" y="31"/>
                    </a:lnTo>
                    <a:lnTo>
                      <a:pt x="1545" y="31"/>
                    </a:lnTo>
                    <a:lnTo>
                      <a:pt x="1584" y="28"/>
                    </a:lnTo>
                    <a:lnTo>
                      <a:pt x="1610" y="24"/>
                    </a:lnTo>
                    <a:lnTo>
                      <a:pt x="1618" y="23"/>
                    </a:lnTo>
                    <a:lnTo>
                      <a:pt x="1624" y="21"/>
                    </a:lnTo>
                    <a:lnTo>
                      <a:pt x="1626" y="19"/>
                    </a:lnTo>
                    <a:lnTo>
                      <a:pt x="1626" y="16"/>
                    </a:lnTo>
                    <a:lnTo>
                      <a:pt x="1626" y="16"/>
                    </a:lnTo>
                    <a:lnTo>
                      <a:pt x="1625" y="14"/>
                    </a:lnTo>
                    <a:lnTo>
                      <a:pt x="1622" y="12"/>
                    </a:lnTo>
                    <a:lnTo>
                      <a:pt x="1613" y="10"/>
                    </a:lnTo>
                    <a:lnTo>
                      <a:pt x="1598" y="7"/>
                    </a:lnTo>
                    <a:lnTo>
                      <a:pt x="1582" y="5"/>
                    </a:lnTo>
                    <a:lnTo>
                      <a:pt x="1544" y="1"/>
                    </a:lnTo>
                    <a:lnTo>
                      <a:pt x="1510" y="0"/>
                    </a:lnTo>
                    <a:lnTo>
                      <a:pt x="1510" y="0"/>
                    </a:lnTo>
                    <a:lnTo>
                      <a:pt x="1498" y="0"/>
                    </a:lnTo>
                    <a:lnTo>
                      <a:pt x="1494" y="1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2"/>
                    </a:lnTo>
                    <a:lnTo>
                      <a:pt x="1493" y="3"/>
                    </a:lnTo>
                    <a:lnTo>
                      <a:pt x="1497" y="3"/>
                    </a:lnTo>
                    <a:lnTo>
                      <a:pt x="1510" y="6"/>
                    </a:lnTo>
                    <a:lnTo>
                      <a:pt x="1527" y="7"/>
                    </a:lnTo>
                    <a:lnTo>
                      <a:pt x="1541" y="9"/>
                    </a:lnTo>
                    <a:lnTo>
                      <a:pt x="1544" y="10"/>
                    </a:lnTo>
                    <a:lnTo>
                      <a:pt x="1547" y="11"/>
                    </a:lnTo>
                    <a:lnTo>
                      <a:pt x="1543" y="12"/>
                    </a:lnTo>
                    <a:lnTo>
                      <a:pt x="1537" y="14"/>
                    </a:lnTo>
                    <a:lnTo>
                      <a:pt x="1508" y="19"/>
                    </a:lnTo>
                    <a:lnTo>
                      <a:pt x="1453" y="24"/>
                    </a:lnTo>
                    <a:lnTo>
                      <a:pt x="1453" y="24"/>
                    </a:lnTo>
                    <a:lnTo>
                      <a:pt x="1389" y="30"/>
                    </a:lnTo>
                    <a:lnTo>
                      <a:pt x="1337" y="36"/>
                    </a:lnTo>
                    <a:lnTo>
                      <a:pt x="1296" y="41"/>
                    </a:lnTo>
                    <a:lnTo>
                      <a:pt x="1265" y="46"/>
                    </a:lnTo>
                    <a:lnTo>
                      <a:pt x="1245" y="52"/>
                    </a:lnTo>
                    <a:lnTo>
                      <a:pt x="1240" y="54"/>
                    </a:lnTo>
                    <a:lnTo>
                      <a:pt x="1237" y="56"/>
                    </a:lnTo>
                    <a:lnTo>
                      <a:pt x="1236" y="60"/>
                    </a:lnTo>
                    <a:lnTo>
                      <a:pt x="1238" y="62"/>
                    </a:lnTo>
                    <a:lnTo>
                      <a:pt x="1242" y="65"/>
                    </a:lnTo>
                    <a:lnTo>
                      <a:pt x="1249" y="67"/>
                    </a:lnTo>
                    <a:lnTo>
                      <a:pt x="1249" y="67"/>
                    </a:lnTo>
                    <a:lnTo>
                      <a:pt x="1259" y="71"/>
                    </a:lnTo>
                    <a:lnTo>
                      <a:pt x="1275" y="73"/>
                    </a:lnTo>
                    <a:lnTo>
                      <a:pt x="1321" y="77"/>
                    </a:lnTo>
                    <a:lnTo>
                      <a:pt x="1381" y="83"/>
                    </a:lnTo>
                    <a:lnTo>
                      <a:pt x="1445" y="87"/>
                    </a:lnTo>
                    <a:lnTo>
                      <a:pt x="1511" y="93"/>
                    </a:lnTo>
                    <a:lnTo>
                      <a:pt x="1571" y="97"/>
                    </a:lnTo>
                    <a:lnTo>
                      <a:pt x="1619" y="102"/>
                    </a:lnTo>
                    <a:lnTo>
                      <a:pt x="1637" y="106"/>
                    </a:lnTo>
                    <a:lnTo>
                      <a:pt x="1650" y="109"/>
                    </a:lnTo>
                    <a:lnTo>
                      <a:pt x="1650" y="109"/>
                    </a:lnTo>
                    <a:lnTo>
                      <a:pt x="1655" y="112"/>
                    </a:lnTo>
                    <a:lnTo>
                      <a:pt x="1656" y="113"/>
                    </a:lnTo>
                    <a:lnTo>
                      <a:pt x="1658" y="114"/>
                    </a:lnTo>
                    <a:lnTo>
                      <a:pt x="1658" y="114"/>
                    </a:lnTo>
                    <a:lnTo>
                      <a:pt x="1656" y="117"/>
                    </a:lnTo>
                    <a:lnTo>
                      <a:pt x="1655" y="119"/>
                    </a:lnTo>
                    <a:lnTo>
                      <a:pt x="1649" y="122"/>
                    </a:lnTo>
                    <a:lnTo>
                      <a:pt x="1640" y="125"/>
                    </a:lnTo>
                    <a:lnTo>
                      <a:pt x="1629" y="130"/>
                    </a:lnTo>
                    <a:lnTo>
                      <a:pt x="1598" y="136"/>
                    </a:lnTo>
                    <a:lnTo>
                      <a:pt x="1562" y="144"/>
                    </a:lnTo>
                    <a:lnTo>
                      <a:pt x="1482" y="158"/>
                    </a:lnTo>
                    <a:lnTo>
                      <a:pt x="1410" y="169"/>
                    </a:lnTo>
                    <a:lnTo>
                      <a:pt x="1410" y="169"/>
                    </a:lnTo>
                    <a:lnTo>
                      <a:pt x="1363" y="178"/>
                    </a:lnTo>
                    <a:lnTo>
                      <a:pt x="1318" y="188"/>
                    </a:lnTo>
                    <a:lnTo>
                      <a:pt x="1275" y="198"/>
                    </a:lnTo>
                    <a:lnTo>
                      <a:pt x="1237" y="209"/>
                    </a:lnTo>
                    <a:lnTo>
                      <a:pt x="1201" y="220"/>
                    </a:lnTo>
                    <a:lnTo>
                      <a:pt x="1185" y="227"/>
                    </a:lnTo>
                    <a:lnTo>
                      <a:pt x="1171" y="233"/>
                    </a:lnTo>
                    <a:lnTo>
                      <a:pt x="1156" y="241"/>
                    </a:lnTo>
                    <a:lnTo>
                      <a:pt x="1144" y="249"/>
                    </a:lnTo>
                    <a:lnTo>
                      <a:pt x="1134" y="256"/>
                    </a:lnTo>
                    <a:lnTo>
                      <a:pt x="1124" y="264"/>
                    </a:lnTo>
                    <a:lnTo>
                      <a:pt x="1124" y="264"/>
                    </a:lnTo>
                    <a:lnTo>
                      <a:pt x="1119" y="271"/>
                    </a:lnTo>
                    <a:lnTo>
                      <a:pt x="1116" y="276"/>
                    </a:lnTo>
                    <a:lnTo>
                      <a:pt x="1112" y="284"/>
                    </a:lnTo>
                    <a:lnTo>
                      <a:pt x="1111" y="291"/>
                    </a:lnTo>
                    <a:lnTo>
                      <a:pt x="1111" y="297"/>
                    </a:lnTo>
                    <a:lnTo>
                      <a:pt x="1111" y="301"/>
                    </a:lnTo>
                    <a:lnTo>
                      <a:pt x="1113" y="307"/>
                    </a:lnTo>
                    <a:lnTo>
                      <a:pt x="1116" y="312"/>
                    </a:lnTo>
                    <a:lnTo>
                      <a:pt x="1119" y="318"/>
                    </a:lnTo>
                    <a:lnTo>
                      <a:pt x="1123" y="324"/>
                    </a:lnTo>
                    <a:lnTo>
                      <a:pt x="1129" y="330"/>
                    </a:lnTo>
                    <a:lnTo>
                      <a:pt x="1137" y="337"/>
                    </a:lnTo>
                    <a:lnTo>
                      <a:pt x="1144" y="343"/>
                    </a:lnTo>
                    <a:lnTo>
                      <a:pt x="1154" y="350"/>
                    </a:lnTo>
                    <a:lnTo>
                      <a:pt x="1166" y="356"/>
                    </a:lnTo>
                    <a:lnTo>
                      <a:pt x="1179" y="363"/>
                    </a:lnTo>
                    <a:lnTo>
                      <a:pt x="1195" y="371"/>
                    </a:lnTo>
                    <a:lnTo>
                      <a:pt x="1212" y="377"/>
                    </a:lnTo>
                    <a:lnTo>
                      <a:pt x="1232" y="384"/>
                    </a:lnTo>
                    <a:lnTo>
                      <a:pt x="1254" y="391"/>
                    </a:lnTo>
                    <a:lnTo>
                      <a:pt x="1277" y="398"/>
                    </a:lnTo>
                    <a:lnTo>
                      <a:pt x="1304" y="406"/>
                    </a:lnTo>
                    <a:lnTo>
                      <a:pt x="1333" y="412"/>
                    </a:lnTo>
                    <a:lnTo>
                      <a:pt x="1365" y="419"/>
                    </a:lnTo>
                    <a:lnTo>
                      <a:pt x="1437" y="433"/>
                    </a:lnTo>
                    <a:lnTo>
                      <a:pt x="1437" y="433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1BB53DA0-1E2C-4A8D-90AF-B0F6F3F6FA69}"/>
                  </a:ext>
                </a:extLst>
              </p:cNvPr>
              <p:cNvSpPr/>
              <p:nvPr/>
            </p:nvSpPr>
            <p:spPr bwMode="auto">
              <a:xfrm>
                <a:off x="3899693" y="2428874"/>
                <a:ext cx="3375025" cy="3717925"/>
              </a:xfrm>
              <a:custGeom>
                <a:avLst/>
                <a:gdLst>
                  <a:gd name="T0" fmla="*/ 338 w 2126"/>
                  <a:gd name="T1" fmla="*/ 2178 h 2342"/>
                  <a:gd name="T2" fmla="*/ 960 w 2126"/>
                  <a:gd name="T3" fmla="*/ 1742 h 2342"/>
                  <a:gd name="T4" fmla="*/ 1561 w 2126"/>
                  <a:gd name="T5" fmla="*/ 1329 h 2342"/>
                  <a:gd name="T6" fmla="*/ 1855 w 2126"/>
                  <a:gd name="T7" fmla="*/ 1100 h 2342"/>
                  <a:gd name="T8" fmla="*/ 1994 w 2126"/>
                  <a:gd name="T9" fmla="*/ 976 h 2342"/>
                  <a:gd name="T10" fmla="*/ 2094 w 2126"/>
                  <a:gd name="T11" fmla="*/ 853 h 2342"/>
                  <a:gd name="T12" fmla="*/ 2118 w 2126"/>
                  <a:gd name="T13" fmla="*/ 799 h 2342"/>
                  <a:gd name="T14" fmla="*/ 2124 w 2126"/>
                  <a:gd name="T15" fmla="*/ 718 h 2342"/>
                  <a:gd name="T16" fmla="*/ 2099 w 2126"/>
                  <a:gd name="T17" fmla="*/ 645 h 2342"/>
                  <a:gd name="T18" fmla="*/ 2047 w 2126"/>
                  <a:gd name="T19" fmla="*/ 582 h 2342"/>
                  <a:gd name="T20" fmla="*/ 1982 w 2126"/>
                  <a:gd name="T21" fmla="*/ 538 h 2342"/>
                  <a:gd name="T22" fmla="*/ 1890 w 2126"/>
                  <a:gd name="T23" fmla="*/ 499 h 2342"/>
                  <a:gd name="T24" fmla="*/ 1739 w 2126"/>
                  <a:gd name="T25" fmla="*/ 452 h 2342"/>
                  <a:gd name="T26" fmla="*/ 1430 w 2126"/>
                  <a:gd name="T27" fmla="*/ 389 h 2342"/>
                  <a:gd name="T28" fmla="*/ 1236 w 2126"/>
                  <a:gd name="T29" fmla="*/ 348 h 2342"/>
                  <a:gd name="T30" fmla="*/ 1135 w 2126"/>
                  <a:gd name="T31" fmla="*/ 310 h 2342"/>
                  <a:gd name="T32" fmla="*/ 1092 w 2126"/>
                  <a:gd name="T33" fmla="*/ 281 h 2342"/>
                  <a:gd name="T34" fmla="*/ 1079 w 2126"/>
                  <a:gd name="T35" fmla="*/ 253 h 2342"/>
                  <a:gd name="T36" fmla="*/ 1097 w 2126"/>
                  <a:gd name="T37" fmla="*/ 226 h 2342"/>
                  <a:gd name="T38" fmla="*/ 1160 w 2126"/>
                  <a:gd name="T39" fmla="*/ 194 h 2342"/>
                  <a:gd name="T40" fmla="*/ 1300 w 2126"/>
                  <a:gd name="T41" fmla="*/ 153 h 2342"/>
                  <a:gd name="T42" fmla="*/ 1552 w 2126"/>
                  <a:gd name="T43" fmla="*/ 105 h 2342"/>
                  <a:gd name="T44" fmla="*/ 1607 w 2126"/>
                  <a:gd name="T45" fmla="*/ 89 h 2342"/>
                  <a:gd name="T46" fmla="*/ 1612 w 2126"/>
                  <a:gd name="T47" fmla="*/ 71 h 2342"/>
                  <a:gd name="T48" fmla="*/ 1551 w 2126"/>
                  <a:gd name="T49" fmla="*/ 58 h 2342"/>
                  <a:gd name="T50" fmla="*/ 1345 w 2126"/>
                  <a:gd name="T51" fmla="*/ 44 h 2342"/>
                  <a:gd name="T52" fmla="*/ 1208 w 2126"/>
                  <a:gd name="T53" fmla="*/ 29 h 2342"/>
                  <a:gd name="T54" fmla="*/ 1195 w 2126"/>
                  <a:gd name="T55" fmla="*/ 16 h 2342"/>
                  <a:gd name="T56" fmla="*/ 1241 w 2126"/>
                  <a:gd name="T57" fmla="*/ 5 h 2342"/>
                  <a:gd name="T58" fmla="*/ 1241 w 2126"/>
                  <a:gd name="T59" fmla="*/ 5 h 2342"/>
                  <a:gd name="T60" fmla="*/ 1194 w 2126"/>
                  <a:gd name="T61" fmla="*/ 16 h 2342"/>
                  <a:gd name="T62" fmla="*/ 1201 w 2126"/>
                  <a:gd name="T63" fmla="*/ 28 h 2342"/>
                  <a:gd name="T64" fmla="*/ 1275 w 2126"/>
                  <a:gd name="T65" fmla="*/ 39 h 2342"/>
                  <a:gd name="T66" fmla="*/ 1502 w 2126"/>
                  <a:gd name="T67" fmla="*/ 57 h 2342"/>
                  <a:gd name="T68" fmla="*/ 1604 w 2126"/>
                  <a:gd name="T69" fmla="*/ 71 h 2342"/>
                  <a:gd name="T70" fmla="*/ 1608 w 2126"/>
                  <a:gd name="T71" fmla="*/ 82 h 2342"/>
                  <a:gd name="T72" fmla="*/ 1579 w 2126"/>
                  <a:gd name="T73" fmla="*/ 94 h 2342"/>
                  <a:gd name="T74" fmla="*/ 1330 w 2126"/>
                  <a:gd name="T75" fmla="*/ 140 h 2342"/>
                  <a:gd name="T76" fmla="*/ 1195 w 2126"/>
                  <a:gd name="T77" fmla="*/ 172 h 2342"/>
                  <a:gd name="T78" fmla="*/ 1103 w 2126"/>
                  <a:gd name="T79" fmla="*/ 209 h 2342"/>
                  <a:gd name="T80" fmla="*/ 1070 w 2126"/>
                  <a:gd name="T81" fmla="*/ 244 h 2342"/>
                  <a:gd name="T82" fmla="*/ 1073 w 2126"/>
                  <a:gd name="T83" fmla="*/ 274 h 2342"/>
                  <a:gd name="T84" fmla="*/ 1103 w 2126"/>
                  <a:gd name="T85" fmla="*/ 303 h 2342"/>
                  <a:gd name="T86" fmla="*/ 1198 w 2126"/>
                  <a:gd name="T87" fmla="*/ 348 h 2342"/>
                  <a:gd name="T88" fmla="*/ 1335 w 2126"/>
                  <a:gd name="T89" fmla="*/ 381 h 2342"/>
                  <a:gd name="T90" fmla="*/ 1575 w 2126"/>
                  <a:gd name="T91" fmla="*/ 428 h 2342"/>
                  <a:gd name="T92" fmla="*/ 1735 w 2126"/>
                  <a:gd name="T93" fmla="*/ 469 h 2342"/>
                  <a:gd name="T94" fmla="*/ 1881 w 2126"/>
                  <a:gd name="T95" fmla="*/ 523 h 2342"/>
                  <a:gd name="T96" fmla="*/ 1999 w 2126"/>
                  <a:gd name="T97" fmla="*/ 585 h 2342"/>
                  <a:gd name="T98" fmla="*/ 2041 w 2126"/>
                  <a:gd name="T99" fmla="*/ 626 h 2342"/>
                  <a:gd name="T100" fmla="*/ 2076 w 2126"/>
                  <a:gd name="T101" fmla="*/ 683 h 2342"/>
                  <a:gd name="T102" fmla="*/ 2085 w 2126"/>
                  <a:gd name="T103" fmla="*/ 747 h 2342"/>
                  <a:gd name="T104" fmla="*/ 2073 w 2126"/>
                  <a:gd name="T105" fmla="*/ 798 h 2342"/>
                  <a:gd name="T106" fmla="*/ 2021 w 2126"/>
                  <a:gd name="T107" fmla="*/ 881 h 2342"/>
                  <a:gd name="T108" fmla="*/ 1916 w 2126"/>
                  <a:gd name="T109" fmla="*/ 991 h 2342"/>
                  <a:gd name="T110" fmla="*/ 1706 w 2126"/>
                  <a:gd name="T111" fmla="*/ 1167 h 2342"/>
                  <a:gd name="T112" fmla="*/ 1230 w 2126"/>
                  <a:gd name="T113" fmla="*/ 1500 h 2342"/>
                  <a:gd name="T114" fmla="*/ 423 w 2126"/>
                  <a:gd name="T115" fmla="*/ 2045 h 2342"/>
                  <a:gd name="T116" fmla="*/ 0 w 2126"/>
                  <a:gd name="T117" fmla="*/ 2342 h 2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6" h="2342">
                    <a:moveTo>
                      <a:pt x="112" y="2342"/>
                    </a:moveTo>
                    <a:lnTo>
                      <a:pt x="112" y="2342"/>
                    </a:lnTo>
                    <a:lnTo>
                      <a:pt x="190" y="2285"/>
                    </a:lnTo>
                    <a:lnTo>
                      <a:pt x="190" y="2285"/>
                    </a:lnTo>
                    <a:lnTo>
                      <a:pt x="338" y="2178"/>
                    </a:lnTo>
                    <a:lnTo>
                      <a:pt x="455" y="2095"/>
                    </a:lnTo>
                    <a:lnTo>
                      <a:pt x="569" y="2014"/>
                    </a:lnTo>
                    <a:lnTo>
                      <a:pt x="703" y="1922"/>
                    </a:lnTo>
                    <a:lnTo>
                      <a:pt x="960" y="1742"/>
                    </a:lnTo>
                    <a:lnTo>
                      <a:pt x="960" y="1742"/>
                    </a:lnTo>
                    <a:lnTo>
                      <a:pt x="1156" y="1607"/>
                    </a:lnTo>
                    <a:lnTo>
                      <a:pt x="1294" y="1512"/>
                    </a:lnTo>
                    <a:lnTo>
                      <a:pt x="1455" y="1403"/>
                    </a:lnTo>
                    <a:lnTo>
                      <a:pt x="1507" y="1367"/>
                    </a:lnTo>
                    <a:lnTo>
                      <a:pt x="1561" y="1329"/>
                    </a:lnTo>
                    <a:lnTo>
                      <a:pt x="1630" y="1276"/>
                    </a:lnTo>
                    <a:lnTo>
                      <a:pt x="1732" y="1199"/>
                    </a:lnTo>
                    <a:lnTo>
                      <a:pt x="1732" y="1199"/>
                    </a:lnTo>
                    <a:lnTo>
                      <a:pt x="1792" y="1150"/>
                    </a:lnTo>
                    <a:lnTo>
                      <a:pt x="1855" y="1100"/>
                    </a:lnTo>
                    <a:lnTo>
                      <a:pt x="1916" y="1048"/>
                    </a:lnTo>
                    <a:lnTo>
                      <a:pt x="1946" y="1022"/>
                    </a:lnTo>
                    <a:lnTo>
                      <a:pt x="1973" y="995"/>
                    </a:lnTo>
                    <a:lnTo>
                      <a:pt x="1973" y="995"/>
                    </a:lnTo>
                    <a:lnTo>
                      <a:pt x="1994" y="976"/>
                    </a:lnTo>
                    <a:lnTo>
                      <a:pt x="2016" y="953"/>
                    </a:lnTo>
                    <a:lnTo>
                      <a:pt x="2038" y="929"/>
                    </a:lnTo>
                    <a:lnTo>
                      <a:pt x="2059" y="904"/>
                    </a:lnTo>
                    <a:lnTo>
                      <a:pt x="2078" y="879"/>
                    </a:lnTo>
                    <a:lnTo>
                      <a:pt x="2094" y="853"/>
                    </a:lnTo>
                    <a:lnTo>
                      <a:pt x="2102" y="839"/>
                    </a:lnTo>
                    <a:lnTo>
                      <a:pt x="2109" y="825"/>
                    </a:lnTo>
                    <a:lnTo>
                      <a:pt x="2114" y="812"/>
                    </a:lnTo>
                    <a:lnTo>
                      <a:pt x="2118" y="799"/>
                    </a:lnTo>
                    <a:lnTo>
                      <a:pt x="2118" y="799"/>
                    </a:lnTo>
                    <a:lnTo>
                      <a:pt x="2123" y="782"/>
                    </a:lnTo>
                    <a:lnTo>
                      <a:pt x="2125" y="767"/>
                    </a:lnTo>
                    <a:lnTo>
                      <a:pt x="2126" y="750"/>
                    </a:lnTo>
                    <a:lnTo>
                      <a:pt x="2126" y="734"/>
                    </a:lnTo>
                    <a:lnTo>
                      <a:pt x="2124" y="718"/>
                    </a:lnTo>
                    <a:lnTo>
                      <a:pt x="2122" y="703"/>
                    </a:lnTo>
                    <a:lnTo>
                      <a:pt x="2117" y="688"/>
                    </a:lnTo>
                    <a:lnTo>
                      <a:pt x="2113" y="673"/>
                    </a:lnTo>
                    <a:lnTo>
                      <a:pt x="2106" y="659"/>
                    </a:lnTo>
                    <a:lnTo>
                      <a:pt x="2099" y="645"/>
                    </a:lnTo>
                    <a:lnTo>
                      <a:pt x="2090" y="630"/>
                    </a:lnTo>
                    <a:lnTo>
                      <a:pt x="2081" y="617"/>
                    </a:lnTo>
                    <a:lnTo>
                      <a:pt x="2070" y="605"/>
                    </a:lnTo>
                    <a:lnTo>
                      <a:pt x="2059" y="593"/>
                    </a:lnTo>
                    <a:lnTo>
                      <a:pt x="2047" y="582"/>
                    </a:lnTo>
                    <a:lnTo>
                      <a:pt x="2034" y="571"/>
                    </a:lnTo>
                    <a:lnTo>
                      <a:pt x="2034" y="571"/>
                    </a:lnTo>
                    <a:lnTo>
                      <a:pt x="2017" y="559"/>
                    </a:lnTo>
                    <a:lnTo>
                      <a:pt x="2000" y="548"/>
                    </a:lnTo>
                    <a:lnTo>
                      <a:pt x="1982" y="538"/>
                    </a:lnTo>
                    <a:lnTo>
                      <a:pt x="1963" y="529"/>
                    </a:lnTo>
                    <a:lnTo>
                      <a:pt x="1946" y="521"/>
                    </a:lnTo>
                    <a:lnTo>
                      <a:pt x="1927" y="513"/>
                    </a:lnTo>
                    <a:lnTo>
                      <a:pt x="1890" y="499"/>
                    </a:lnTo>
                    <a:lnTo>
                      <a:pt x="1890" y="499"/>
                    </a:lnTo>
                    <a:lnTo>
                      <a:pt x="1862" y="489"/>
                    </a:lnTo>
                    <a:lnTo>
                      <a:pt x="1829" y="478"/>
                    </a:lnTo>
                    <a:lnTo>
                      <a:pt x="1790" y="466"/>
                    </a:lnTo>
                    <a:lnTo>
                      <a:pt x="1739" y="452"/>
                    </a:lnTo>
                    <a:lnTo>
                      <a:pt x="1739" y="452"/>
                    </a:lnTo>
                    <a:lnTo>
                      <a:pt x="1646" y="430"/>
                    </a:lnTo>
                    <a:lnTo>
                      <a:pt x="1574" y="415"/>
                    </a:lnTo>
                    <a:lnTo>
                      <a:pt x="1507" y="402"/>
                    </a:lnTo>
                    <a:lnTo>
                      <a:pt x="1430" y="389"/>
                    </a:lnTo>
                    <a:lnTo>
                      <a:pt x="1430" y="389"/>
                    </a:lnTo>
                    <a:lnTo>
                      <a:pt x="1391" y="382"/>
                    </a:lnTo>
                    <a:lnTo>
                      <a:pt x="1336" y="371"/>
                    </a:lnTo>
                    <a:lnTo>
                      <a:pt x="1304" y="364"/>
                    </a:lnTo>
                    <a:lnTo>
                      <a:pt x="1271" y="357"/>
                    </a:lnTo>
                    <a:lnTo>
                      <a:pt x="1236" y="348"/>
                    </a:lnTo>
                    <a:lnTo>
                      <a:pt x="1202" y="337"/>
                    </a:lnTo>
                    <a:lnTo>
                      <a:pt x="1202" y="337"/>
                    </a:lnTo>
                    <a:lnTo>
                      <a:pt x="1175" y="328"/>
                    </a:lnTo>
                    <a:lnTo>
                      <a:pt x="1148" y="316"/>
                    </a:lnTo>
                    <a:lnTo>
                      <a:pt x="1135" y="310"/>
                    </a:lnTo>
                    <a:lnTo>
                      <a:pt x="1121" y="302"/>
                    </a:lnTo>
                    <a:lnTo>
                      <a:pt x="1109" y="294"/>
                    </a:lnTo>
                    <a:lnTo>
                      <a:pt x="1098" y="286"/>
                    </a:lnTo>
                    <a:lnTo>
                      <a:pt x="1098" y="286"/>
                    </a:lnTo>
                    <a:lnTo>
                      <a:pt x="1092" y="281"/>
                    </a:lnTo>
                    <a:lnTo>
                      <a:pt x="1087" y="275"/>
                    </a:lnTo>
                    <a:lnTo>
                      <a:pt x="1083" y="270"/>
                    </a:lnTo>
                    <a:lnTo>
                      <a:pt x="1081" y="264"/>
                    </a:lnTo>
                    <a:lnTo>
                      <a:pt x="1079" y="259"/>
                    </a:lnTo>
                    <a:lnTo>
                      <a:pt x="1079" y="253"/>
                    </a:lnTo>
                    <a:lnTo>
                      <a:pt x="1080" y="249"/>
                    </a:lnTo>
                    <a:lnTo>
                      <a:pt x="1081" y="245"/>
                    </a:lnTo>
                    <a:lnTo>
                      <a:pt x="1084" y="239"/>
                    </a:lnTo>
                    <a:lnTo>
                      <a:pt x="1087" y="235"/>
                    </a:lnTo>
                    <a:lnTo>
                      <a:pt x="1097" y="226"/>
                    </a:lnTo>
                    <a:lnTo>
                      <a:pt x="1110" y="217"/>
                    </a:lnTo>
                    <a:lnTo>
                      <a:pt x="1126" y="208"/>
                    </a:lnTo>
                    <a:lnTo>
                      <a:pt x="1126" y="208"/>
                    </a:lnTo>
                    <a:lnTo>
                      <a:pt x="1141" y="202"/>
                    </a:lnTo>
                    <a:lnTo>
                      <a:pt x="1160" y="194"/>
                    </a:lnTo>
                    <a:lnTo>
                      <a:pt x="1198" y="181"/>
                    </a:lnTo>
                    <a:lnTo>
                      <a:pt x="1238" y="169"/>
                    </a:lnTo>
                    <a:lnTo>
                      <a:pt x="1273" y="160"/>
                    </a:lnTo>
                    <a:lnTo>
                      <a:pt x="1273" y="160"/>
                    </a:lnTo>
                    <a:lnTo>
                      <a:pt x="1300" y="153"/>
                    </a:lnTo>
                    <a:lnTo>
                      <a:pt x="1330" y="148"/>
                    </a:lnTo>
                    <a:lnTo>
                      <a:pt x="1427" y="129"/>
                    </a:lnTo>
                    <a:lnTo>
                      <a:pt x="1504" y="115"/>
                    </a:lnTo>
                    <a:lnTo>
                      <a:pt x="1504" y="115"/>
                    </a:lnTo>
                    <a:lnTo>
                      <a:pt x="1552" y="105"/>
                    </a:lnTo>
                    <a:lnTo>
                      <a:pt x="1580" y="98"/>
                    </a:lnTo>
                    <a:lnTo>
                      <a:pt x="1592" y="95"/>
                    </a:lnTo>
                    <a:lnTo>
                      <a:pt x="1601" y="92"/>
                    </a:lnTo>
                    <a:lnTo>
                      <a:pt x="1601" y="92"/>
                    </a:lnTo>
                    <a:lnTo>
                      <a:pt x="1607" y="89"/>
                    </a:lnTo>
                    <a:lnTo>
                      <a:pt x="1612" y="84"/>
                    </a:lnTo>
                    <a:lnTo>
                      <a:pt x="1615" y="81"/>
                    </a:lnTo>
                    <a:lnTo>
                      <a:pt x="1616" y="78"/>
                    </a:lnTo>
                    <a:lnTo>
                      <a:pt x="1615" y="74"/>
                    </a:lnTo>
                    <a:lnTo>
                      <a:pt x="1612" y="71"/>
                    </a:lnTo>
                    <a:lnTo>
                      <a:pt x="1607" y="68"/>
                    </a:lnTo>
                    <a:lnTo>
                      <a:pt x="1600" y="65"/>
                    </a:lnTo>
                    <a:lnTo>
                      <a:pt x="1600" y="65"/>
                    </a:lnTo>
                    <a:lnTo>
                      <a:pt x="1579" y="61"/>
                    </a:lnTo>
                    <a:lnTo>
                      <a:pt x="1551" y="58"/>
                    </a:lnTo>
                    <a:lnTo>
                      <a:pt x="1502" y="53"/>
                    </a:lnTo>
                    <a:lnTo>
                      <a:pt x="1502" y="53"/>
                    </a:lnTo>
                    <a:lnTo>
                      <a:pt x="1424" y="48"/>
                    </a:lnTo>
                    <a:lnTo>
                      <a:pt x="1345" y="44"/>
                    </a:lnTo>
                    <a:lnTo>
                      <a:pt x="1345" y="44"/>
                    </a:lnTo>
                    <a:lnTo>
                      <a:pt x="1275" y="38"/>
                    </a:lnTo>
                    <a:lnTo>
                      <a:pt x="1237" y="35"/>
                    </a:lnTo>
                    <a:lnTo>
                      <a:pt x="1220" y="33"/>
                    </a:lnTo>
                    <a:lnTo>
                      <a:pt x="1208" y="29"/>
                    </a:lnTo>
                    <a:lnTo>
                      <a:pt x="1208" y="29"/>
                    </a:lnTo>
                    <a:lnTo>
                      <a:pt x="1195" y="25"/>
                    </a:lnTo>
                    <a:lnTo>
                      <a:pt x="1192" y="23"/>
                    </a:lnTo>
                    <a:lnTo>
                      <a:pt x="1191" y="20"/>
                    </a:lnTo>
                    <a:lnTo>
                      <a:pt x="1192" y="18"/>
                    </a:lnTo>
                    <a:lnTo>
                      <a:pt x="1195" y="16"/>
                    </a:lnTo>
                    <a:lnTo>
                      <a:pt x="1201" y="14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24" y="8"/>
                    </a:lnTo>
                    <a:lnTo>
                      <a:pt x="1241" y="5"/>
                    </a:lnTo>
                    <a:lnTo>
                      <a:pt x="1275" y="1"/>
                    </a:lnTo>
                    <a:lnTo>
                      <a:pt x="1286" y="0"/>
                    </a:lnTo>
                    <a:lnTo>
                      <a:pt x="1275" y="1"/>
                    </a:lnTo>
                    <a:lnTo>
                      <a:pt x="1275" y="1"/>
                    </a:lnTo>
                    <a:lnTo>
                      <a:pt x="1241" y="5"/>
                    </a:lnTo>
                    <a:lnTo>
                      <a:pt x="1224" y="8"/>
                    </a:lnTo>
                    <a:lnTo>
                      <a:pt x="1208" y="12"/>
                    </a:lnTo>
                    <a:lnTo>
                      <a:pt x="1208" y="12"/>
                    </a:lnTo>
                    <a:lnTo>
                      <a:pt x="1201" y="14"/>
                    </a:lnTo>
                    <a:lnTo>
                      <a:pt x="1194" y="16"/>
                    </a:lnTo>
                    <a:lnTo>
                      <a:pt x="1191" y="18"/>
                    </a:lnTo>
                    <a:lnTo>
                      <a:pt x="1190" y="20"/>
                    </a:lnTo>
                    <a:lnTo>
                      <a:pt x="1191" y="23"/>
                    </a:lnTo>
                    <a:lnTo>
                      <a:pt x="1195" y="26"/>
                    </a:lnTo>
                    <a:lnTo>
                      <a:pt x="1201" y="28"/>
                    </a:lnTo>
                    <a:lnTo>
                      <a:pt x="1208" y="30"/>
                    </a:lnTo>
                    <a:lnTo>
                      <a:pt x="1208" y="30"/>
                    </a:lnTo>
                    <a:lnTo>
                      <a:pt x="1220" y="33"/>
                    </a:lnTo>
                    <a:lnTo>
                      <a:pt x="1237" y="35"/>
                    </a:lnTo>
                    <a:lnTo>
                      <a:pt x="1275" y="39"/>
                    </a:lnTo>
                    <a:lnTo>
                      <a:pt x="1345" y="45"/>
                    </a:lnTo>
                    <a:lnTo>
                      <a:pt x="1423" y="50"/>
                    </a:lnTo>
                    <a:lnTo>
                      <a:pt x="1423" y="50"/>
                    </a:lnTo>
                    <a:lnTo>
                      <a:pt x="1502" y="57"/>
                    </a:lnTo>
                    <a:lnTo>
                      <a:pt x="1502" y="57"/>
                    </a:lnTo>
                    <a:lnTo>
                      <a:pt x="1550" y="61"/>
                    </a:lnTo>
                    <a:lnTo>
                      <a:pt x="1578" y="65"/>
                    </a:lnTo>
                    <a:lnTo>
                      <a:pt x="1599" y="69"/>
                    </a:lnTo>
                    <a:lnTo>
                      <a:pt x="1599" y="69"/>
                    </a:lnTo>
                    <a:lnTo>
                      <a:pt x="1604" y="71"/>
                    </a:lnTo>
                    <a:lnTo>
                      <a:pt x="1608" y="73"/>
                    </a:lnTo>
                    <a:lnTo>
                      <a:pt x="1611" y="75"/>
                    </a:lnTo>
                    <a:lnTo>
                      <a:pt x="1612" y="78"/>
                    </a:lnTo>
                    <a:lnTo>
                      <a:pt x="1611" y="80"/>
                    </a:lnTo>
                    <a:lnTo>
                      <a:pt x="1608" y="82"/>
                    </a:lnTo>
                    <a:lnTo>
                      <a:pt x="1604" y="85"/>
                    </a:lnTo>
                    <a:lnTo>
                      <a:pt x="1599" y="87"/>
                    </a:lnTo>
                    <a:lnTo>
                      <a:pt x="1599" y="87"/>
                    </a:lnTo>
                    <a:lnTo>
                      <a:pt x="1590" y="91"/>
                    </a:lnTo>
                    <a:lnTo>
                      <a:pt x="1579" y="94"/>
                    </a:lnTo>
                    <a:lnTo>
                      <a:pt x="1551" y="101"/>
                    </a:lnTo>
                    <a:lnTo>
                      <a:pt x="1504" y="109"/>
                    </a:lnTo>
                    <a:lnTo>
                      <a:pt x="1426" y="123"/>
                    </a:lnTo>
                    <a:lnTo>
                      <a:pt x="1426" y="123"/>
                    </a:lnTo>
                    <a:lnTo>
                      <a:pt x="1330" y="140"/>
                    </a:lnTo>
                    <a:lnTo>
                      <a:pt x="1300" y="146"/>
                    </a:lnTo>
                    <a:lnTo>
                      <a:pt x="1272" y="152"/>
                    </a:lnTo>
                    <a:lnTo>
                      <a:pt x="1272" y="152"/>
                    </a:lnTo>
                    <a:lnTo>
                      <a:pt x="1235" y="161"/>
                    </a:lnTo>
                    <a:lnTo>
                      <a:pt x="1195" y="172"/>
                    </a:lnTo>
                    <a:lnTo>
                      <a:pt x="1156" y="185"/>
                    </a:lnTo>
                    <a:lnTo>
                      <a:pt x="1138" y="192"/>
                    </a:lnTo>
                    <a:lnTo>
                      <a:pt x="1121" y="200"/>
                    </a:lnTo>
                    <a:lnTo>
                      <a:pt x="1121" y="200"/>
                    </a:lnTo>
                    <a:lnTo>
                      <a:pt x="1103" y="209"/>
                    </a:lnTo>
                    <a:lnTo>
                      <a:pt x="1088" y="220"/>
                    </a:lnTo>
                    <a:lnTo>
                      <a:pt x="1082" y="226"/>
                    </a:lnTo>
                    <a:lnTo>
                      <a:pt x="1077" y="231"/>
                    </a:lnTo>
                    <a:lnTo>
                      <a:pt x="1073" y="237"/>
                    </a:lnTo>
                    <a:lnTo>
                      <a:pt x="1070" y="244"/>
                    </a:lnTo>
                    <a:lnTo>
                      <a:pt x="1069" y="249"/>
                    </a:lnTo>
                    <a:lnTo>
                      <a:pt x="1068" y="256"/>
                    </a:lnTo>
                    <a:lnTo>
                      <a:pt x="1069" y="262"/>
                    </a:lnTo>
                    <a:lnTo>
                      <a:pt x="1070" y="268"/>
                    </a:lnTo>
                    <a:lnTo>
                      <a:pt x="1073" y="274"/>
                    </a:lnTo>
                    <a:lnTo>
                      <a:pt x="1077" y="281"/>
                    </a:lnTo>
                    <a:lnTo>
                      <a:pt x="1084" y="288"/>
                    </a:lnTo>
                    <a:lnTo>
                      <a:pt x="1092" y="295"/>
                    </a:lnTo>
                    <a:lnTo>
                      <a:pt x="1092" y="295"/>
                    </a:lnTo>
                    <a:lnTo>
                      <a:pt x="1103" y="303"/>
                    </a:lnTo>
                    <a:lnTo>
                      <a:pt x="1115" y="311"/>
                    </a:lnTo>
                    <a:lnTo>
                      <a:pt x="1129" y="318"/>
                    </a:lnTo>
                    <a:lnTo>
                      <a:pt x="1143" y="326"/>
                    </a:lnTo>
                    <a:lnTo>
                      <a:pt x="1172" y="338"/>
                    </a:lnTo>
                    <a:lnTo>
                      <a:pt x="1198" y="348"/>
                    </a:lnTo>
                    <a:lnTo>
                      <a:pt x="1198" y="348"/>
                    </a:lnTo>
                    <a:lnTo>
                      <a:pt x="1232" y="358"/>
                    </a:lnTo>
                    <a:lnTo>
                      <a:pt x="1268" y="367"/>
                    </a:lnTo>
                    <a:lnTo>
                      <a:pt x="1302" y="374"/>
                    </a:lnTo>
                    <a:lnTo>
                      <a:pt x="1335" y="381"/>
                    </a:lnTo>
                    <a:lnTo>
                      <a:pt x="1391" y="392"/>
                    </a:lnTo>
                    <a:lnTo>
                      <a:pt x="1429" y="399"/>
                    </a:lnTo>
                    <a:lnTo>
                      <a:pt x="1429" y="399"/>
                    </a:lnTo>
                    <a:lnTo>
                      <a:pt x="1505" y="414"/>
                    </a:lnTo>
                    <a:lnTo>
                      <a:pt x="1575" y="428"/>
                    </a:lnTo>
                    <a:lnTo>
                      <a:pt x="1612" y="437"/>
                    </a:lnTo>
                    <a:lnTo>
                      <a:pt x="1649" y="446"/>
                    </a:lnTo>
                    <a:lnTo>
                      <a:pt x="1690" y="457"/>
                    </a:lnTo>
                    <a:lnTo>
                      <a:pt x="1735" y="469"/>
                    </a:lnTo>
                    <a:lnTo>
                      <a:pt x="1735" y="469"/>
                    </a:lnTo>
                    <a:lnTo>
                      <a:pt x="1781" y="483"/>
                    </a:lnTo>
                    <a:lnTo>
                      <a:pt x="1819" y="497"/>
                    </a:lnTo>
                    <a:lnTo>
                      <a:pt x="1851" y="510"/>
                    </a:lnTo>
                    <a:lnTo>
                      <a:pt x="1881" y="523"/>
                    </a:lnTo>
                    <a:lnTo>
                      <a:pt x="1881" y="523"/>
                    </a:lnTo>
                    <a:lnTo>
                      <a:pt x="1916" y="538"/>
                    </a:lnTo>
                    <a:lnTo>
                      <a:pt x="1950" y="556"/>
                    </a:lnTo>
                    <a:lnTo>
                      <a:pt x="1967" y="565"/>
                    </a:lnTo>
                    <a:lnTo>
                      <a:pt x="1983" y="574"/>
                    </a:lnTo>
                    <a:lnTo>
                      <a:pt x="1999" y="585"/>
                    </a:lnTo>
                    <a:lnTo>
                      <a:pt x="2013" y="598"/>
                    </a:lnTo>
                    <a:lnTo>
                      <a:pt x="2013" y="598"/>
                    </a:lnTo>
                    <a:lnTo>
                      <a:pt x="2023" y="606"/>
                    </a:lnTo>
                    <a:lnTo>
                      <a:pt x="2033" y="616"/>
                    </a:lnTo>
                    <a:lnTo>
                      <a:pt x="2041" y="626"/>
                    </a:lnTo>
                    <a:lnTo>
                      <a:pt x="2050" y="637"/>
                    </a:lnTo>
                    <a:lnTo>
                      <a:pt x="2058" y="648"/>
                    </a:lnTo>
                    <a:lnTo>
                      <a:pt x="2065" y="660"/>
                    </a:lnTo>
                    <a:lnTo>
                      <a:pt x="2070" y="671"/>
                    </a:lnTo>
                    <a:lnTo>
                      <a:pt x="2076" y="683"/>
                    </a:lnTo>
                    <a:lnTo>
                      <a:pt x="2079" y="695"/>
                    </a:lnTo>
                    <a:lnTo>
                      <a:pt x="2082" y="709"/>
                    </a:lnTo>
                    <a:lnTo>
                      <a:pt x="2084" y="721"/>
                    </a:lnTo>
                    <a:lnTo>
                      <a:pt x="2085" y="734"/>
                    </a:lnTo>
                    <a:lnTo>
                      <a:pt x="2085" y="747"/>
                    </a:lnTo>
                    <a:lnTo>
                      <a:pt x="2083" y="760"/>
                    </a:lnTo>
                    <a:lnTo>
                      <a:pt x="2081" y="773"/>
                    </a:lnTo>
                    <a:lnTo>
                      <a:pt x="2078" y="787"/>
                    </a:lnTo>
                    <a:lnTo>
                      <a:pt x="2078" y="787"/>
                    </a:lnTo>
                    <a:lnTo>
                      <a:pt x="2073" y="798"/>
                    </a:lnTo>
                    <a:lnTo>
                      <a:pt x="2068" y="810"/>
                    </a:lnTo>
                    <a:lnTo>
                      <a:pt x="2062" y="822"/>
                    </a:lnTo>
                    <a:lnTo>
                      <a:pt x="2055" y="834"/>
                    </a:lnTo>
                    <a:lnTo>
                      <a:pt x="2038" y="858"/>
                    </a:lnTo>
                    <a:lnTo>
                      <a:pt x="2021" y="881"/>
                    </a:lnTo>
                    <a:lnTo>
                      <a:pt x="2001" y="905"/>
                    </a:lnTo>
                    <a:lnTo>
                      <a:pt x="1981" y="927"/>
                    </a:lnTo>
                    <a:lnTo>
                      <a:pt x="1944" y="965"/>
                    </a:lnTo>
                    <a:lnTo>
                      <a:pt x="1944" y="965"/>
                    </a:lnTo>
                    <a:lnTo>
                      <a:pt x="1916" y="991"/>
                    </a:lnTo>
                    <a:lnTo>
                      <a:pt x="1888" y="1017"/>
                    </a:lnTo>
                    <a:lnTo>
                      <a:pt x="1828" y="1069"/>
                    </a:lnTo>
                    <a:lnTo>
                      <a:pt x="1768" y="1119"/>
                    </a:lnTo>
                    <a:lnTo>
                      <a:pt x="1706" y="1167"/>
                    </a:lnTo>
                    <a:lnTo>
                      <a:pt x="1706" y="1167"/>
                    </a:lnTo>
                    <a:lnTo>
                      <a:pt x="1608" y="1242"/>
                    </a:lnTo>
                    <a:lnTo>
                      <a:pt x="1531" y="1298"/>
                    </a:lnTo>
                    <a:lnTo>
                      <a:pt x="1466" y="1343"/>
                    </a:lnTo>
                    <a:lnTo>
                      <a:pt x="1401" y="1387"/>
                    </a:lnTo>
                    <a:lnTo>
                      <a:pt x="1230" y="1500"/>
                    </a:lnTo>
                    <a:lnTo>
                      <a:pt x="1102" y="1585"/>
                    </a:lnTo>
                    <a:lnTo>
                      <a:pt x="931" y="1700"/>
                    </a:lnTo>
                    <a:lnTo>
                      <a:pt x="672" y="1877"/>
                    </a:lnTo>
                    <a:lnTo>
                      <a:pt x="672" y="1877"/>
                    </a:lnTo>
                    <a:lnTo>
                      <a:pt x="423" y="2045"/>
                    </a:lnTo>
                    <a:lnTo>
                      <a:pt x="296" y="2133"/>
                    </a:lnTo>
                    <a:lnTo>
                      <a:pt x="153" y="2233"/>
                    </a:lnTo>
                    <a:lnTo>
                      <a:pt x="153" y="2233"/>
                    </a:lnTo>
                    <a:lnTo>
                      <a:pt x="86" y="2280"/>
                    </a:lnTo>
                    <a:lnTo>
                      <a:pt x="0" y="2342"/>
                    </a:lnTo>
                    <a:lnTo>
                      <a:pt x="112" y="234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1139B3F4-7421-4BA6-8555-3162FEAF0C35}"/>
                  </a:ext>
                </a:extLst>
              </p:cNvPr>
              <p:cNvSpPr/>
              <p:nvPr/>
            </p:nvSpPr>
            <p:spPr bwMode="auto">
              <a:xfrm>
                <a:off x="5901531" y="2565399"/>
                <a:ext cx="719137" cy="236538"/>
              </a:xfrm>
              <a:custGeom>
                <a:avLst/>
                <a:gdLst>
                  <a:gd name="T0" fmla="*/ 0 w 453"/>
                  <a:gd name="T1" fmla="*/ 145 h 149"/>
                  <a:gd name="T2" fmla="*/ 10 w 453"/>
                  <a:gd name="T3" fmla="*/ 138 h 149"/>
                  <a:gd name="T4" fmla="*/ 39 w 453"/>
                  <a:gd name="T5" fmla="*/ 122 h 149"/>
                  <a:gd name="T6" fmla="*/ 41 w 453"/>
                  <a:gd name="T7" fmla="*/ 127 h 149"/>
                  <a:gd name="T8" fmla="*/ 13 w 453"/>
                  <a:gd name="T9" fmla="*/ 142 h 149"/>
                  <a:gd name="T10" fmla="*/ 4 w 453"/>
                  <a:gd name="T11" fmla="*/ 149 h 149"/>
                  <a:gd name="T12" fmla="*/ 61 w 453"/>
                  <a:gd name="T13" fmla="*/ 114 h 149"/>
                  <a:gd name="T14" fmla="*/ 77 w 453"/>
                  <a:gd name="T15" fmla="*/ 106 h 149"/>
                  <a:gd name="T16" fmla="*/ 97 w 453"/>
                  <a:gd name="T17" fmla="*/ 103 h 149"/>
                  <a:gd name="T18" fmla="*/ 79 w 453"/>
                  <a:gd name="T19" fmla="*/ 110 h 149"/>
                  <a:gd name="T20" fmla="*/ 61 w 453"/>
                  <a:gd name="T21" fmla="*/ 114 h 149"/>
                  <a:gd name="T22" fmla="*/ 118 w 453"/>
                  <a:gd name="T23" fmla="*/ 91 h 149"/>
                  <a:gd name="T24" fmla="*/ 155 w 453"/>
                  <a:gd name="T25" fmla="*/ 84 h 149"/>
                  <a:gd name="T26" fmla="*/ 119 w 453"/>
                  <a:gd name="T27" fmla="*/ 95 h 149"/>
                  <a:gd name="T28" fmla="*/ 177 w 453"/>
                  <a:gd name="T29" fmla="*/ 73 h 149"/>
                  <a:gd name="T30" fmla="*/ 213 w 453"/>
                  <a:gd name="T31" fmla="*/ 64 h 149"/>
                  <a:gd name="T32" fmla="*/ 214 w 453"/>
                  <a:gd name="T33" fmla="*/ 69 h 149"/>
                  <a:gd name="T34" fmla="*/ 177 w 453"/>
                  <a:gd name="T35" fmla="*/ 73 h 149"/>
                  <a:gd name="T36" fmla="*/ 236 w 453"/>
                  <a:gd name="T37" fmla="*/ 59 h 149"/>
                  <a:gd name="T38" fmla="*/ 275 w 453"/>
                  <a:gd name="T39" fmla="*/ 55 h 149"/>
                  <a:gd name="T40" fmla="*/ 237 w 453"/>
                  <a:gd name="T41" fmla="*/ 63 h 149"/>
                  <a:gd name="T42" fmla="*/ 297 w 453"/>
                  <a:gd name="T43" fmla="*/ 47 h 149"/>
                  <a:gd name="T44" fmla="*/ 314 w 453"/>
                  <a:gd name="T45" fmla="*/ 43 h 149"/>
                  <a:gd name="T46" fmla="*/ 334 w 453"/>
                  <a:gd name="T47" fmla="*/ 43 h 149"/>
                  <a:gd name="T48" fmla="*/ 316 w 453"/>
                  <a:gd name="T49" fmla="*/ 48 h 149"/>
                  <a:gd name="T50" fmla="*/ 297 w 453"/>
                  <a:gd name="T51" fmla="*/ 47 h 149"/>
                  <a:gd name="T52" fmla="*/ 356 w 453"/>
                  <a:gd name="T53" fmla="*/ 33 h 149"/>
                  <a:gd name="T54" fmla="*/ 395 w 453"/>
                  <a:gd name="T55" fmla="*/ 28 h 149"/>
                  <a:gd name="T56" fmla="*/ 357 w 453"/>
                  <a:gd name="T57" fmla="*/ 38 h 149"/>
                  <a:gd name="T58" fmla="*/ 416 w 453"/>
                  <a:gd name="T59" fmla="*/ 16 h 149"/>
                  <a:gd name="T60" fmla="*/ 435 w 453"/>
                  <a:gd name="T61" fmla="*/ 8 h 149"/>
                  <a:gd name="T62" fmla="*/ 450 w 453"/>
                  <a:gd name="T63" fmla="*/ 0 h 149"/>
                  <a:gd name="T64" fmla="*/ 453 w 453"/>
                  <a:gd name="T65" fmla="*/ 3 h 149"/>
                  <a:gd name="T66" fmla="*/ 438 w 453"/>
                  <a:gd name="T67" fmla="*/ 11 h 149"/>
                  <a:gd name="T68" fmla="*/ 416 w 453"/>
                  <a:gd name="T69" fmla="*/ 16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453" h="149">
                    <a:moveTo>
                      <a:pt x="0" y="145"/>
                    </a:moveTo>
                    <a:lnTo>
                      <a:pt x="0" y="145"/>
                    </a:lnTo>
                    <a:lnTo>
                      <a:pt x="2" y="143"/>
                    </a:lnTo>
                    <a:lnTo>
                      <a:pt x="10" y="138"/>
                    </a:lnTo>
                    <a:lnTo>
                      <a:pt x="22" y="130"/>
                    </a:lnTo>
                    <a:lnTo>
                      <a:pt x="39" y="122"/>
                    </a:lnTo>
                    <a:lnTo>
                      <a:pt x="41" y="127"/>
                    </a:lnTo>
                    <a:lnTo>
                      <a:pt x="41" y="127"/>
                    </a:lnTo>
                    <a:lnTo>
                      <a:pt x="25" y="136"/>
                    </a:lnTo>
                    <a:lnTo>
                      <a:pt x="13" y="142"/>
                    </a:lnTo>
                    <a:lnTo>
                      <a:pt x="7" y="147"/>
                    </a:lnTo>
                    <a:lnTo>
                      <a:pt x="4" y="149"/>
                    </a:lnTo>
                    <a:lnTo>
                      <a:pt x="0" y="145"/>
                    </a:lnTo>
                    <a:close/>
                    <a:moveTo>
                      <a:pt x="61" y="114"/>
                    </a:moveTo>
                    <a:lnTo>
                      <a:pt x="61" y="114"/>
                    </a:lnTo>
                    <a:lnTo>
                      <a:pt x="77" y="106"/>
                    </a:lnTo>
                    <a:lnTo>
                      <a:pt x="96" y="98"/>
                    </a:lnTo>
                    <a:lnTo>
                      <a:pt x="97" y="103"/>
                    </a:lnTo>
                    <a:lnTo>
                      <a:pt x="97" y="103"/>
                    </a:lnTo>
                    <a:lnTo>
                      <a:pt x="79" y="110"/>
                    </a:lnTo>
                    <a:lnTo>
                      <a:pt x="63" y="118"/>
                    </a:lnTo>
                    <a:lnTo>
                      <a:pt x="61" y="114"/>
                    </a:lnTo>
                    <a:close/>
                    <a:moveTo>
                      <a:pt x="118" y="91"/>
                    </a:moveTo>
                    <a:lnTo>
                      <a:pt x="118" y="91"/>
                    </a:lnTo>
                    <a:lnTo>
                      <a:pt x="154" y="80"/>
                    </a:lnTo>
                    <a:lnTo>
                      <a:pt x="155" y="84"/>
                    </a:lnTo>
                    <a:lnTo>
                      <a:pt x="155" y="84"/>
                    </a:lnTo>
                    <a:lnTo>
                      <a:pt x="119" y="95"/>
                    </a:lnTo>
                    <a:lnTo>
                      <a:pt x="118" y="91"/>
                    </a:lnTo>
                    <a:close/>
                    <a:moveTo>
                      <a:pt x="177" y="73"/>
                    </a:moveTo>
                    <a:lnTo>
                      <a:pt x="177" y="73"/>
                    </a:lnTo>
                    <a:lnTo>
                      <a:pt x="213" y="64"/>
                    </a:lnTo>
                    <a:lnTo>
                      <a:pt x="214" y="69"/>
                    </a:lnTo>
                    <a:lnTo>
                      <a:pt x="214" y="69"/>
                    </a:lnTo>
                    <a:lnTo>
                      <a:pt x="178" y="77"/>
                    </a:lnTo>
                    <a:lnTo>
                      <a:pt x="177" y="73"/>
                    </a:lnTo>
                    <a:close/>
                    <a:moveTo>
                      <a:pt x="236" y="59"/>
                    </a:moveTo>
                    <a:lnTo>
                      <a:pt x="236" y="59"/>
                    </a:lnTo>
                    <a:lnTo>
                      <a:pt x="274" y="51"/>
                    </a:lnTo>
                    <a:lnTo>
                      <a:pt x="275" y="55"/>
                    </a:lnTo>
                    <a:lnTo>
                      <a:pt x="275" y="55"/>
                    </a:lnTo>
                    <a:lnTo>
                      <a:pt x="237" y="63"/>
                    </a:lnTo>
                    <a:lnTo>
                      <a:pt x="236" y="59"/>
                    </a:lnTo>
                    <a:close/>
                    <a:moveTo>
                      <a:pt x="297" y="47"/>
                    </a:moveTo>
                    <a:lnTo>
                      <a:pt x="297" y="47"/>
                    </a:lnTo>
                    <a:lnTo>
                      <a:pt x="314" y="43"/>
                    </a:lnTo>
                    <a:lnTo>
                      <a:pt x="333" y="39"/>
                    </a:lnTo>
                    <a:lnTo>
                      <a:pt x="334" y="43"/>
                    </a:lnTo>
                    <a:lnTo>
                      <a:pt x="316" y="48"/>
                    </a:lnTo>
                    <a:lnTo>
                      <a:pt x="316" y="48"/>
                    </a:lnTo>
                    <a:lnTo>
                      <a:pt x="298" y="51"/>
                    </a:lnTo>
                    <a:lnTo>
                      <a:pt x="297" y="47"/>
                    </a:lnTo>
                    <a:close/>
                    <a:moveTo>
                      <a:pt x="356" y="33"/>
                    </a:moveTo>
                    <a:lnTo>
                      <a:pt x="356" y="33"/>
                    </a:lnTo>
                    <a:lnTo>
                      <a:pt x="394" y="23"/>
                    </a:lnTo>
                    <a:lnTo>
                      <a:pt x="395" y="28"/>
                    </a:lnTo>
                    <a:lnTo>
                      <a:pt x="395" y="28"/>
                    </a:lnTo>
                    <a:lnTo>
                      <a:pt x="357" y="38"/>
                    </a:lnTo>
                    <a:lnTo>
                      <a:pt x="356" y="33"/>
                    </a:lnTo>
                    <a:close/>
                    <a:moveTo>
                      <a:pt x="416" y="16"/>
                    </a:moveTo>
                    <a:lnTo>
                      <a:pt x="416" y="16"/>
                    </a:lnTo>
                    <a:lnTo>
                      <a:pt x="435" y="8"/>
                    </a:lnTo>
                    <a:lnTo>
                      <a:pt x="443" y="4"/>
                    </a:lnTo>
                    <a:lnTo>
                      <a:pt x="450" y="0"/>
                    </a:lnTo>
                    <a:lnTo>
                      <a:pt x="453" y="3"/>
                    </a:lnTo>
                    <a:lnTo>
                      <a:pt x="453" y="3"/>
                    </a:lnTo>
                    <a:lnTo>
                      <a:pt x="446" y="7"/>
                    </a:lnTo>
                    <a:lnTo>
                      <a:pt x="438" y="11"/>
                    </a:lnTo>
                    <a:lnTo>
                      <a:pt x="417" y="20"/>
                    </a:lnTo>
                    <a:lnTo>
                      <a:pt x="416" y="16"/>
                    </a:lnTo>
                    <a:close/>
                  </a:path>
                </a:pathLst>
              </a:custGeom>
              <a:solidFill>
                <a:srgbClr val="C5CCD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1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grpSp>
            <p:nvGrpSpPr>
              <p:cNvPr id="57" name="组合 56">
                <a:extLst>
                  <a:ext uri="{FF2B5EF4-FFF2-40B4-BE49-F238E27FC236}">
                    <a16:creationId xmlns:a16="http://schemas.microsoft.com/office/drawing/2014/main" id="{1503B9A6-5F0D-4C59-A460-13339AEAF3F2}"/>
                  </a:ext>
                </a:extLst>
              </p:cNvPr>
              <p:cNvGrpSpPr/>
              <p:nvPr/>
            </p:nvGrpSpPr>
            <p:grpSpPr>
              <a:xfrm>
                <a:off x="5353843" y="2827337"/>
                <a:ext cx="2441575" cy="3319463"/>
                <a:chOff x="4803141" y="2824162"/>
                <a:chExt cx="2441575" cy="3319463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4E23B88-5629-40C6-B666-3F1692F6E952}"/>
                    </a:ext>
                  </a:extLst>
                </p:cNvPr>
                <p:cNvSpPr/>
                <p:nvPr/>
              </p:nvSpPr>
              <p:spPr bwMode="auto">
                <a:xfrm>
                  <a:off x="7158991" y="3649662"/>
                  <a:ext cx="85725" cy="271463"/>
                </a:xfrm>
                <a:custGeom>
                  <a:avLst/>
                  <a:gdLst>
                    <a:gd name="T0" fmla="*/ 31 w 54"/>
                    <a:gd name="T1" fmla="*/ 171 h 171"/>
                    <a:gd name="T2" fmla="*/ 31 w 54"/>
                    <a:gd name="T3" fmla="*/ 171 h 171"/>
                    <a:gd name="T4" fmla="*/ 40 w 54"/>
                    <a:gd name="T5" fmla="*/ 147 h 171"/>
                    <a:gd name="T6" fmla="*/ 48 w 54"/>
                    <a:gd name="T7" fmla="*/ 126 h 171"/>
                    <a:gd name="T8" fmla="*/ 50 w 54"/>
                    <a:gd name="T9" fmla="*/ 115 h 171"/>
                    <a:gd name="T10" fmla="*/ 53 w 54"/>
                    <a:gd name="T11" fmla="*/ 104 h 171"/>
                    <a:gd name="T12" fmla="*/ 54 w 54"/>
                    <a:gd name="T13" fmla="*/ 93 h 171"/>
                    <a:gd name="T14" fmla="*/ 54 w 54"/>
                    <a:gd name="T15" fmla="*/ 82 h 171"/>
                    <a:gd name="T16" fmla="*/ 54 w 54"/>
                    <a:gd name="T17" fmla="*/ 82 h 171"/>
                    <a:gd name="T18" fmla="*/ 54 w 54"/>
                    <a:gd name="T19" fmla="*/ 60 h 171"/>
                    <a:gd name="T20" fmla="*/ 53 w 54"/>
                    <a:gd name="T21" fmla="*/ 50 h 171"/>
                    <a:gd name="T22" fmla="*/ 50 w 54"/>
                    <a:gd name="T23" fmla="*/ 41 h 171"/>
                    <a:gd name="T24" fmla="*/ 47 w 54"/>
                    <a:gd name="T25" fmla="*/ 31 h 171"/>
                    <a:gd name="T26" fmla="*/ 44 w 54"/>
                    <a:gd name="T27" fmla="*/ 22 h 171"/>
                    <a:gd name="T28" fmla="*/ 33 w 54"/>
                    <a:gd name="T29" fmla="*/ 0 h 171"/>
                    <a:gd name="T30" fmla="*/ 6 w 54"/>
                    <a:gd name="T31" fmla="*/ 11 h 171"/>
                    <a:gd name="T32" fmla="*/ 6 w 54"/>
                    <a:gd name="T33" fmla="*/ 11 h 171"/>
                    <a:gd name="T34" fmla="*/ 15 w 54"/>
                    <a:gd name="T35" fmla="*/ 30 h 171"/>
                    <a:gd name="T36" fmla="*/ 19 w 54"/>
                    <a:gd name="T37" fmla="*/ 39 h 171"/>
                    <a:gd name="T38" fmla="*/ 21 w 54"/>
                    <a:gd name="T39" fmla="*/ 47 h 171"/>
                    <a:gd name="T40" fmla="*/ 22 w 54"/>
                    <a:gd name="T41" fmla="*/ 55 h 171"/>
                    <a:gd name="T42" fmla="*/ 23 w 54"/>
                    <a:gd name="T43" fmla="*/ 63 h 171"/>
                    <a:gd name="T44" fmla="*/ 23 w 54"/>
                    <a:gd name="T45" fmla="*/ 82 h 171"/>
                    <a:gd name="T46" fmla="*/ 23 w 54"/>
                    <a:gd name="T47" fmla="*/ 82 h 171"/>
                    <a:gd name="T48" fmla="*/ 23 w 54"/>
                    <a:gd name="T49" fmla="*/ 90 h 171"/>
                    <a:gd name="T50" fmla="*/ 21 w 54"/>
                    <a:gd name="T51" fmla="*/ 99 h 171"/>
                    <a:gd name="T52" fmla="*/ 16 w 54"/>
                    <a:gd name="T53" fmla="*/ 116 h 171"/>
                    <a:gd name="T54" fmla="*/ 10 w 54"/>
                    <a:gd name="T55" fmla="*/ 134 h 171"/>
                    <a:gd name="T56" fmla="*/ 0 w 54"/>
                    <a:gd name="T57" fmla="*/ 154 h 171"/>
                    <a:gd name="T58" fmla="*/ 31 w 54"/>
                    <a:gd name="T59" fmla="*/ 171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54" h="171">
                      <a:moveTo>
                        <a:pt x="31" y="171"/>
                      </a:moveTo>
                      <a:lnTo>
                        <a:pt x="31" y="171"/>
                      </a:lnTo>
                      <a:lnTo>
                        <a:pt x="40" y="147"/>
                      </a:lnTo>
                      <a:lnTo>
                        <a:pt x="48" y="126"/>
                      </a:lnTo>
                      <a:lnTo>
                        <a:pt x="50" y="115"/>
                      </a:lnTo>
                      <a:lnTo>
                        <a:pt x="53" y="104"/>
                      </a:lnTo>
                      <a:lnTo>
                        <a:pt x="54" y="93"/>
                      </a:lnTo>
                      <a:lnTo>
                        <a:pt x="54" y="82"/>
                      </a:lnTo>
                      <a:lnTo>
                        <a:pt x="54" y="82"/>
                      </a:lnTo>
                      <a:lnTo>
                        <a:pt x="54" y="60"/>
                      </a:lnTo>
                      <a:lnTo>
                        <a:pt x="53" y="50"/>
                      </a:lnTo>
                      <a:lnTo>
                        <a:pt x="50" y="41"/>
                      </a:lnTo>
                      <a:lnTo>
                        <a:pt x="47" y="31"/>
                      </a:lnTo>
                      <a:lnTo>
                        <a:pt x="44" y="22"/>
                      </a:lnTo>
                      <a:lnTo>
                        <a:pt x="33" y="0"/>
                      </a:lnTo>
                      <a:lnTo>
                        <a:pt x="6" y="11"/>
                      </a:lnTo>
                      <a:lnTo>
                        <a:pt x="6" y="11"/>
                      </a:lnTo>
                      <a:lnTo>
                        <a:pt x="15" y="30"/>
                      </a:lnTo>
                      <a:lnTo>
                        <a:pt x="19" y="39"/>
                      </a:lnTo>
                      <a:lnTo>
                        <a:pt x="21" y="47"/>
                      </a:lnTo>
                      <a:lnTo>
                        <a:pt x="22" y="55"/>
                      </a:lnTo>
                      <a:lnTo>
                        <a:pt x="23" y="63"/>
                      </a:lnTo>
                      <a:lnTo>
                        <a:pt x="23" y="82"/>
                      </a:lnTo>
                      <a:lnTo>
                        <a:pt x="23" y="82"/>
                      </a:lnTo>
                      <a:lnTo>
                        <a:pt x="23" y="90"/>
                      </a:lnTo>
                      <a:lnTo>
                        <a:pt x="21" y="99"/>
                      </a:lnTo>
                      <a:lnTo>
                        <a:pt x="16" y="116"/>
                      </a:lnTo>
                      <a:lnTo>
                        <a:pt x="10" y="134"/>
                      </a:lnTo>
                      <a:lnTo>
                        <a:pt x="0" y="154"/>
                      </a:lnTo>
                      <a:lnTo>
                        <a:pt x="31" y="1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0" name="任意多边形: 形状 59">
                  <a:extLst>
                    <a:ext uri="{FF2B5EF4-FFF2-40B4-BE49-F238E27FC236}">
                      <a16:creationId xmlns:a16="http://schemas.microsoft.com/office/drawing/2014/main" id="{36A79912-778F-4F5F-9C5B-39AEE036CE0C}"/>
                    </a:ext>
                  </a:extLst>
                </p:cNvPr>
                <p:cNvSpPr/>
                <p:nvPr/>
              </p:nvSpPr>
              <p:spPr bwMode="auto">
                <a:xfrm>
                  <a:off x="7003416" y="3405187"/>
                  <a:ext cx="160337" cy="142875"/>
                </a:xfrm>
                <a:custGeom>
                  <a:avLst/>
                  <a:gdLst>
                    <a:gd name="T0" fmla="*/ 84 w 101"/>
                    <a:gd name="T1" fmla="*/ 90 h 90"/>
                    <a:gd name="T2" fmla="*/ 101 w 101"/>
                    <a:gd name="T3" fmla="*/ 73 h 90"/>
                    <a:gd name="T4" fmla="*/ 101 w 101"/>
                    <a:gd name="T5" fmla="*/ 73 h 90"/>
                    <a:gd name="T6" fmla="*/ 82 w 101"/>
                    <a:gd name="T7" fmla="*/ 56 h 90"/>
                    <a:gd name="T8" fmla="*/ 59 w 101"/>
                    <a:gd name="T9" fmla="*/ 37 h 90"/>
                    <a:gd name="T10" fmla="*/ 34 w 101"/>
                    <a:gd name="T11" fmla="*/ 18 h 90"/>
                    <a:gd name="T12" fmla="*/ 11 w 101"/>
                    <a:gd name="T13" fmla="*/ 0 h 90"/>
                    <a:gd name="T14" fmla="*/ 0 w 101"/>
                    <a:gd name="T15" fmla="*/ 17 h 90"/>
                    <a:gd name="T16" fmla="*/ 0 w 101"/>
                    <a:gd name="T17" fmla="*/ 17 h 90"/>
                    <a:gd name="T18" fmla="*/ 22 w 101"/>
                    <a:gd name="T19" fmla="*/ 33 h 90"/>
                    <a:gd name="T20" fmla="*/ 45 w 101"/>
                    <a:gd name="T21" fmla="*/ 54 h 90"/>
                    <a:gd name="T22" fmla="*/ 67 w 101"/>
                    <a:gd name="T23" fmla="*/ 73 h 90"/>
                    <a:gd name="T24" fmla="*/ 84 w 101"/>
                    <a:gd name="T25" fmla="*/ 90 h 90"/>
                    <a:gd name="T26" fmla="*/ 84 w 101"/>
                    <a:gd name="T27" fmla="*/ 90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1" h="90">
                      <a:moveTo>
                        <a:pt x="84" y="90"/>
                      </a:moveTo>
                      <a:lnTo>
                        <a:pt x="101" y="73"/>
                      </a:lnTo>
                      <a:lnTo>
                        <a:pt x="101" y="73"/>
                      </a:lnTo>
                      <a:lnTo>
                        <a:pt x="82" y="56"/>
                      </a:lnTo>
                      <a:lnTo>
                        <a:pt x="59" y="37"/>
                      </a:lnTo>
                      <a:lnTo>
                        <a:pt x="34" y="18"/>
                      </a:lnTo>
                      <a:lnTo>
                        <a:pt x="11" y="0"/>
                      </a:lnTo>
                      <a:lnTo>
                        <a:pt x="0" y="17"/>
                      </a:lnTo>
                      <a:lnTo>
                        <a:pt x="0" y="17"/>
                      </a:lnTo>
                      <a:lnTo>
                        <a:pt x="22" y="33"/>
                      </a:lnTo>
                      <a:lnTo>
                        <a:pt x="45" y="54"/>
                      </a:lnTo>
                      <a:lnTo>
                        <a:pt x="67" y="73"/>
                      </a:lnTo>
                      <a:lnTo>
                        <a:pt x="84" y="90"/>
                      </a:lnTo>
                      <a:lnTo>
                        <a:pt x="84" y="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 fontScale="47500" lnSpcReduction="20000"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1" name="任意多边形: 形状 60">
                  <a:extLst>
                    <a:ext uri="{FF2B5EF4-FFF2-40B4-BE49-F238E27FC236}">
                      <a16:creationId xmlns:a16="http://schemas.microsoft.com/office/drawing/2014/main" id="{F01DD8A6-467D-4B2A-AE1D-559DCFC18AAB}"/>
                    </a:ext>
                  </a:extLst>
                </p:cNvPr>
                <p:cNvSpPr/>
                <p:nvPr/>
              </p:nvSpPr>
              <p:spPr bwMode="auto">
                <a:xfrm>
                  <a:off x="5344479" y="2824162"/>
                  <a:ext cx="1574800" cy="519113"/>
                </a:xfrm>
                <a:custGeom>
                  <a:avLst/>
                  <a:gdLst>
                    <a:gd name="T0" fmla="*/ 925 w 992"/>
                    <a:gd name="T1" fmla="*/ 276 h 327"/>
                    <a:gd name="T2" fmla="*/ 955 w 992"/>
                    <a:gd name="T3" fmla="*/ 292 h 327"/>
                    <a:gd name="T4" fmla="*/ 992 w 992"/>
                    <a:gd name="T5" fmla="*/ 314 h 327"/>
                    <a:gd name="T6" fmla="*/ 981 w 992"/>
                    <a:gd name="T7" fmla="*/ 327 h 327"/>
                    <a:gd name="T8" fmla="*/ 947 w 992"/>
                    <a:gd name="T9" fmla="*/ 304 h 327"/>
                    <a:gd name="T10" fmla="*/ 919 w 992"/>
                    <a:gd name="T11" fmla="*/ 289 h 327"/>
                    <a:gd name="T12" fmla="*/ 790 w 992"/>
                    <a:gd name="T13" fmla="*/ 221 h 327"/>
                    <a:gd name="T14" fmla="*/ 825 w 992"/>
                    <a:gd name="T15" fmla="*/ 234 h 327"/>
                    <a:gd name="T16" fmla="*/ 855 w 992"/>
                    <a:gd name="T17" fmla="*/ 260 h 327"/>
                    <a:gd name="T18" fmla="*/ 821 w 992"/>
                    <a:gd name="T19" fmla="*/ 246 h 327"/>
                    <a:gd name="T20" fmla="*/ 786 w 992"/>
                    <a:gd name="T21" fmla="*/ 233 h 327"/>
                    <a:gd name="T22" fmla="*/ 653 w 992"/>
                    <a:gd name="T23" fmla="*/ 181 h 327"/>
                    <a:gd name="T24" fmla="*/ 722 w 992"/>
                    <a:gd name="T25" fmla="*/ 200 h 327"/>
                    <a:gd name="T26" fmla="*/ 720 w 992"/>
                    <a:gd name="T27" fmla="*/ 210 h 327"/>
                    <a:gd name="T28" fmla="*/ 650 w 992"/>
                    <a:gd name="T29" fmla="*/ 190 h 327"/>
                    <a:gd name="T30" fmla="*/ 512 w 992"/>
                    <a:gd name="T31" fmla="*/ 146 h 327"/>
                    <a:gd name="T32" fmla="*/ 583 w 992"/>
                    <a:gd name="T33" fmla="*/ 163 h 327"/>
                    <a:gd name="T34" fmla="*/ 580 w 992"/>
                    <a:gd name="T35" fmla="*/ 172 h 327"/>
                    <a:gd name="T36" fmla="*/ 511 w 992"/>
                    <a:gd name="T37" fmla="*/ 156 h 327"/>
                    <a:gd name="T38" fmla="*/ 370 w 992"/>
                    <a:gd name="T39" fmla="*/ 120 h 327"/>
                    <a:gd name="T40" fmla="*/ 442 w 992"/>
                    <a:gd name="T41" fmla="*/ 132 h 327"/>
                    <a:gd name="T42" fmla="*/ 439 w 992"/>
                    <a:gd name="T43" fmla="*/ 142 h 327"/>
                    <a:gd name="T44" fmla="*/ 369 w 992"/>
                    <a:gd name="T45" fmla="*/ 129 h 327"/>
                    <a:gd name="T46" fmla="*/ 278 w 992"/>
                    <a:gd name="T47" fmla="*/ 115 h 327"/>
                    <a:gd name="T48" fmla="*/ 227 w 992"/>
                    <a:gd name="T49" fmla="*/ 98 h 327"/>
                    <a:gd name="T50" fmla="*/ 279 w 992"/>
                    <a:gd name="T51" fmla="*/ 106 h 327"/>
                    <a:gd name="T52" fmla="*/ 299 w 992"/>
                    <a:gd name="T53" fmla="*/ 108 h 327"/>
                    <a:gd name="T54" fmla="*/ 298 w 992"/>
                    <a:gd name="T55" fmla="*/ 118 h 327"/>
                    <a:gd name="T56" fmla="*/ 278 w 992"/>
                    <a:gd name="T57" fmla="*/ 115 h 327"/>
                    <a:gd name="T58" fmla="*/ 88 w 992"/>
                    <a:gd name="T59" fmla="*/ 64 h 327"/>
                    <a:gd name="T60" fmla="*/ 119 w 992"/>
                    <a:gd name="T61" fmla="*/ 74 h 327"/>
                    <a:gd name="T62" fmla="*/ 155 w 992"/>
                    <a:gd name="T63" fmla="*/ 93 h 327"/>
                    <a:gd name="T64" fmla="*/ 117 w 992"/>
                    <a:gd name="T65" fmla="*/ 84 h 327"/>
                    <a:gd name="T66" fmla="*/ 84 w 992"/>
                    <a:gd name="T67" fmla="*/ 73 h 327"/>
                    <a:gd name="T68" fmla="*/ 0 w 992"/>
                    <a:gd name="T69" fmla="*/ 2 h 327"/>
                    <a:gd name="T70" fmla="*/ 7 w 992"/>
                    <a:gd name="T71" fmla="*/ 1 h 327"/>
                    <a:gd name="T72" fmla="*/ 7 w 992"/>
                    <a:gd name="T73" fmla="*/ 2 h 327"/>
                    <a:gd name="T74" fmla="*/ 12 w 992"/>
                    <a:gd name="T75" fmla="*/ 17 h 327"/>
                    <a:gd name="T76" fmla="*/ 26 w 992"/>
                    <a:gd name="T77" fmla="*/ 32 h 327"/>
                    <a:gd name="T78" fmla="*/ 19 w 992"/>
                    <a:gd name="T79" fmla="*/ 40 h 327"/>
                    <a:gd name="T80" fmla="*/ 4 w 992"/>
                    <a:gd name="T81" fmla="*/ 21 h 327"/>
                    <a:gd name="T82" fmla="*/ 0 w 992"/>
                    <a:gd name="T83" fmla="*/ 2 h 32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992" h="327">
                      <a:moveTo>
                        <a:pt x="919" y="289"/>
                      </a:moveTo>
                      <a:lnTo>
                        <a:pt x="925" y="276"/>
                      </a:lnTo>
                      <a:lnTo>
                        <a:pt x="925" y="276"/>
                      </a:lnTo>
                      <a:lnTo>
                        <a:pt x="955" y="292"/>
                      </a:lnTo>
                      <a:lnTo>
                        <a:pt x="975" y="303"/>
                      </a:lnTo>
                      <a:lnTo>
                        <a:pt x="992" y="314"/>
                      </a:lnTo>
                      <a:lnTo>
                        <a:pt x="981" y="327"/>
                      </a:lnTo>
                      <a:lnTo>
                        <a:pt x="981" y="327"/>
                      </a:lnTo>
                      <a:lnTo>
                        <a:pt x="966" y="316"/>
                      </a:lnTo>
                      <a:lnTo>
                        <a:pt x="947" y="304"/>
                      </a:lnTo>
                      <a:lnTo>
                        <a:pt x="919" y="289"/>
                      </a:lnTo>
                      <a:lnTo>
                        <a:pt x="919" y="289"/>
                      </a:lnTo>
                      <a:close/>
                      <a:moveTo>
                        <a:pt x="786" y="233"/>
                      </a:moveTo>
                      <a:lnTo>
                        <a:pt x="790" y="221"/>
                      </a:lnTo>
                      <a:lnTo>
                        <a:pt x="790" y="221"/>
                      </a:lnTo>
                      <a:lnTo>
                        <a:pt x="825" y="234"/>
                      </a:lnTo>
                      <a:lnTo>
                        <a:pt x="859" y="248"/>
                      </a:lnTo>
                      <a:lnTo>
                        <a:pt x="855" y="260"/>
                      </a:lnTo>
                      <a:lnTo>
                        <a:pt x="855" y="260"/>
                      </a:lnTo>
                      <a:lnTo>
                        <a:pt x="821" y="246"/>
                      </a:lnTo>
                      <a:lnTo>
                        <a:pt x="786" y="233"/>
                      </a:lnTo>
                      <a:lnTo>
                        <a:pt x="786" y="233"/>
                      </a:lnTo>
                      <a:close/>
                      <a:moveTo>
                        <a:pt x="650" y="190"/>
                      </a:moveTo>
                      <a:lnTo>
                        <a:pt x="653" y="181"/>
                      </a:lnTo>
                      <a:lnTo>
                        <a:pt x="653" y="181"/>
                      </a:lnTo>
                      <a:lnTo>
                        <a:pt x="722" y="200"/>
                      </a:lnTo>
                      <a:lnTo>
                        <a:pt x="720" y="210"/>
                      </a:lnTo>
                      <a:lnTo>
                        <a:pt x="720" y="210"/>
                      </a:lnTo>
                      <a:lnTo>
                        <a:pt x="650" y="190"/>
                      </a:lnTo>
                      <a:lnTo>
                        <a:pt x="650" y="190"/>
                      </a:lnTo>
                      <a:close/>
                      <a:moveTo>
                        <a:pt x="511" y="156"/>
                      </a:move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83" y="163"/>
                      </a:lnTo>
                      <a:lnTo>
                        <a:pt x="580" y="172"/>
                      </a:lnTo>
                      <a:lnTo>
                        <a:pt x="580" y="172"/>
                      </a:lnTo>
                      <a:lnTo>
                        <a:pt x="511" y="156"/>
                      </a:lnTo>
                      <a:lnTo>
                        <a:pt x="511" y="156"/>
                      </a:lnTo>
                      <a:close/>
                      <a:moveTo>
                        <a:pt x="369" y="129"/>
                      </a:moveTo>
                      <a:lnTo>
                        <a:pt x="370" y="120"/>
                      </a:lnTo>
                      <a:lnTo>
                        <a:pt x="370" y="120"/>
                      </a:lnTo>
                      <a:lnTo>
                        <a:pt x="442" y="132"/>
                      </a:lnTo>
                      <a:lnTo>
                        <a:pt x="439" y="142"/>
                      </a:lnTo>
                      <a:lnTo>
                        <a:pt x="439" y="142"/>
                      </a:lnTo>
                      <a:lnTo>
                        <a:pt x="369" y="129"/>
                      </a:lnTo>
                      <a:lnTo>
                        <a:pt x="369" y="129"/>
                      </a:lnTo>
                      <a:close/>
                      <a:moveTo>
                        <a:pt x="278" y="115"/>
                      </a:moveTo>
                      <a:lnTo>
                        <a:pt x="278" y="115"/>
                      </a:lnTo>
                      <a:lnTo>
                        <a:pt x="226" y="107"/>
                      </a:lnTo>
                      <a:lnTo>
                        <a:pt x="227" y="98"/>
                      </a:lnTo>
                      <a:lnTo>
                        <a:pt x="227" y="98"/>
                      </a:lnTo>
                      <a:lnTo>
                        <a:pt x="279" y="106"/>
                      </a:lnTo>
                      <a:lnTo>
                        <a:pt x="279" y="106"/>
                      </a:lnTo>
                      <a:lnTo>
                        <a:pt x="299" y="108"/>
                      </a:lnTo>
                      <a:lnTo>
                        <a:pt x="298" y="118"/>
                      </a:lnTo>
                      <a:lnTo>
                        <a:pt x="298" y="118"/>
                      </a:lnTo>
                      <a:lnTo>
                        <a:pt x="278" y="115"/>
                      </a:lnTo>
                      <a:lnTo>
                        <a:pt x="278" y="115"/>
                      </a:lnTo>
                      <a:close/>
                      <a:moveTo>
                        <a:pt x="84" y="73"/>
                      </a:moveTo>
                      <a:lnTo>
                        <a:pt x="88" y="64"/>
                      </a:lnTo>
                      <a:lnTo>
                        <a:pt x="88" y="64"/>
                      </a:lnTo>
                      <a:lnTo>
                        <a:pt x="119" y="74"/>
                      </a:lnTo>
                      <a:lnTo>
                        <a:pt x="157" y="84"/>
                      </a:lnTo>
                      <a:lnTo>
                        <a:pt x="155" y="93"/>
                      </a:lnTo>
                      <a:lnTo>
                        <a:pt x="155" y="93"/>
                      </a:lnTo>
                      <a:lnTo>
                        <a:pt x="117" y="84"/>
                      </a:lnTo>
                      <a:lnTo>
                        <a:pt x="84" y="73"/>
                      </a:lnTo>
                      <a:lnTo>
                        <a:pt x="84" y="73"/>
                      </a:lnTo>
                      <a:close/>
                      <a:moveTo>
                        <a:pt x="0" y="2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7" y="1"/>
                      </a:lnTo>
                      <a:lnTo>
                        <a:pt x="7" y="2"/>
                      </a:lnTo>
                      <a:lnTo>
                        <a:pt x="7" y="2"/>
                      </a:lnTo>
                      <a:lnTo>
                        <a:pt x="8" y="10"/>
                      </a:lnTo>
                      <a:lnTo>
                        <a:pt x="12" y="17"/>
                      </a:lnTo>
                      <a:lnTo>
                        <a:pt x="18" y="24"/>
                      </a:lnTo>
                      <a:lnTo>
                        <a:pt x="26" y="32"/>
                      </a:lnTo>
                      <a:lnTo>
                        <a:pt x="19" y="40"/>
                      </a:lnTo>
                      <a:lnTo>
                        <a:pt x="19" y="40"/>
                      </a:lnTo>
                      <a:lnTo>
                        <a:pt x="11" y="31"/>
                      </a:lnTo>
                      <a:lnTo>
                        <a:pt x="4" y="21"/>
                      </a:lnTo>
                      <a:lnTo>
                        <a:pt x="1" y="12"/>
                      </a:lnTo>
                      <a:lnTo>
                        <a:pt x="0" y="2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2" name="任意多边形: 形状 61">
                  <a:extLst>
                    <a:ext uri="{FF2B5EF4-FFF2-40B4-BE49-F238E27FC236}">
                      <a16:creationId xmlns:a16="http://schemas.microsoft.com/office/drawing/2014/main" id="{FC8C7E83-D04C-4170-9A33-92C135DD5FCF}"/>
                    </a:ext>
                  </a:extLst>
                </p:cNvPr>
                <p:cNvSpPr/>
                <p:nvPr/>
              </p:nvSpPr>
              <p:spPr bwMode="auto">
                <a:xfrm>
                  <a:off x="5309554" y="5429249"/>
                  <a:ext cx="317500" cy="296863"/>
                </a:xfrm>
                <a:custGeom>
                  <a:avLst/>
                  <a:gdLst>
                    <a:gd name="T0" fmla="*/ 25 w 200"/>
                    <a:gd name="T1" fmla="*/ 187 h 187"/>
                    <a:gd name="T2" fmla="*/ 25 w 200"/>
                    <a:gd name="T3" fmla="*/ 187 h 187"/>
                    <a:gd name="T4" fmla="*/ 200 w 200"/>
                    <a:gd name="T5" fmla="*/ 28 h 187"/>
                    <a:gd name="T6" fmla="*/ 174 w 200"/>
                    <a:gd name="T7" fmla="*/ 0 h 187"/>
                    <a:gd name="T8" fmla="*/ 174 w 200"/>
                    <a:gd name="T9" fmla="*/ 0 h 187"/>
                    <a:gd name="T10" fmla="*/ 0 w 200"/>
                    <a:gd name="T11" fmla="*/ 160 h 187"/>
                    <a:gd name="T12" fmla="*/ 25 w 200"/>
                    <a:gd name="T13" fmla="*/ 187 h 1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0" h="187">
                      <a:moveTo>
                        <a:pt x="25" y="187"/>
                      </a:moveTo>
                      <a:lnTo>
                        <a:pt x="25" y="187"/>
                      </a:lnTo>
                      <a:lnTo>
                        <a:pt x="200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0"/>
                      </a:lnTo>
                      <a:lnTo>
                        <a:pt x="25" y="187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任意多边形: 形状 62">
                  <a:extLst>
                    <a:ext uri="{FF2B5EF4-FFF2-40B4-BE49-F238E27FC236}">
                      <a16:creationId xmlns:a16="http://schemas.microsoft.com/office/drawing/2014/main" id="{8BD1FA54-A36F-4C82-8E63-E00AB6B4E095}"/>
                    </a:ext>
                  </a:extLst>
                </p:cNvPr>
                <p:cNvSpPr/>
                <p:nvPr/>
              </p:nvSpPr>
              <p:spPr bwMode="auto">
                <a:xfrm>
                  <a:off x="5806441" y="4972049"/>
                  <a:ext cx="315912" cy="298450"/>
                </a:xfrm>
                <a:custGeom>
                  <a:avLst/>
                  <a:gdLst>
                    <a:gd name="T0" fmla="*/ 25 w 199"/>
                    <a:gd name="T1" fmla="*/ 188 h 188"/>
                    <a:gd name="T2" fmla="*/ 25 w 199"/>
                    <a:gd name="T3" fmla="*/ 188 h 188"/>
                    <a:gd name="T4" fmla="*/ 199 w 199"/>
                    <a:gd name="T5" fmla="*/ 28 h 188"/>
                    <a:gd name="T6" fmla="*/ 174 w 199"/>
                    <a:gd name="T7" fmla="*/ 0 h 188"/>
                    <a:gd name="T8" fmla="*/ 174 w 199"/>
                    <a:gd name="T9" fmla="*/ 0 h 188"/>
                    <a:gd name="T10" fmla="*/ 0 w 199"/>
                    <a:gd name="T11" fmla="*/ 161 h 188"/>
                    <a:gd name="T12" fmla="*/ 25 w 199"/>
                    <a:gd name="T13" fmla="*/ 188 h 1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9" h="188">
                      <a:moveTo>
                        <a:pt x="25" y="188"/>
                      </a:moveTo>
                      <a:lnTo>
                        <a:pt x="25" y="188"/>
                      </a:lnTo>
                      <a:lnTo>
                        <a:pt x="199" y="28"/>
                      </a:lnTo>
                      <a:lnTo>
                        <a:pt x="174" y="0"/>
                      </a:lnTo>
                      <a:lnTo>
                        <a:pt x="174" y="0"/>
                      </a:lnTo>
                      <a:lnTo>
                        <a:pt x="0" y="161"/>
                      </a:lnTo>
                      <a:lnTo>
                        <a:pt x="25" y="18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4" name="任意多边形: 形状 63">
                  <a:extLst>
                    <a:ext uri="{FF2B5EF4-FFF2-40B4-BE49-F238E27FC236}">
                      <a16:creationId xmlns:a16="http://schemas.microsoft.com/office/drawing/2014/main" id="{69484CE3-BF19-4447-BBA8-2B31571B5CE6}"/>
                    </a:ext>
                  </a:extLst>
                </p:cNvPr>
                <p:cNvSpPr/>
                <p:nvPr/>
              </p:nvSpPr>
              <p:spPr bwMode="auto">
                <a:xfrm>
                  <a:off x="6301741" y="4510087"/>
                  <a:ext cx="314325" cy="301625"/>
                </a:xfrm>
                <a:custGeom>
                  <a:avLst/>
                  <a:gdLst>
                    <a:gd name="T0" fmla="*/ 25 w 198"/>
                    <a:gd name="T1" fmla="*/ 190 h 190"/>
                    <a:gd name="T2" fmla="*/ 25 w 198"/>
                    <a:gd name="T3" fmla="*/ 190 h 190"/>
                    <a:gd name="T4" fmla="*/ 198 w 198"/>
                    <a:gd name="T5" fmla="*/ 28 h 190"/>
                    <a:gd name="T6" fmla="*/ 173 w 198"/>
                    <a:gd name="T7" fmla="*/ 0 h 190"/>
                    <a:gd name="T8" fmla="*/ 173 w 198"/>
                    <a:gd name="T9" fmla="*/ 0 h 190"/>
                    <a:gd name="T10" fmla="*/ 0 w 198"/>
                    <a:gd name="T11" fmla="*/ 162 h 190"/>
                    <a:gd name="T12" fmla="*/ 25 w 198"/>
                    <a:gd name="T13" fmla="*/ 190 h 1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98" h="190">
                      <a:moveTo>
                        <a:pt x="25" y="190"/>
                      </a:moveTo>
                      <a:lnTo>
                        <a:pt x="25" y="190"/>
                      </a:lnTo>
                      <a:lnTo>
                        <a:pt x="198" y="28"/>
                      </a:lnTo>
                      <a:lnTo>
                        <a:pt x="173" y="0"/>
                      </a:lnTo>
                      <a:lnTo>
                        <a:pt x="173" y="0"/>
                      </a:lnTo>
                      <a:lnTo>
                        <a:pt x="0" y="162"/>
                      </a:lnTo>
                      <a:lnTo>
                        <a:pt x="25" y="19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515A900-C04D-4848-A8D8-58C882E4A310}"/>
                    </a:ext>
                  </a:extLst>
                </p:cNvPr>
                <p:cNvSpPr/>
                <p:nvPr/>
              </p:nvSpPr>
              <p:spPr bwMode="auto">
                <a:xfrm>
                  <a:off x="4803141" y="5881687"/>
                  <a:ext cx="320675" cy="261938"/>
                </a:xfrm>
                <a:custGeom>
                  <a:avLst/>
                  <a:gdLst>
                    <a:gd name="T0" fmla="*/ 46 w 202"/>
                    <a:gd name="T1" fmla="*/ 165 h 165"/>
                    <a:gd name="T2" fmla="*/ 46 w 202"/>
                    <a:gd name="T3" fmla="*/ 165 h 165"/>
                    <a:gd name="T4" fmla="*/ 120 w 202"/>
                    <a:gd name="T5" fmla="*/ 101 h 165"/>
                    <a:gd name="T6" fmla="*/ 202 w 202"/>
                    <a:gd name="T7" fmla="*/ 29 h 165"/>
                    <a:gd name="T8" fmla="*/ 178 w 202"/>
                    <a:gd name="T9" fmla="*/ 0 h 165"/>
                    <a:gd name="T10" fmla="*/ 178 w 202"/>
                    <a:gd name="T11" fmla="*/ 0 h 165"/>
                    <a:gd name="T12" fmla="*/ 81 w 202"/>
                    <a:gd name="T13" fmla="*/ 85 h 165"/>
                    <a:gd name="T14" fmla="*/ 0 w 202"/>
                    <a:gd name="T15" fmla="*/ 155 h 165"/>
                    <a:gd name="T16" fmla="*/ 8 w 202"/>
                    <a:gd name="T17" fmla="*/ 165 h 165"/>
                    <a:gd name="T18" fmla="*/ 46 w 202"/>
                    <a:gd name="T19" fmla="*/ 165 h 16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202" h="165">
                      <a:moveTo>
                        <a:pt x="46" y="165"/>
                      </a:moveTo>
                      <a:lnTo>
                        <a:pt x="46" y="165"/>
                      </a:lnTo>
                      <a:lnTo>
                        <a:pt x="120" y="101"/>
                      </a:lnTo>
                      <a:lnTo>
                        <a:pt x="202" y="29"/>
                      </a:lnTo>
                      <a:lnTo>
                        <a:pt x="178" y="0"/>
                      </a:lnTo>
                      <a:lnTo>
                        <a:pt x="178" y="0"/>
                      </a:lnTo>
                      <a:lnTo>
                        <a:pt x="81" y="85"/>
                      </a:lnTo>
                      <a:lnTo>
                        <a:pt x="0" y="155"/>
                      </a:lnTo>
                      <a:lnTo>
                        <a:pt x="8" y="165"/>
                      </a:lnTo>
                      <a:lnTo>
                        <a:pt x="46" y="165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66" name="任意多边形: 形状 65">
                  <a:extLst>
                    <a:ext uri="{FF2B5EF4-FFF2-40B4-BE49-F238E27FC236}">
                      <a16:creationId xmlns:a16="http://schemas.microsoft.com/office/drawing/2014/main" id="{F1AECE60-481F-4C53-9D6C-A27215CA0E93}"/>
                    </a:ext>
                  </a:extLst>
                </p:cNvPr>
                <p:cNvSpPr/>
                <p:nvPr/>
              </p:nvSpPr>
              <p:spPr bwMode="auto">
                <a:xfrm>
                  <a:off x="6774816" y="4044949"/>
                  <a:ext cx="320675" cy="323850"/>
                </a:xfrm>
                <a:custGeom>
                  <a:avLst/>
                  <a:gdLst>
                    <a:gd name="T0" fmla="*/ 31 w 202"/>
                    <a:gd name="T1" fmla="*/ 204 h 204"/>
                    <a:gd name="T2" fmla="*/ 31 w 202"/>
                    <a:gd name="T3" fmla="*/ 204 h 204"/>
                    <a:gd name="T4" fmla="*/ 77 w 202"/>
                    <a:gd name="T5" fmla="*/ 161 h 204"/>
                    <a:gd name="T6" fmla="*/ 99 w 202"/>
                    <a:gd name="T7" fmla="*/ 140 h 204"/>
                    <a:gd name="T8" fmla="*/ 121 w 202"/>
                    <a:gd name="T9" fmla="*/ 117 h 204"/>
                    <a:gd name="T10" fmla="*/ 143 w 202"/>
                    <a:gd name="T11" fmla="*/ 94 h 204"/>
                    <a:gd name="T12" fmla="*/ 163 w 202"/>
                    <a:gd name="T13" fmla="*/ 71 h 204"/>
                    <a:gd name="T14" fmla="*/ 182 w 202"/>
                    <a:gd name="T15" fmla="*/ 47 h 204"/>
                    <a:gd name="T16" fmla="*/ 202 w 202"/>
                    <a:gd name="T17" fmla="*/ 22 h 204"/>
                    <a:gd name="T18" fmla="*/ 202 w 202"/>
                    <a:gd name="T19" fmla="*/ 22 h 204"/>
                    <a:gd name="T20" fmla="*/ 171 w 202"/>
                    <a:gd name="T21" fmla="*/ 0 h 204"/>
                    <a:gd name="T22" fmla="*/ 171 w 202"/>
                    <a:gd name="T23" fmla="*/ 0 h 204"/>
                    <a:gd name="T24" fmla="*/ 152 w 202"/>
                    <a:gd name="T25" fmla="*/ 24 h 204"/>
                    <a:gd name="T26" fmla="*/ 132 w 202"/>
                    <a:gd name="T27" fmla="*/ 48 h 204"/>
                    <a:gd name="T28" fmla="*/ 111 w 202"/>
                    <a:gd name="T29" fmla="*/ 71 h 204"/>
                    <a:gd name="T30" fmla="*/ 90 w 202"/>
                    <a:gd name="T31" fmla="*/ 93 h 204"/>
                    <a:gd name="T32" fmla="*/ 68 w 202"/>
                    <a:gd name="T33" fmla="*/ 115 h 204"/>
                    <a:gd name="T34" fmla="*/ 46 w 202"/>
                    <a:gd name="T35" fmla="*/ 136 h 204"/>
                    <a:gd name="T36" fmla="*/ 0 w 202"/>
                    <a:gd name="T37" fmla="*/ 178 h 204"/>
                    <a:gd name="T38" fmla="*/ 0 w 202"/>
                    <a:gd name="T39" fmla="*/ 178 h 204"/>
                    <a:gd name="T40" fmla="*/ 31 w 202"/>
                    <a:gd name="T41" fmla="*/ 204 h 204"/>
                    <a:gd name="T42" fmla="*/ 31 w 202"/>
                    <a:gd name="T43" fmla="*/ 204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2" h="204">
                      <a:moveTo>
                        <a:pt x="31" y="204"/>
                      </a:moveTo>
                      <a:lnTo>
                        <a:pt x="31" y="204"/>
                      </a:lnTo>
                      <a:lnTo>
                        <a:pt x="77" y="161"/>
                      </a:lnTo>
                      <a:lnTo>
                        <a:pt x="99" y="140"/>
                      </a:lnTo>
                      <a:lnTo>
                        <a:pt x="121" y="117"/>
                      </a:lnTo>
                      <a:lnTo>
                        <a:pt x="143" y="94"/>
                      </a:lnTo>
                      <a:lnTo>
                        <a:pt x="163" y="71"/>
                      </a:lnTo>
                      <a:lnTo>
                        <a:pt x="182" y="47"/>
                      </a:lnTo>
                      <a:lnTo>
                        <a:pt x="202" y="22"/>
                      </a:lnTo>
                      <a:lnTo>
                        <a:pt x="202" y="22"/>
                      </a:lnTo>
                      <a:lnTo>
                        <a:pt x="171" y="0"/>
                      </a:lnTo>
                      <a:lnTo>
                        <a:pt x="171" y="0"/>
                      </a:lnTo>
                      <a:lnTo>
                        <a:pt x="152" y="24"/>
                      </a:lnTo>
                      <a:lnTo>
                        <a:pt x="132" y="48"/>
                      </a:lnTo>
                      <a:lnTo>
                        <a:pt x="111" y="71"/>
                      </a:lnTo>
                      <a:lnTo>
                        <a:pt x="90" y="93"/>
                      </a:lnTo>
                      <a:lnTo>
                        <a:pt x="68" y="115"/>
                      </a:lnTo>
                      <a:lnTo>
                        <a:pt x="46" y="136"/>
                      </a:lnTo>
                      <a:lnTo>
                        <a:pt x="0" y="178"/>
                      </a:lnTo>
                      <a:lnTo>
                        <a:pt x="0" y="178"/>
                      </a:lnTo>
                      <a:lnTo>
                        <a:pt x="31" y="204"/>
                      </a:lnTo>
                      <a:lnTo>
                        <a:pt x="31" y="20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endParaRPr lang="en-US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02F99401-685C-4DD0-86BC-3DE634BFE368}"/>
                  </a:ext>
                </a:extLst>
              </p:cNvPr>
              <p:cNvSpPr/>
              <p:nvPr/>
            </p:nvSpPr>
            <p:spPr bwMode="auto">
              <a:xfrm>
                <a:off x="6034881" y="2368549"/>
                <a:ext cx="2316162" cy="3778250"/>
              </a:xfrm>
              <a:custGeom>
                <a:avLst/>
                <a:gdLst>
                  <a:gd name="T0" fmla="*/ 257 w 1459"/>
                  <a:gd name="T1" fmla="*/ 88 h 2380"/>
                  <a:gd name="T2" fmla="*/ 449 w 1459"/>
                  <a:gd name="T3" fmla="*/ 113 h 2380"/>
                  <a:gd name="T4" fmla="*/ 472 w 1459"/>
                  <a:gd name="T5" fmla="*/ 124 h 2380"/>
                  <a:gd name="T6" fmla="*/ 437 w 1459"/>
                  <a:gd name="T7" fmla="*/ 141 h 2380"/>
                  <a:gd name="T8" fmla="*/ 248 w 1459"/>
                  <a:gd name="T9" fmla="*/ 186 h 2380"/>
                  <a:gd name="T10" fmla="*/ 72 w 1459"/>
                  <a:gd name="T11" fmla="*/ 237 h 2380"/>
                  <a:gd name="T12" fmla="*/ 41 w 1459"/>
                  <a:gd name="T13" fmla="*/ 271 h 2380"/>
                  <a:gd name="T14" fmla="*/ 56 w 1459"/>
                  <a:gd name="T15" fmla="*/ 301 h 2380"/>
                  <a:gd name="T16" fmla="*/ 192 w 1459"/>
                  <a:gd name="T17" fmla="*/ 342 h 2380"/>
                  <a:gd name="T18" fmla="*/ 579 w 1459"/>
                  <a:gd name="T19" fmla="*/ 406 h 2380"/>
                  <a:gd name="T20" fmla="*/ 950 w 1459"/>
                  <a:gd name="T21" fmla="*/ 494 h 2380"/>
                  <a:gd name="T22" fmla="*/ 1146 w 1459"/>
                  <a:gd name="T23" fmla="*/ 571 h 2380"/>
                  <a:gd name="T24" fmla="*/ 1264 w 1459"/>
                  <a:gd name="T25" fmla="*/ 644 h 2380"/>
                  <a:gd name="T26" fmla="*/ 1379 w 1459"/>
                  <a:gd name="T27" fmla="*/ 772 h 2380"/>
                  <a:gd name="T28" fmla="*/ 1411 w 1459"/>
                  <a:gd name="T29" fmla="*/ 842 h 2380"/>
                  <a:gd name="T30" fmla="*/ 1422 w 1459"/>
                  <a:gd name="T31" fmla="*/ 920 h 2380"/>
                  <a:gd name="T32" fmla="*/ 1401 w 1459"/>
                  <a:gd name="T33" fmla="*/ 1022 h 2380"/>
                  <a:gd name="T34" fmla="*/ 1329 w 1459"/>
                  <a:gd name="T35" fmla="*/ 1140 h 2380"/>
                  <a:gd name="T36" fmla="*/ 1041 w 1459"/>
                  <a:gd name="T37" fmla="*/ 1480 h 2380"/>
                  <a:gd name="T38" fmla="*/ 462 w 1459"/>
                  <a:gd name="T39" fmla="*/ 2074 h 2380"/>
                  <a:gd name="T40" fmla="*/ 139 w 1459"/>
                  <a:gd name="T41" fmla="*/ 2380 h 2380"/>
                  <a:gd name="T42" fmla="*/ 557 w 1459"/>
                  <a:gd name="T43" fmla="*/ 2068 h 2380"/>
                  <a:gd name="T44" fmla="*/ 1045 w 1459"/>
                  <a:gd name="T45" fmla="*/ 1542 h 2380"/>
                  <a:gd name="T46" fmla="*/ 1358 w 1459"/>
                  <a:gd name="T47" fmla="*/ 1168 h 2380"/>
                  <a:gd name="T48" fmla="*/ 1430 w 1459"/>
                  <a:gd name="T49" fmla="*/ 1055 h 2380"/>
                  <a:gd name="T50" fmla="*/ 1457 w 1459"/>
                  <a:gd name="T51" fmla="*/ 950 h 2380"/>
                  <a:gd name="T52" fmla="*/ 1453 w 1459"/>
                  <a:gd name="T53" fmla="*/ 862 h 2380"/>
                  <a:gd name="T54" fmla="*/ 1418 w 1459"/>
                  <a:gd name="T55" fmla="*/ 770 h 2380"/>
                  <a:gd name="T56" fmla="*/ 1331 w 1459"/>
                  <a:gd name="T57" fmla="*/ 659 h 2380"/>
                  <a:gd name="T58" fmla="*/ 1210 w 1459"/>
                  <a:gd name="T59" fmla="*/ 571 h 2380"/>
                  <a:gd name="T60" fmla="*/ 1028 w 1459"/>
                  <a:gd name="T61" fmla="*/ 492 h 2380"/>
                  <a:gd name="T62" fmla="*/ 666 w 1459"/>
                  <a:gd name="T63" fmla="*/ 401 h 2380"/>
                  <a:gd name="T64" fmla="*/ 235 w 1459"/>
                  <a:gd name="T65" fmla="*/ 335 h 2380"/>
                  <a:gd name="T66" fmla="*/ 69 w 1459"/>
                  <a:gd name="T67" fmla="*/ 297 h 2380"/>
                  <a:gd name="T68" fmla="*/ 50 w 1459"/>
                  <a:gd name="T69" fmla="*/ 276 h 2380"/>
                  <a:gd name="T70" fmla="*/ 68 w 1459"/>
                  <a:gd name="T71" fmla="*/ 250 h 2380"/>
                  <a:gd name="T72" fmla="*/ 211 w 1459"/>
                  <a:gd name="T73" fmla="*/ 200 h 2380"/>
                  <a:gd name="T74" fmla="*/ 438 w 1459"/>
                  <a:gd name="T75" fmla="*/ 144 h 2380"/>
                  <a:gd name="T76" fmla="*/ 473 w 1459"/>
                  <a:gd name="T77" fmla="*/ 127 h 2380"/>
                  <a:gd name="T78" fmla="*/ 461 w 1459"/>
                  <a:gd name="T79" fmla="*/ 114 h 2380"/>
                  <a:gd name="T80" fmla="*/ 340 w 1459"/>
                  <a:gd name="T81" fmla="*/ 95 h 2380"/>
                  <a:gd name="T82" fmla="*/ 67 w 1459"/>
                  <a:gd name="T83" fmla="*/ 72 h 2380"/>
                  <a:gd name="T84" fmla="*/ 1 w 1459"/>
                  <a:gd name="T85" fmla="*/ 60 h 2380"/>
                  <a:gd name="T86" fmla="*/ 18 w 1459"/>
                  <a:gd name="T87" fmla="*/ 49 h 2380"/>
                  <a:gd name="T88" fmla="*/ 141 w 1459"/>
                  <a:gd name="T89" fmla="*/ 31 h 2380"/>
                  <a:gd name="T90" fmla="*/ 202 w 1459"/>
                  <a:gd name="T91" fmla="*/ 27 h 2380"/>
                  <a:gd name="T92" fmla="*/ 234 w 1459"/>
                  <a:gd name="T93" fmla="*/ 17 h 2380"/>
                  <a:gd name="T94" fmla="*/ 200 w 1459"/>
                  <a:gd name="T95" fmla="*/ 7 h 2380"/>
                  <a:gd name="T96" fmla="*/ 145 w 1459"/>
                  <a:gd name="T97" fmla="*/ 1 h 2380"/>
                  <a:gd name="T98" fmla="*/ 126 w 1459"/>
                  <a:gd name="T99" fmla="*/ 0 h 2380"/>
                  <a:gd name="T100" fmla="*/ 200 w 1459"/>
                  <a:gd name="T101" fmla="*/ 7 h 2380"/>
                  <a:gd name="T102" fmla="*/ 233 w 1459"/>
                  <a:gd name="T103" fmla="*/ 16 h 2380"/>
                  <a:gd name="T104" fmla="*/ 213 w 1459"/>
                  <a:gd name="T105" fmla="*/ 24 h 2380"/>
                  <a:gd name="T106" fmla="*/ 141 w 1459"/>
                  <a:gd name="T107" fmla="*/ 31 h 2380"/>
                  <a:gd name="T108" fmla="*/ 18 w 1459"/>
                  <a:gd name="T109" fmla="*/ 49 h 2380"/>
                  <a:gd name="T110" fmla="*/ 1 w 1459"/>
                  <a:gd name="T111" fmla="*/ 60 h 23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59" h="2380">
                    <a:moveTo>
                      <a:pt x="33" y="69"/>
                    </a:moveTo>
                    <a:lnTo>
                      <a:pt x="33" y="69"/>
                    </a:lnTo>
                    <a:lnTo>
                      <a:pt x="102" y="75"/>
                    </a:lnTo>
                    <a:lnTo>
                      <a:pt x="102" y="75"/>
                    </a:lnTo>
                    <a:lnTo>
                      <a:pt x="178" y="82"/>
                    </a:lnTo>
                    <a:lnTo>
                      <a:pt x="257" y="88"/>
                    </a:lnTo>
                    <a:lnTo>
                      <a:pt x="257" y="88"/>
                    </a:lnTo>
                    <a:lnTo>
                      <a:pt x="338" y="96"/>
                    </a:lnTo>
                    <a:lnTo>
                      <a:pt x="382" y="101"/>
                    </a:lnTo>
                    <a:lnTo>
                      <a:pt x="427" y="108"/>
                    </a:lnTo>
                    <a:lnTo>
                      <a:pt x="427" y="108"/>
                    </a:lnTo>
                    <a:lnTo>
                      <a:pt x="449" y="113"/>
                    </a:lnTo>
                    <a:lnTo>
                      <a:pt x="460" y="117"/>
                    </a:lnTo>
                    <a:lnTo>
                      <a:pt x="466" y="119"/>
                    </a:lnTo>
                    <a:lnTo>
                      <a:pt x="469" y="121"/>
                    </a:lnTo>
                    <a:lnTo>
                      <a:pt x="469" y="121"/>
                    </a:lnTo>
                    <a:lnTo>
                      <a:pt x="471" y="122"/>
                    </a:lnTo>
                    <a:lnTo>
                      <a:pt x="472" y="124"/>
                    </a:lnTo>
                    <a:lnTo>
                      <a:pt x="471" y="125"/>
                    </a:lnTo>
                    <a:lnTo>
                      <a:pt x="469" y="128"/>
                    </a:lnTo>
                    <a:lnTo>
                      <a:pt x="469" y="128"/>
                    </a:lnTo>
                    <a:lnTo>
                      <a:pt x="462" y="132"/>
                    </a:lnTo>
                    <a:lnTo>
                      <a:pt x="454" y="135"/>
                    </a:lnTo>
                    <a:lnTo>
                      <a:pt x="437" y="141"/>
                    </a:lnTo>
                    <a:lnTo>
                      <a:pt x="437" y="141"/>
                    </a:lnTo>
                    <a:lnTo>
                      <a:pt x="415" y="149"/>
                    </a:lnTo>
                    <a:lnTo>
                      <a:pt x="392" y="154"/>
                    </a:lnTo>
                    <a:lnTo>
                      <a:pt x="346" y="165"/>
                    </a:lnTo>
                    <a:lnTo>
                      <a:pt x="346" y="165"/>
                    </a:lnTo>
                    <a:lnTo>
                      <a:pt x="248" y="186"/>
                    </a:lnTo>
                    <a:lnTo>
                      <a:pt x="204" y="196"/>
                    </a:lnTo>
                    <a:lnTo>
                      <a:pt x="163" y="205"/>
                    </a:lnTo>
                    <a:lnTo>
                      <a:pt x="127" y="215"/>
                    </a:lnTo>
                    <a:lnTo>
                      <a:pt x="97" y="226"/>
                    </a:lnTo>
                    <a:lnTo>
                      <a:pt x="84" y="231"/>
                    </a:lnTo>
                    <a:lnTo>
                      <a:pt x="72" y="237"/>
                    </a:lnTo>
                    <a:lnTo>
                      <a:pt x="62" y="243"/>
                    </a:lnTo>
                    <a:lnTo>
                      <a:pt x="53" y="250"/>
                    </a:lnTo>
                    <a:lnTo>
                      <a:pt x="53" y="250"/>
                    </a:lnTo>
                    <a:lnTo>
                      <a:pt x="47" y="256"/>
                    </a:lnTo>
                    <a:lnTo>
                      <a:pt x="44" y="263"/>
                    </a:lnTo>
                    <a:lnTo>
                      <a:pt x="41" y="271"/>
                    </a:lnTo>
                    <a:lnTo>
                      <a:pt x="41" y="277"/>
                    </a:lnTo>
                    <a:lnTo>
                      <a:pt x="42" y="284"/>
                    </a:lnTo>
                    <a:lnTo>
                      <a:pt x="46" y="290"/>
                    </a:lnTo>
                    <a:lnTo>
                      <a:pt x="50" y="297"/>
                    </a:lnTo>
                    <a:lnTo>
                      <a:pt x="56" y="301"/>
                    </a:lnTo>
                    <a:lnTo>
                      <a:pt x="56" y="301"/>
                    </a:lnTo>
                    <a:lnTo>
                      <a:pt x="63" y="306"/>
                    </a:lnTo>
                    <a:lnTo>
                      <a:pt x="72" y="310"/>
                    </a:lnTo>
                    <a:lnTo>
                      <a:pt x="94" y="319"/>
                    </a:lnTo>
                    <a:lnTo>
                      <a:pt x="123" y="327"/>
                    </a:lnTo>
                    <a:lnTo>
                      <a:pt x="155" y="334"/>
                    </a:lnTo>
                    <a:lnTo>
                      <a:pt x="192" y="342"/>
                    </a:lnTo>
                    <a:lnTo>
                      <a:pt x="233" y="349"/>
                    </a:lnTo>
                    <a:lnTo>
                      <a:pt x="324" y="364"/>
                    </a:lnTo>
                    <a:lnTo>
                      <a:pt x="324" y="364"/>
                    </a:lnTo>
                    <a:lnTo>
                      <a:pt x="414" y="378"/>
                    </a:lnTo>
                    <a:lnTo>
                      <a:pt x="521" y="396"/>
                    </a:lnTo>
                    <a:lnTo>
                      <a:pt x="579" y="406"/>
                    </a:lnTo>
                    <a:lnTo>
                      <a:pt x="639" y="418"/>
                    </a:lnTo>
                    <a:lnTo>
                      <a:pt x="701" y="430"/>
                    </a:lnTo>
                    <a:lnTo>
                      <a:pt x="764" y="444"/>
                    </a:lnTo>
                    <a:lnTo>
                      <a:pt x="826" y="460"/>
                    </a:lnTo>
                    <a:lnTo>
                      <a:pt x="889" y="476"/>
                    </a:lnTo>
                    <a:lnTo>
                      <a:pt x="950" y="494"/>
                    </a:lnTo>
                    <a:lnTo>
                      <a:pt x="1010" y="514"/>
                    </a:lnTo>
                    <a:lnTo>
                      <a:pt x="1038" y="524"/>
                    </a:lnTo>
                    <a:lnTo>
                      <a:pt x="1066" y="535"/>
                    </a:lnTo>
                    <a:lnTo>
                      <a:pt x="1093" y="546"/>
                    </a:lnTo>
                    <a:lnTo>
                      <a:pt x="1120" y="559"/>
                    </a:lnTo>
                    <a:lnTo>
                      <a:pt x="1146" y="571"/>
                    </a:lnTo>
                    <a:lnTo>
                      <a:pt x="1170" y="584"/>
                    </a:lnTo>
                    <a:lnTo>
                      <a:pt x="1193" y="597"/>
                    </a:lnTo>
                    <a:lnTo>
                      <a:pt x="1216" y="610"/>
                    </a:lnTo>
                    <a:lnTo>
                      <a:pt x="1216" y="610"/>
                    </a:lnTo>
                    <a:lnTo>
                      <a:pt x="1241" y="627"/>
                    </a:lnTo>
                    <a:lnTo>
                      <a:pt x="1264" y="644"/>
                    </a:lnTo>
                    <a:lnTo>
                      <a:pt x="1286" y="662"/>
                    </a:lnTo>
                    <a:lnTo>
                      <a:pt x="1308" y="682"/>
                    </a:lnTo>
                    <a:lnTo>
                      <a:pt x="1327" y="703"/>
                    </a:lnTo>
                    <a:lnTo>
                      <a:pt x="1346" y="725"/>
                    </a:lnTo>
                    <a:lnTo>
                      <a:pt x="1364" y="748"/>
                    </a:lnTo>
                    <a:lnTo>
                      <a:pt x="1379" y="772"/>
                    </a:lnTo>
                    <a:lnTo>
                      <a:pt x="1379" y="772"/>
                    </a:lnTo>
                    <a:lnTo>
                      <a:pt x="1387" y="786"/>
                    </a:lnTo>
                    <a:lnTo>
                      <a:pt x="1394" y="800"/>
                    </a:lnTo>
                    <a:lnTo>
                      <a:pt x="1400" y="815"/>
                    </a:lnTo>
                    <a:lnTo>
                      <a:pt x="1405" y="828"/>
                    </a:lnTo>
                    <a:lnTo>
                      <a:pt x="1411" y="842"/>
                    </a:lnTo>
                    <a:lnTo>
                      <a:pt x="1414" y="855"/>
                    </a:lnTo>
                    <a:lnTo>
                      <a:pt x="1418" y="869"/>
                    </a:lnTo>
                    <a:lnTo>
                      <a:pt x="1420" y="882"/>
                    </a:lnTo>
                    <a:lnTo>
                      <a:pt x="1421" y="895"/>
                    </a:lnTo>
                    <a:lnTo>
                      <a:pt x="1422" y="908"/>
                    </a:lnTo>
                    <a:lnTo>
                      <a:pt x="1422" y="920"/>
                    </a:lnTo>
                    <a:lnTo>
                      <a:pt x="1421" y="933"/>
                    </a:lnTo>
                    <a:lnTo>
                      <a:pt x="1418" y="960"/>
                    </a:lnTo>
                    <a:lnTo>
                      <a:pt x="1412" y="985"/>
                    </a:lnTo>
                    <a:lnTo>
                      <a:pt x="1412" y="985"/>
                    </a:lnTo>
                    <a:lnTo>
                      <a:pt x="1405" y="1010"/>
                    </a:lnTo>
                    <a:lnTo>
                      <a:pt x="1401" y="1022"/>
                    </a:lnTo>
                    <a:lnTo>
                      <a:pt x="1396" y="1036"/>
                    </a:lnTo>
                    <a:lnTo>
                      <a:pt x="1389" y="1049"/>
                    </a:lnTo>
                    <a:lnTo>
                      <a:pt x="1381" y="1063"/>
                    </a:lnTo>
                    <a:lnTo>
                      <a:pt x="1371" y="1080"/>
                    </a:lnTo>
                    <a:lnTo>
                      <a:pt x="1359" y="1097"/>
                    </a:lnTo>
                    <a:lnTo>
                      <a:pt x="1329" y="1140"/>
                    </a:lnTo>
                    <a:lnTo>
                      <a:pt x="1285" y="1194"/>
                    </a:lnTo>
                    <a:lnTo>
                      <a:pt x="1227" y="1264"/>
                    </a:lnTo>
                    <a:lnTo>
                      <a:pt x="1154" y="1351"/>
                    </a:lnTo>
                    <a:lnTo>
                      <a:pt x="1154" y="1351"/>
                    </a:lnTo>
                    <a:lnTo>
                      <a:pt x="1098" y="1416"/>
                    </a:lnTo>
                    <a:lnTo>
                      <a:pt x="1041" y="1480"/>
                    </a:lnTo>
                    <a:lnTo>
                      <a:pt x="968" y="1559"/>
                    </a:lnTo>
                    <a:lnTo>
                      <a:pt x="862" y="1668"/>
                    </a:lnTo>
                    <a:lnTo>
                      <a:pt x="862" y="1668"/>
                    </a:lnTo>
                    <a:lnTo>
                      <a:pt x="627" y="1908"/>
                    </a:lnTo>
                    <a:lnTo>
                      <a:pt x="538" y="1999"/>
                    </a:lnTo>
                    <a:lnTo>
                      <a:pt x="462" y="2074"/>
                    </a:lnTo>
                    <a:lnTo>
                      <a:pt x="394" y="2141"/>
                    </a:lnTo>
                    <a:lnTo>
                      <a:pt x="327" y="2206"/>
                    </a:lnTo>
                    <a:lnTo>
                      <a:pt x="257" y="2271"/>
                    </a:lnTo>
                    <a:lnTo>
                      <a:pt x="179" y="2344"/>
                    </a:lnTo>
                    <a:lnTo>
                      <a:pt x="179" y="2344"/>
                    </a:lnTo>
                    <a:lnTo>
                      <a:pt x="139" y="2380"/>
                    </a:lnTo>
                    <a:lnTo>
                      <a:pt x="237" y="2380"/>
                    </a:lnTo>
                    <a:lnTo>
                      <a:pt x="237" y="2380"/>
                    </a:lnTo>
                    <a:lnTo>
                      <a:pt x="332" y="2291"/>
                    </a:lnTo>
                    <a:lnTo>
                      <a:pt x="413" y="2213"/>
                    </a:lnTo>
                    <a:lnTo>
                      <a:pt x="487" y="2139"/>
                    </a:lnTo>
                    <a:lnTo>
                      <a:pt x="557" y="2068"/>
                    </a:lnTo>
                    <a:lnTo>
                      <a:pt x="629" y="1992"/>
                    </a:lnTo>
                    <a:lnTo>
                      <a:pt x="707" y="1908"/>
                    </a:lnTo>
                    <a:lnTo>
                      <a:pt x="899" y="1702"/>
                    </a:lnTo>
                    <a:lnTo>
                      <a:pt x="899" y="1702"/>
                    </a:lnTo>
                    <a:lnTo>
                      <a:pt x="978" y="1617"/>
                    </a:lnTo>
                    <a:lnTo>
                      <a:pt x="1045" y="1542"/>
                    </a:lnTo>
                    <a:lnTo>
                      <a:pt x="1111" y="1467"/>
                    </a:lnTo>
                    <a:lnTo>
                      <a:pt x="1186" y="1379"/>
                    </a:lnTo>
                    <a:lnTo>
                      <a:pt x="1186" y="1379"/>
                    </a:lnTo>
                    <a:lnTo>
                      <a:pt x="1258" y="1293"/>
                    </a:lnTo>
                    <a:lnTo>
                      <a:pt x="1315" y="1223"/>
                    </a:lnTo>
                    <a:lnTo>
                      <a:pt x="1358" y="1168"/>
                    </a:lnTo>
                    <a:lnTo>
                      <a:pt x="1376" y="1144"/>
                    </a:lnTo>
                    <a:lnTo>
                      <a:pt x="1391" y="1124"/>
                    </a:lnTo>
                    <a:lnTo>
                      <a:pt x="1403" y="1104"/>
                    </a:lnTo>
                    <a:lnTo>
                      <a:pt x="1414" y="1086"/>
                    </a:lnTo>
                    <a:lnTo>
                      <a:pt x="1423" y="1071"/>
                    </a:lnTo>
                    <a:lnTo>
                      <a:pt x="1430" y="1055"/>
                    </a:lnTo>
                    <a:lnTo>
                      <a:pt x="1436" y="1040"/>
                    </a:lnTo>
                    <a:lnTo>
                      <a:pt x="1442" y="1026"/>
                    </a:lnTo>
                    <a:lnTo>
                      <a:pt x="1449" y="995"/>
                    </a:lnTo>
                    <a:lnTo>
                      <a:pt x="1449" y="995"/>
                    </a:lnTo>
                    <a:lnTo>
                      <a:pt x="1456" y="965"/>
                    </a:lnTo>
                    <a:lnTo>
                      <a:pt x="1457" y="950"/>
                    </a:lnTo>
                    <a:lnTo>
                      <a:pt x="1458" y="936"/>
                    </a:lnTo>
                    <a:lnTo>
                      <a:pt x="1459" y="921"/>
                    </a:lnTo>
                    <a:lnTo>
                      <a:pt x="1459" y="906"/>
                    </a:lnTo>
                    <a:lnTo>
                      <a:pt x="1457" y="892"/>
                    </a:lnTo>
                    <a:lnTo>
                      <a:pt x="1456" y="876"/>
                    </a:lnTo>
                    <a:lnTo>
                      <a:pt x="1453" y="862"/>
                    </a:lnTo>
                    <a:lnTo>
                      <a:pt x="1449" y="847"/>
                    </a:lnTo>
                    <a:lnTo>
                      <a:pt x="1445" y="831"/>
                    </a:lnTo>
                    <a:lnTo>
                      <a:pt x="1440" y="816"/>
                    </a:lnTo>
                    <a:lnTo>
                      <a:pt x="1433" y="800"/>
                    </a:lnTo>
                    <a:lnTo>
                      <a:pt x="1426" y="785"/>
                    </a:lnTo>
                    <a:lnTo>
                      <a:pt x="1418" y="770"/>
                    </a:lnTo>
                    <a:lnTo>
                      <a:pt x="1409" y="754"/>
                    </a:lnTo>
                    <a:lnTo>
                      <a:pt x="1409" y="754"/>
                    </a:lnTo>
                    <a:lnTo>
                      <a:pt x="1391" y="728"/>
                    </a:lnTo>
                    <a:lnTo>
                      <a:pt x="1372" y="704"/>
                    </a:lnTo>
                    <a:lnTo>
                      <a:pt x="1353" y="681"/>
                    </a:lnTo>
                    <a:lnTo>
                      <a:pt x="1331" y="659"/>
                    </a:lnTo>
                    <a:lnTo>
                      <a:pt x="1308" y="639"/>
                    </a:lnTo>
                    <a:lnTo>
                      <a:pt x="1283" y="619"/>
                    </a:lnTo>
                    <a:lnTo>
                      <a:pt x="1258" y="601"/>
                    </a:lnTo>
                    <a:lnTo>
                      <a:pt x="1232" y="585"/>
                    </a:lnTo>
                    <a:lnTo>
                      <a:pt x="1232" y="585"/>
                    </a:lnTo>
                    <a:lnTo>
                      <a:pt x="1210" y="571"/>
                    </a:lnTo>
                    <a:lnTo>
                      <a:pt x="1187" y="559"/>
                    </a:lnTo>
                    <a:lnTo>
                      <a:pt x="1163" y="546"/>
                    </a:lnTo>
                    <a:lnTo>
                      <a:pt x="1137" y="534"/>
                    </a:lnTo>
                    <a:lnTo>
                      <a:pt x="1111" y="523"/>
                    </a:lnTo>
                    <a:lnTo>
                      <a:pt x="1084" y="512"/>
                    </a:lnTo>
                    <a:lnTo>
                      <a:pt x="1028" y="492"/>
                    </a:lnTo>
                    <a:lnTo>
                      <a:pt x="971" y="473"/>
                    </a:lnTo>
                    <a:lnTo>
                      <a:pt x="912" y="456"/>
                    </a:lnTo>
                    <a:lnTo>
                      <a:pt x="850" y="441"/>
                    </a:lnTo>
                    <a:lnTo>
                      <a:pt x="789" y="427"/>
                    </a:lnTo>
                    <a:lnTo>
                      <a:pt x="727" y="413"/>
                    </a:lnTo>
                    <a:lnTo>
                      <a:pt x="666" y="401"/>
                    </a:lnTo>
                    <a:lnTo>
                      <a:pt x="604" y="391"/>
                    </a:lnTo>
                    <a:lnTo>
                      <a:pt x="545" y="382"/>
                    </a:lnTo>
                    <a:lnTo>
                      <a:pt x="430" y="364"/>
                    </a:lnTo>
                    <a:lnTo>
                      <a:pt x="326" y="350"/>
                    </a:lnTo>
                    <a:lnTo>
                      <a:pt x="326" y="350"/>
                    </a:lnTo>
                    <a:lnTo>
                      <a:pt x="235" y="335"/>
                    </a:lnTo>
                    <a:lnTo>
                      <a:pt x="194" y="329"/>
                    </a:lnTo>
                    <a:lnTo>
                      <a:pt x="157" y="322"/>
                    </a:lnTo>
                    <a:lnTo>
                      <a:pt x="125" y="316"/>
                    </a:lnTo>
                    <a:lnTo>
                      <a:pt x="99" y="309"/>
                    </a:lnTo>
                    <a:lnTo>
                      <a:pt x="77" y="301"/>
                    </a:lnTo>
                    <a:lnTo>
                      <a:pt x="69" y="297"/>
                    </a:lnTo>
                    <a:lnTo>
                      <a:pt x="61" y="294"/>
                    </a:lnTo>
                    <a:lnTo>
                      <a:pt x="61" y="294"/>
                    </a:lnTo>
                    <a:lnTo>
                      <a:pt x="57" y="289"/>
                    </a:lnTo>
                    <a:lnTo>
                      <a:pt x="53" y="285"/>
                    </a:lnTo>
                    <a:lnTo>
                      <a:pt x="51" y="280"/>
                    </a:lnTo>
                    <a:lnTo>
                      <a:pt x="50" y="276"/>
                    </a:lnTo>
                    <a:lnTo>
                      <a:pt x="50" y="271"/>
                    </a:lnTo>
                    <a:lnTo>
                      <a:pt x="52" y="266"/>
                    </a:lnTo>
                    <a:lnTo>
                      <a:pt x="56" y="261"/>
                    </a:lnTo>
                    <a:lnTo>
                      <a:pt x="60" y="255"/>
                    </a:lnTo>
                    <a:lnTo>
                      <a:pt x="60" y="255"/>
                    </a:lnTo>
                    <a:lnTo>
                      <a:pt x="68" y="250"/>
                    </a:lnTo>
                    <a:lnTo>
                      <a:pt x="78" y="243"/>
                    </a:lnTo>
                    <a:lnTo>
                      <a:pt x="90" y="238"/>
                    </a:lnTo>
                    <a:lnTo>
                      <a:pt x="103" y="231"/>
                    </a:lnTo>
                    <a:lnTo>
                      <a:pt x="134" y="220"/>
                    </a:lnTo>
                    <a:lnTo>
                      <a:pt x="170" y="210"/>
                    </a:lnTo>
                    <a:lnTo>
                      <a:pt x="211" y="200"/>
                    </a:lnTo>
                    <a:lnTo>
                      <a:pt x="254" y="190"/>
                    </a:lnTo>
                    <a:lnTo>
                      <a:pt x="347" y="168"/>
                    </a:lnTo>
                    <a:lnTo>
                      <a:pt x="347" y="168"/>
                    </a:lnTo>
                    <a:lnTo>
                      <a:pt x="393" y="157"/>
                    </a:lnTo>
                    <a:lnTo>
                      <a:pt x="416" y="151"/>
                    </a:lnTo>
                    <a:lnTo>
                      <a:pt x="438" y="144"/>
                    </a:lnTo>
                    <a:lnTo>
                      <a:pt x="438" y="144"/>
                    </a:lnTo>
                    <a:lnTo>
                      <a:pt x="455" y="138"/>
                    </a:lnTo>
                    <a:lnTo>
                      <a:pt x="463" y="134"/>
                    </a:lnTo>
                    <a:lnTo>
                      <a:pt x="470" y="130"/>
                    </a:lnTo>
                    <a:lnTo>
                      <a:pt x="470" y="130"/>
                    </a:lnTo>
                    <a:lnTo>
                      <a:pt x="473" y="127"/>
                    </a:lnTo>
                    <a:lnTo>
                      <a:pt x="474" y="124"/>
                    </a:lnTo>
                    <a:lnTo>
                      <a:pt x="473" y="121"/>
                    </a:lnTo>
                    <a:lnTo>
                      <a:pt x="471" y="119"/>
                    </a:lnTo>
                    <a:lnTo>
                      <a:pt x="471" y="119"/>
                    </a:lnTo>
                    <a:lnTo>
                      <a:pt x="467" y="117"/>
                    </a:lnTo>
                    <a:lnTo>
                      <a:pt x="461" y="114"/>
                    </a:lnTo>
                    <a:lnTo>
                      <a:pt x="450" y="110"/>
                    </a:lnTo>
                    <a:lnTo>
                      <a:pt x="438" y="108"/>
                    </a:lnTo>
                    <a:lnTo>
                      <a:pt x="427" y="106"/>
                    </a:lnTo>
                    <a:lnTo>
                      <a:pt x="427" y="106"/>
                    </a:lnTo>
                    <a:lnTo>
                      <a:pt x="383" y="99"/>
                    </a:lnTo>
                    <a:lnTo>
                      <a:pt x="340" y="95"/>
                    </a:lnTo>
                    <a:lnTo>
                      <a:pt x="257" y="87"/>
                    </a:lnTo>
                    <a:lnTo>
                      <a:pt x="257" y="87"/>
                    </a:lnTo>
                    <a:lnTo>
                      <a:pt x="178" y="80"/>
                    </a:lnTo>
                    <a:lnTo>
                      <a:pt x="103" y="75"/>
                    </a:lnTo>
                    <a:lnTo>
                      <a:pt x="103" y="75"/>
                    </a:lnTo>
                    <a:lnTo>
                      <a:pt x="67" y="72"/>
                    </a:lnTo>
                    <a:lnTo>
                      <a:pt x="33" y="68"/>
                    </a:lnTo>
                    <a:lnTo>
                      <a:pt x="33" y="68"/>
                    </a:lnTo>
                    <a:lnTo>
                      <a:pt x="14" y="66"/>
                    </a:lnTo>
                    <a:lnTo>
                      <a:pt x="6" y="63"/>
                    </a:lnTo>
                    <a:lnTo>
                      <a:pt x="3" y="62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0" y="57"/>
                    </a:lnTo>
                    <a:lnTo>
                      <a:pt x="2" y="55"/>
                    </a:lnTo>
                    <a:lnTo>
                      <a:pt x="5" y="53"/>
                    </a:lnTo>
                    <a:lnTo>
                      <a:pt x="9" y="52"/>
                    </a:lnTo>
                    <a:lnTo>
                      <a:pt x="18" y="49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57" y="41"/>
                    </a:lnTo>
                    <a:lnTo>
                      <a:pt x="86" y="38"/>
                    </a:lnTo>
                    <a:lnTo>
                      <a:pt x="86" y="38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202" y="27"/>
                    </a:lnTo>
                    <a:lnTo>
                      <a:pt x="215" y="24"/>
                    </a:lnTo>
                    <a:lnTo>
                      <a:pt x="226" y="22"/>
                    </a:lnTo>
                    <a:lnTo>
                      <a:pt x="230" y="20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34" y="17"/>
                    </a:lnTo>
                    <a:lnTo>
                      <a:pt x="233" y="16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25" y="11"/>
                    </a:lnTo>
                    <a:lnTo>
                      <a:pt x="216" y="9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45" y="1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13" y="0"/>
                    </a:lnTo>
                    <a:lnTo>
                      <a:pt x="113" y="0"/>
                    </a:lnTo>
                    <a:lnTo>
                      <a:pt x="126" y="0"/>
                    </a:lnTo>
                    <a:lnTo>
                      <a:pt x="126" y="0"/>
                    </a:lnTo>
                    <a:lnTo>
                      <a:pt x="145" y="1"/>
                    </a:lnTo>
                    <a:lnTo>
                      <a:pt x="169" y="2"/>
                    </a:lnTo>
                    <a:lnTo>
                      <a:pt x="169" y="2"/>
                    </a:lnTo>
                    <a:lnTo>
                      <a:pt x="183" y="5"/>
                    </a:lnTo>
                    <a:lnTo>
                      <a:pt x="183" y="5"/>
                    </a:lnTo>
                    <a:lnTo>
                      <a:pt x="200" y="7"/>
                    </a:lnTo>
                    <a:lnTo>
                      <a:pt x="200" y="7"/>
                    </a:lnTo>
                    <a:lnTo>
                      <a:pt x="216" y="9"/>
                    </a:lnTo>
                    <a:lnTo>
                      <a:pt x="225" y="11"/>
                    </a:lnTo>
                    <a:lnTo>
                      <a:pt x="232" y="14"/>
                    </a:lnTo>
                    <a:lnTo>
                      <a:pt x="232" y="14"/>
                    </a:lnTo>
                    <a:lnTo>
                      <a:pt x="233" y="16"/>
                    </a:lnTo>
                    <a:lnTo>
                      <a:pt x="234" y="17"/>
                    </a:lnTo>
                    <a:lnTo>
                      <a:pt x="233" y="19"/>
                    </a:lnTo>
                    <a:lnTo>
                      <a:pt x="233" y="19"/>
                    </a:lnTo>
                    <a:lnTo>
                      <a:pt x="229" y="20"/>
                    </a:lnTo>
                    <a:lnTo>
                      <a:pt x="225" y="22"/>
                    </a:lnTo>
                    <a:lnTo>
                      <a:pt x="213" y="24"/>
                    </a:lnTo>
                    <a:lnTo>
                      <a:pt x="191" y="28"/>
                    </a:lnTo>
                    <a:lnTo>
                      <a:pt x="191" y="28"/>
                    </a:lnTo>
                    <a:lnTo>
                      <a:pt x="167" y="29"/>
                    </a:lnTo>
                    <a:lnTo>
                      <a:pt x="167" y="29"/>
                    </a:lnTo>
                    <a:lnTo>
                      <a:pt x="141" y="31"/>
                    </a:lnTo>
                    <a:lnTo>
                      <a:pt x="141" y="31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57" y="41"/>
                    </a:lnTo>
                    <a:lnTo>
                      <a:pt x="27" y="46"/>
                    </a:lnTo>
                    <a:lnTo>
                      <a:pt x="27" y="46"/>
                    </a:lnTo>
                    <a:lnTo>
                      <a:pt x="18" y="49"/>
                    </a:lnTo>
                    <a:lnTo>
                      <a:pt x="8" y="51"/>
                    </a:lnTo>
                    <a:lnTo>
                      <a:pt x="4" y="53"/>
                    </a:lnTo>
                    <a:lnTo>
                      <a:pt x="1" y="55"/>
                    </a:lnTo>
                    <a:lnTo>
                      <a:pt x="0" y="57"/>
                    </a:lnTo>
                    <a:lnTo>
                      <a:pt x="1" y="60"/>
                    </a:lnTo>
                    <a:lnTo>
                      <a:pt x="1" y="60"/>
                    </a:lnTo>
                    <a:lnTo>
                      <a:pt x="3" y="62"/>
                    </a:lnTo>
                    <a:lnTo>
                      <a:pt x="6" y="64"/>
                    </a:lnTo>
                    <a:lnTo>
                      <a:pt x="15" y="66"/>
                    </a:lnTo>
                    <a:lnTo>
                      <a:pt x="33" y="69"/>
                    </a:lnTo>
                    <a:lnTo>
                      <a:pt x="33" y="6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E6B0C7B-9C91-4DE6-9BFF-D78B5AF8FC9F}"/>
                </a:ext>
              </a:extLst>
            </p:cNvPr>
            <p:cNvGrpSpPr/>
            <p:nvPr/>
          </p:nvGrpSpPr>
          <p:grpSpPr>
            <a:xfrm>
              <a:off x="1959474" y="5140886"/>
              <a:ext cx="2240908" cy="1005914"/>
              <a:chOff x="3134941" y="3541240"/>
              <a:chExt cx="2240908" cy="1005914"/>
            </a:xfrm>
          </p:grpSpPr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43DE2469-5C4F-4760-890A-B5B2CE4B4C3C}"/>
                  </a:ext>
                </a:extLst>
              </p:cNvPr>
              <p:cNvGrpSpPr/>
              <p:nvPr/>
            </p:nvGrpSpPr>
            <p:grpSpPr>
              <a:xfrm>
                <a:off x="3134941" y="3541240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47" name="矩形 46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8" name="文本框 47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44" name="组合 43">
                <a:extLst>
                  <a:ext uri="{FF2B5EF4-FFF2-40B4-BE49-F238E27FC236}">
                    <a16:creationId xmlns:a16="http://schemas.microsoft.com/office/drawing/2014/main" id="{24CC5A5A-ABD2-4A1E-9777-EEA637318788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45" name="椭圆 44">
                  <a:extLst>
                    <a:ext uri="{FF2B5EF4-FFF2-40B4-BE49-F238E27FC236}">
                      <a16:creationId xmlns:a16="http://schemas.microsoft.com/office/drawing/2014/main" id="{6BE530CB-FD6A-4601-B0A3-1243DF45F4C6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C6AC6544-C3A3-43B4-89CB-82D08E2CD03C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F07FCA8E-138D-4B09-AE37-5CF5EC3C1F21}"/>
                </a:ext>
              </a:extLst>
            </p:cNvPr>
            <p:cNvGrpSpPr/>
            <p:nvPr/>
          </p:nvGrpSpPr>
          <p:grpSpPr>
            <a:xfrm>
              <a:off x="4007390" y="3606106"/>
              <a:ext cx="2240908" cy="1005914"/>
              <a:chOff x="3134941" y="3541240"/>
              <a:chExt cx="2240908" cy="1005914"/>
            </a:xfrm>
          </p:grpSpPr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56D404FD-C52A-45B6-9424-83E25B71F5D8}"/>
                  </a:ext>
                </a:extLst>
              </p:cNvPr>
              <p:cNvGrpSpPr/>
              <p:nvPr/>
            </p:nvGrpSpPr>
            <p:grpSpPr>
              <a:xfrm>
                <a:off x="3134941" y="3541240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41" name="矩形 40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文本框 41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86486CC2-5E93-4D2E-80BC-76B71D836D7A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9" name="椭圆 38">
                  <a:extLst>
                    <a:ext uri="{FF2B5EF4-FFF2-40B4-BE49-F238E27FC236}">
                      <a16:creationId xmlns:a16="http://schemas.microsoft.com/office/drawing/2014/main" id="{E42C9284-D739-422D-9A57-BBF7C6DC5955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2D655768-F3A4-47C3-9239-C953AB809C94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791C4713-3D5E-4EDA-A207-D6A89562F3FC}"/>
                </a:ext>
              </a:extLst>
            </p:cNvPr>
            <p:cNvGrpSpPr/>
            <p:nvPr/>
          </p:nvGrpSpPr>
          <p:grpSpPr>
            <a:xfrm>
              <a:off x="2587299" y="1636679"/>
              <a:ext cx="2240908" cy="1005914"/>
              <a:chOff x="3134941" y="3541240"/>
              <a:chExt cx="2240908" cy="1005914"/>
            </a:xfrm>
          </p:grpSpPr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CB231A6A-24F4-45D9-A54D-6E0ED1758B1E}"/>
                  </a:ext>
                </a:extLst>
              </p:cNvPr>
              <p:cNvGrpSpPr/>
              <p:nvPr/>
            </p:nvGrpSpPr>
            <p:grpSpPr>
              <a:xfrm>
                <a:off x="3134941" y="3541240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35" name="矩形 34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r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6" name="文本框 35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B79998C7-F25F-45E6-A529-A922FD217E29}"/>
                  </a:ext>
                </a:extLst>
              </p:cNvPr>
              <p:cNvGrpSpPr/>
              <p:nvPr/>
            </p:nvGrpSpPr>
            <p:grpSpPr>
              <a:xfrm>
                <a:off x="4804337" y="3758441"/>
                <a:ext cx="571512" cy="571512"/>
                <a:chOff x="4123765" y="2164043"/>
                <a:chExt cx="457200" cy="457200"/>
              </a:xfrm>
            </p:grpSpPr>
            <p:sp>
              <p:nvSpPr>
                <p:cNvPr id="33" name="椭圆 32">
                  <a:extLst>
                    <a:ext uri="{FF2B5EF4-FFF2-40B4-BE49-F238E27FC236}">
                      <a16:creationId xmlns:a16="http://schemas.microsoft.com/office/drawing/2014/main" id="{D68F5D79-F85C-438D-80EE-1963B2FF141E}"/>
                    </a:ext>
                  </a:extLst>
                </p:cNvPr>
                <p:cNvSpPr/>
                <p:nvPr/>
              </p:nvSpPr>
              <p:spPr>
                <a:xfrm>
                  <a:off x="4123765" y="2164043"/>
                  <a:ext cx="457200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34" name="任意多边形: 形状 33">
                  <a:extLst>
                    <a:ext uri="{FF2B5EF4-FFF2-40B4-BE49-F238E27FC236}">
                      <a16:creationId xmlns:a16="http://schemas.microsoft.com/office/drawing/2014/main" id="{C86BF523-DBAA-4639-9289-82F4AC7BD7E3}"/>
                    </a:ext>
                  </a:extLst>
                </p:cNvPr>
                <p:cNvSpPr/>
                <p:nvPr/>
              </p:nvSpPr>
              <p:spPr>
                <a:xfrm>
                  <a:off x="4243855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4E057718-C525-4239-AD72-665683D64B06}"/>
                </a:ext>
              </a:extLst>
            </p:cNvPr>
            <p:cNvGrpSpPr/>
            <p:nvPr/>
          </p:nvGrpSpPr>
          <p:grpSpPr>
            <a:xfrm>
              <a:off x="6530859" y="5140886"/>
              <a:ext cx="2240904" cy="1005914"/>
              <a:chOff x="8294591" y="1717812"/>
              <a:chExt cx="2240904" cy="1005914"/>
            </a:xfrm>
          </p:grpSpPr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0DB7524A-E6F5-4152-861E-86B7F30FC7A4}"/>
                  </a:ext>
                </a:extLst>
              </p:cNvPr>
              <p:cNvGrpSpPr/>
              <p:nvPr/>
            </p:nvGrpSpPr>
            <p:grpSpPr>
              <a:xfrm>
                <a:off x="9059866" y="1717812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29" name="矩形 28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0" name="文本框 29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6" name="组合 25">
                <a:extLst>
                  <a:ext uri="{FF2B5EF4-FFF2-40B4-BE49-F238E27FC236}">
                    <a16:creationId xmlns:a16="http://schemas.microsoft.com/office/drawing/2014/main" id="{A549C12F-D854-4E06-8FCF-A6C4205D3A00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7" name="椭圆 26">
                  <a:extLst>
                    <a:ext uri="{FF2B5EF4-FFF2-40B4-BE49-F238E27FC236}">
                      <a16:creationId xmlns:a16="http://schemas.microsoft.com/office/drawing/2014/main" id="{BB32049B-DA0A-4AB6-9355-38619354BE89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8" name="任意多边形: 形状 27">
                  <a:extLst>
                    <a:ext uri="{FF2B5EF4-FFF2-40B4-BE49-F238E27FC236}">
                      <a16:creationId xmlns:a16="http://schemas.microsoft.com/office/drawing/2014/main" id="{E98F2050-1522-49DF-B318-D067AF9F1922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C854A924-9BB1-4718-8200-67BA6999696B}"/>
                </a:ext>
              </a:extLst>
            </p:cNvPr>
            <p:cNvGrpSpPr/>
            <p:nvPr/>
          </p:nvGrpSpPr>
          <p:grpSpPr>
            <a:xfrm>
              <a:off x="8068758" y="2894573"/>
              <a:ext cx="2240904" cy="1005914"/>
              <a:chOff x="8294591" y="1717812"/>
              <a:chExt cx="2240904" cy="1005914"/>
            </a:xfrm>
          </p:grpSpPr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6ED4A93D-0BDA-4420-85D6-9F9D9416AA53}"/>
                  </a:ext>
                </a:extLst>
              </p:cNvPr>
              <p:cNvGrpSpPr/>
              <p:nvPr/>
            </p:nvGrpSpPr>
            <p:grpSpPr>
              <a:xfrm>
                <a:off x="9059866" y="1717812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23" name="矩形 22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4" name="文本框 23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BF50E579-C030-4964-BB63-9F7633824DEE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21" name="椭圆 20">
                  <a:extLst>
                    <a:ext uri="{FF2B5EF4-FFF2-40B4-BE49-F238E27FC236}">
                      <a16:creationId xmlns:a16="http://schemas.microsoft.com/office/drawing/2014/main" id="{8C24ACAD-2141-4263-BC29-4D68D8CA277E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65D53B73-C802-4798-BF6C-B623813A03D9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96D15A04-39EF-4AEB-A33F-4E51C4BDF6FD}"/>
                </a:ext>
              </a:extLst>
            </p:cNvPr>
            <p:cNvGrpSpPr/>
            <p:nvPr/>
          </p:nvGrpSpPr>
          <p:grpSpPr>
            <a:xfrm>
              <a:off x="5744661" y="1254441"/>
              <a:ext cx="2240904" cy="1005914"/>
              <a:chOff x="8294591" y="1717812"/>
              <a:chExt cx="2240904" cy="1005914"/>
            </a:xfrm>
          </p:grpSpPr>
          <p:grpSp>
            <p:nvGrpSpPr>
              <p:cNvPr id="13" name="组合 12">
                <a:extLst>
                  <a:ext uri="{FF2B5EF4-FFF2-40B4-BE49-F238E27FC236}">
                    <a16:creationId xmlns:a16="http://schemas.microsoft.com/office/drawing/2014/main" id="{5F3A67EF-B149-4A51-9EE1-9E91688EA79C}"/>
                  </a:ext>
                </a:extLst>
              </p:cNvPr>
              <p:cNvGrpSpPr/>
              <p:nvPr/>
            </p:nvGrpSpPr>
            <p:grpSpPr>
              <a:xfrm>
                <a:off x="9059866" y="1717812"/>
                <a:ext cx="1475629" cy="1005914"/>
                <a:chOff x="4243853" y="2741333"/>
                <a:chExt cx="1475629" cy="1005914"/>
              </a:xfrm>
            </p:grpSpPr>
            <p:sp>
              <p:nvSpPr>
                <p:cNvPr id="17" name="矩形 16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4243855" y="2741333"/>
                  <a:ext cx="1475627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>
                    <a:lnSpc>
                      <a:spcPct val="120000"/>
                    </a:lnSpc>
                  </a:pPr>
                  <a:r>
                    <a:rPr lang="en-US" altLang="zh-CN" sz="14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4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18" name="文本框 17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4243853" y="3151522"/>
                  <a:ext cx="1475628" cy="595725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grpSp>
            <p:nvGrpSpPr>
              <p:cNvPr id="14" name="组合 13">
                <a:extLst>
                  <a:ext uri="{FF2B5EF4-FFF2-40B4-BE49-F238E27FC236}">
                    <a16:creationId xmlns:a16="http://schemas.microsoft.com/office/drawing/2014/main" id="{03F430DE-A734-4DE7-9193-E7118B9F148A}"/>
                  </a:ext>
                </a:extLst>
              </p:cNvPr>
              <p:cNvGrpSpPr/>
              <p:nvPr/>
            </p:nvGrpSpPr>
            <p:grpSpPr>
              <a:xfrm>
                <a:off x="8294591" y="1935010"/>
                <a:ext cx="571511" cy="571511"/>
                <a:chOff x="4123761" y="2164045"/>
                <a:chExt cx="457199" cy="457200"/>
              </a:xfrm>
            </p:grpSpPr>
            <p:sp>
              <p:nvSpPr>
                <p:cNvPr id="15" name="椭圆 14">
                  <a:extLst>
                    <a:ext uri="{FF2B5EF4-FFF2-40B4-BE49-F238E27FC236}">
                      <a16:creationId xmlns:a16="http://schemas.microsoft.com/office/drawing/2014/main" id="{3A3B029C-78A9-4823-89F1-DA1F35D407EC}"/>
                    </a:ext>
                  </a:extLst>
                </p:cNvPr>
                <p:cNvSpPr/>
                <p:nvPr/>
              </p:nvSpPr>
              <p:spPr>
                <a:xfrm>
                  <a:off x="4123761" y="2164045"/>
                  <a:ext cx="457199" cy="457200"/>
                </a:xfrm>
                <a:prstGeom prst="ellipse">
                  <a:avLst/>
                </a:prstGeom>
                <a:solidFill>
                  <a:schemeClr val="accent2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  <p:sp>
              <p:nvSpPr>
                <p:cNvPr id="16" name="任意多边形: 形状 15">
                  <a:extLst>
                    <a:ext uri="{FF2B5EF4-FFF2-40B4-BE49-F238E27FC236}">
                      <a16:creationId xmlns:a16="http://schemas.microsoft.com/office/drawing/2014/main" id="{78F32AAE-720C-4587-A6A7-10EB10E85D73}"/>
                    </a:ext>
                  </a:extLst>
                </p:cNvPr>
                <p:cNvSpPr/>
                <p:nvPr/>
              </p:nvSpPr>
              <p:spPr>
                <a:xfrm>
                  <a:off x="4243854" y="2308048"/>
                  <a:ext cx="217020" cy="169187"/>
                </a:xfrm>
                <a:custGeom>
                  <a:avLst/>
                  <a:gdLst>
                    <a:gd name="connsiteX0" fmla="*/ 427673 w 608989"/>
                    <a:gd name="connsiteY0" fmla="*/ 372781 h 474764"/>
                    <a:gd name="connsiteX1" fmla="*/ 393797 w 608989"/>
                    <a:gd name="connsiteY1" fmla="*/ 406614 h 474764"/>
                    <a:gd name="connsiteX2" fmla="*/ 427673 w 608989"/>
                    <a:gd name="connsiteY2" fmla="*/ 440448 h 474764"/>
                    <a:gd name="connsiteX3" fmla="*/ 461549 w 608989"/>
                    <a:gd name="connsiteY3" fmla="*/ 406614 h 474764"/>
                    <a:gd name="connsiteX4" fmla="*/ 427673 w 608989"/>
                    <a:gd name="connsiteY4" fmla="*/ 372781 h 474764"/>
                    <a:gd name="connsiteX5" fmla="*/ 149568 w 608989"/>
                    <a:gd name="connsiteY5" fmla="*/ 372781 h 474764"/>
                    <a:gd name="connsiteX6" fmla="*/ 115692 w 608989"/>
                    <a:gd name="connsiteY6" fmla="*/ 406614 h 474764"/>
                    <a:gd name="connsiteX7" fmla="*/ 149568 w 608989"/>
                    <a:gd name="connsiteY7" fmla="*/ 440448 h 474764"/>
                    <a:gd name="connsiteX8" fmla="*/ 183444 w 608989"/>
                    <a:gd name="connsiteY8" fmla="*/ 406614 h 474764"/>
                    <a:gd name="connsiteX9" fmla="*/ 149568 w 608989"/>
                    <a:gd name="connsiteY9" fmla="*/ 372781 h 474764"/>
                    <a:gd name="connsiteX10" fmla="*/ 413316 w 608989"/>
                    <a:gd name="connsiteY10" fmla="*/ 194754 h 474764"/>
                    <a:gd name="connsiteX11" fmla="*/ 413316 w 608989"/>
                    <a:gd name="connsiteY11" fmla="*/ 269348 h 474764"/>
                    <a:gd name="connsiteX12" fmla="*/ 477196 w 608989"/>
                    <a:gd name="connsiteY12" fmla="*/ 269348 h 474764"/>
                    <a:gd name="connsiteX13" fmla="*/ 483971 w 608989"/>
                    <a:gd name="connsiteY13" fmla="*/ 256137 h 474764"/>
                    <a:gd name="connsiteX14" fmla="*/ 449611 w 608989"/>
                    <a:gd name="connsiteY14" fmla="*/ 207965 h 474764"/>
                    <a:gd name="connsiteX15" fmla="*/ 424124 w 608989"/>
                    <a:gd name="connsiteY15" fmla="*/ 194754 h 474764"/>
                    <a:gd name="connsiteX16" fmla="*/ 231999 w 608989"/>
                    <a:gd name="connsiteY16" fmla="*/ 194754 h 474764"/>
                    <a:gd name="connsiteX17" fmla="*/ 205705 w 608989"/>
                    <a:gd name="connsiteY17" fmla="*/ 207321 h 474764"/>
                    <a:gd name="connsiteX18" fmla="*/ 165860 w 608989"/>
                    <a:gd name="connsiteY18" fmla="*/ 256782 h 474764"/>
                    <a:gd name="connsiteX19" fmla="*/ 171990 w 608989"/>
                    <a:gd name="connsiteY19" fmla="*/ 269348 h 474764"/>
                    <a:gd name="connsiteX20" fmla="*/ 374439 w 608989"/>
                    <a:gd name="connsiteY20" fmla="*/ 269348 h 474764"/>
                    <a:gd name="connsiteX21" fmla="*/ 374439 w 608989"/>
                    <a:gd name="connsiteY21" fmla="*/ 194754 h 474764"/>
                    <a:gd name="connsiteX22" fmla="*/ 217965 w 608989"/>
                    <a:gd name="connsiteY22" fmla="*/ 162371 h 474764"/>
                    <a:gd name="connsiteX23" fmla="*/ 442030 w 608989"/>
                    <a:gd name="connsiteY23" fmla="*/ 162371 h 474764"/>
                    <a:gd name="connsiteX24" fmla="*/ 477196 w 608989"/>
                    <a:gd name="connsiteY24" fmla="*/ 180577 h 474764"/>
                    <a:gd name="connsiteX25" fmla="*/ 524783 w 608989"/>
                    <a:gd name="connsiteY25" fmla="*/ 248243 h 474764"/>
                    <a:gd name="connsiteX26" fmla="*/ 544625 w 608989"/>
                    <a:gd name="connsiteY26" fmla="*/ 257910 h 474764"/>
                    <a:gd name="connsiteX27" fmla="*/ 550594 w 608989"/>
                    <a:gd name="connsiteY27" fmla="*/ 257104 h 474764"/>
                    <a:gd name="connsiteX28" fmla="*/ 586728 w 608989"/>
                    <a:gd name="connsiteY28" fmla="*/ 245826 h 474764"/>
                    <a:gd name="connsiteX29" fmla="*/ 605118 w 608989"/>
                    <a:gd name="connsiteY29" fmla="*/ 249693 h 474764"/>
                    <a:gd name="connsiteX30" fmla="*/ 608828 w 608989"/>
                    <a:gd name="connsiteY30" fmla="*/ 264354 h 474764"/>
                    <a:gd name="connsiteX31" fmla="*/ 590277 w 608989"/>
                    <a:gd name="connsiteY31" fmla="*/ 401942 h 474764"/>
                    <a:gd name="connsiteX32" fmla="*/ 563337 w 608989"/>
                    <a:gd name="connsiteY32" fmla="*/ 425625 h 474764"/>
                    <a:gd name="connsiteX33" fmla="*/ 493166 w 608989"/>
                    <a:gd name="connsiteY33" fmla="*/ 425625 h 474764"/>
                    <a:gd name="connsiteX34" fmla="*/ 427673 w 608989"/>
                    <a:gd name="connsiteY34" fmla="*/ 474764 h 474764"/>
                    <a:gd name="connsiteX35" fmla="*/ 362341 w 608989"/>
                    <a:gd name="connsiteY35" fmla="*/ 425625 h 474764"/>
                    <a:gd name="connsiteX36" fmla="*/ 215061 w 608989"/>
                    <a:gd name="connsiteY36" fmla="*/ 425625 h 474764"/>
                    <a:gd name="connsiteX37" fmla="*/ 149568 w 608989"/>
                    <a:gd name="connsiteY37" fmla="*/ 474764 h 474764"/>
                    <a:gd name="connsiteX38" fmla="*/ 84074 w 608989"/>
                    <a:gd name="connsiteY38" fmla="*/ 425625 h 474764"/>
                    <a:gd name="connsiteX39" fmla="*/ 21485 w 608989"/>
                    <a:gd name="connsiteY39" fmla="*/ 425625 h 474764"/>
                    <a:gd name="connsiteX40" fmla="*/ 4869 w 608989"/>
                    <a:gd name="connsiteY40" fmla="*/ 418214 h 474764"/>
                    <a:gd name="connsiteX41" fmla="*/ 352 w 608989"/>
                    <a:gd name="connsiteY41" fmla="*/ 400814 h 474764"/>
                    <a:gd name="connsiteX42" fmla="*/ 15516 w 608989"/>
                    <a:gd name="connsiteY42" fmla="*/ 309304 h 474764"/>
                    <a:gd name="connsiteX43" fmla="*/ 41649 w 608989"/>
                    <a:gd name="connsiteY43" fmla="*/ 281593 h 474764"/>
                    <a:gd name="connsiteX44" fmla="*/ 95850 w 608989"/>
                    <a:gd name="connsiteY44" fmla="*/ 269348 h 474764"/>
                    <a:gd name="connsiteX45" fmla="*/ 125532 w 608989"/>
                    <a:gd name="connsiteY45" fmla="*/ 250660 h 474764"/>
                    <a:gd name="connsiteX46" fmla="*/ 181992 w 608989"/>
                    <a:gd name="connsiteY46" fmla="*/ 179771 h 474764"/>
                    <a:gd name="connsiteX47" fmla="*/ 217965 w 608989"/>
                    <a:gd name="connsiteY47" fmla="*/ 162371 h 474764"/>
                    <a:gd name="connsiteX48" fmla="*/ 168447 w 608989"/>
                    <a:gd name="connsiteY48" fmla="*/ 0 h 474764"/>
                    <a:gd name="connsiteX49" fmla="*/ 238143 w 608989"/>
                    <a:gd name="connsiteY49" fmla="*/ 47040 h 474764"/>
                    <a:gd name="connsiteX50" fmla="*/ 416257 w 608989"/>
                    <a:gd name="connsiteY50" fmla="*/ 47040 h 474764"/>
                    <a:gd name="connsiteX51" fmla="*/ 421743 w 608989"/>
                    <a:gd name="connsiteY51" fmla="*/ 47524 h 474764"/>
                    <a:gd name="connsiteX52" fmla="*/ 491762 w 608989"/>
                    <a:gd name="connsiteY52" fmla="*/ 0 h 474764"/>
                    <a:gd name="connsiteX53" fmla="*/ 556941 w 608989"/>
                    <a:gd name="connsiteY53" fmla="*/ 37858 h 474764"/>
                    <a:gd name="connsiteX54" fmla="*/ 557103 w 608989"/>
                    <a:gd name="connsiteY54" fmla="*/ 46396 h 474764"/>
                    <a:gd name="connsiteX55" fmla="*/ 549520 w 608989"/>
                    <a:gd name="connsiteY55" fmla="*/ 50262 h 474764"/>
                    <a:gd name="connsiteX56" fmla="*/ 500635 w 608989"/>
                    <a:gd name="connsiteY56" fmla="*/ 50423 h 474764"/>
                    <a:gd name="connsiteX57" fmla="*/ 496279 w 608989"/>
                    <a:gd name="connsiteY57" fmla="*/ 52357 h 474764"/>
                    <a:gd name="connsiteX58" fmla="*/ 495957 w 608989"/>
                    <a:gd name="connsiteY58" fmla="*/ 52840 h 474764"/>
                    <a:gd name="connsiteX59" fmla="*/ 479823 w 608989"/>
                    <a:gd name="connsiteY59" fmla="*/ 75071 h 474764"/>
                    <a:gd name="connsiteX60" fmla="*/ 495634 w 608989"/>
                    <a:gd name="connsiteY60" fmla="*/ 97142 h 474764"/>
                    <a:gd name="connsiteX61" fmla="*/ 495957 w 608989"/>
                    <a:gd name="connsiteY61" fmla="*/ 97625 h 474764"/>
                    <a:gd name="connsiteX62" fmla="*/ 499345 w 608989"/>
                    <a:gd name="connsiteY62" fmla="*/ 99719 h 474764"/>
                    <a:gd name="connsiteX63" fmla="*/ 549520 w 608989"/>
                    <a:gd name="connsiteY63" fmla="*/ 99880 h 474764"/>
                    <a:gd name="connsiteX64" fmla="*/ 556941 w 608989"/>
                    <a:gd name="connsiteY64" fmla="*/ 104069 h 474764"/>
                    <a:gd name="connsiteX65" fmla="*/ 556941 w 608989"/>
                    <a:gd name="connsiteY65" fmla="*/ 112285 h 474764"/>
                    <a:gd name="connsiteX66" fmla="*/ 491762 w 608989"/>
                    <a:gd name="connsiteY66" fmla="*/ 150304 h 474764"/>
                    <a:gd name="connsiteX67" fmla="*/ 421743 w 608989"/>
                    <a:gd name="connsiteY67" fmla="*/ 102780 h 474764"/>
                    <a:gd name="connsiteX68" fmla="*/ 416257 w 608989"/>
                    <a:gd name="connsiteY68" fmla="*/ 103263 h 474764"/>
                    <a:gd name="connsiteX69" fmla="*/ 238143 w 608989"/>
                    <a:gd name="connsiteY69" fmla="*/ 103263 h 474764"/>
                    <a:gd name="connsiteX70" fmla="*/ 168447 w 608989"/>
                    <a:gd name="connsiteY70" fmla="*/ 150304 h 474764"/>
                    <a:gd name="connsiteX71" fmla="*/ 103267 w 608989"/>
                    <a:gd name="connsiteY71" fmla="*/ 112446 h 474764"/>
                    <a:gd name="connsiteX72" fmla="*/ 103106 w 608989"/>
                    <a:gd name="connsiteY72" fmla="*/ 103908 h 474764"/>
                    <a:gd name="connsiteX73" fmla="*/ 110689 w 608989"/>
                    <a:gd name="connsiteY73" fmla="*/ 99880 h 474764"/>
                    <a:gd name="connsiteX74" fmla="*/ 159573 w 608989"/>
                    <a:gd name="connsiteY74" fmla="*/ 99880 h 474764"/>
                    <a:gd name="connsiteX75" fmla="*/ 164091 w 608989"/>
                    <a:gd name="connsiteY75" fmla="*/ 97786 h 474764"/>
                    <a:gd name="connsiteX76" fmla="*/ 164252 w 608989"/>
                    <a:gd name="connsiteY76" fmla="*/ 97464 h 474764"/>
                    <a:gd name="connsiteX77" fmla="*/ 180385 w 608989"/>
                    <a:gd name="connsiteY77" fmla="*/ 75232 h 474764"/>
                    <a:gd name="connsiteX78" fmla="*/ 164575 w 608989"/>
                    <a:gd name="connsiteY78" fmla="*/ 53162 h 474764"/>
                    <a:gd name="connsiteX79" fmla="*/ 164252 w 608989"/>
                    <a:gd name="connsiteY79" fmla="*/ 52679 h 474764"/>
                    <a:gd name="connsiteX80" fmla="*/ 160864 w 608989"/>
                    <a:gd name="connsiteY80" fmla="*/ 50423 h 474764"/>
                    <a:gd name="connsiteX81" fmla="*/ 160541 w 608989"/>
                    <a:gd name="connsiteY81" fmla="*/ 50423 h 474764"/>
                    <a:gd name="connsiteX82" fmla="*/ 110689 w 608989"/>
                    <a:gd name="connsiteY82" fmla="*/ 50262 h 474764"/>
                    <a:gd name="connsiteX83" fmla="*/ 103267 w 608989"/>
                    <a:gd name="connsiteY83" fmla="*/ 46235 h 474764"/>
                    <a:gd name="connsiteX84" fmla="*/ 103267 w 608989"/>
                    <a:gd name="connsiteY84" fmla="*/ 37858 h 474764"/>
                    <a:gd name="connsiteX85" fmla="*/ 168447 w 608989"/>
                    <a:gd name="connsiteY85" fmla="*/ 0 h 4747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</a:cxnLst>
                  <a:rect l="l" t="t" r="r" b="b"/>
                  <a:pathLst>
                    <a:path w="608989" h="474764">
                      <a:moveTo>
                        <a:pt x="427673" y="372781"/>
                      </a:moveTo>
                      <a:cubicBezTo>
                        <a:pt x="408960" y="372781"/>
                        <a:pt x="393797" y="387926"/>
                        <a:pt x="393797" y="406614"/>
                      </a:cubicBezTo>
                      <a:cubicBezTo>
                        <a:pt x="393797" y="425303"/>
                        <a:pt x="408960" y="440448"/>
                        <a:pt x="427673" y="440448"/>
                      </a:cubicBezTo>
                      <a:cubicBezTo>
                        <a:pt x="446385" y="440448"/>
                        <a:pt x="461549" y="425303"/>
                        <a:pt x="461549" y="406614"/>
                      </a:cubicBezTo>
                      <a:cubicBezTo>
                        <a:pt x="461549" y="387926"/>
                        <a:pt x="446385" y="372781"/>
                        <a:pt x="427673" y="372781"/>
                      </a:cubicBezTo>
                      <a:close/>
                      <a:moveTo>
                        <a:pt x="149568" y="372781"/>
                      </a:moveTo>
                      <a:cubicBezTo>
                        <a:pt x="130855" y="372781"/>
                        <a:pt x="115692" y="387926"/>
                        <a:pt x="115692" y="406614"/>
                      </a:cubicBezTo>
                      <a:cubicBezTo>
                        <a:pt x="115692" y="425303"/>
                        <a:pt x="130855" y="440448"/>
                        <a:pt x="149568" y="440448"/>
                      </a:cubicBezTo>
                      <a:cubicBezTo>
                        <a:pt x="168280" y="440448"/>
                        <a:pt x="183444" y="425303"/>
                        <a:pt x="183444" y="406614"/>
                      </a:cubicBezTo>
                      <a:cubicBezTo>
                        <a:pt x="183444" y="387926"/>
                        <a:pt x="168280" y="372781"/>
                        <a:pt x="149568" y="372781"/>
                      </a:cubicBezTo>
                      <a:close/>
                      <a:moveTo>
                        <a:pt x="413316" y="194754"/>
                      </a:moveTo>
                      <a:lnTo>
                        <a:pt x="413316" y="269348"/>
                      </a:lnTo>
                      <a:lnTo>
                        <a:pt x="477196" y="269348"/>
                      </a:lnTo>
                      <a:cubicBezTo>
                        <a:pt x="486068" y="269348"/>
                        <a:pt x="489133" y="263387"/>
                        <a:pt x="483971" y="256137"/>
                      </a:cubicBezTo>
                      <a:lnTo>
                        <a:pt x="449611" y="207965"/>
                      </a:lnTo>
                      <a:cubicBezTo>
                        <a:pt x="444449" y="200715"/>
                        <a:pt x="432996" y="194754"/>
                        <a:pt x="424124" y="194754"/>
                      </a:cubicBezTo>
                      <a:close/>
                      <a:moveTo>
                        <a:pt x="231999" y="194754"/>
                      </a:moveTo>
                      <a:cubicBezTo>
                        <a:pt x="223127" y="194754"/>
                        <a:pt x="211351" y="200393"/>
                        <a:pt x="205705" y="207321"/>
                      </a:cubicBezTo>
                      <a:lnTo>
                        <a:pt x="165860" y="256782"/>
                      </a:lnTo>
                      <a:cubicBezTo>
                        <a:pt x="160376" y="263709"/>
                        <a:pt x="163118" y="269348"/>
                        <a:pt x="171990" y="269348"/>
                      </a:cubicBezTo>
                      <a:lnTo>
                        <a:pt x="374439" y="269348"/>
                      </a:lnTo>
                      <a:lnTo>
                        <a:pt x="374439" y="194754"/>
                      </a:lnTo>
                      <a:close/>
                      <a:moveTo>
                        <a:pt x="217965" y="162371"/>
                      </a:moveTo>
                      <a:lnTo>
                        <a:pt x="442030" y="162371"/>
                      </a:lnTo>
                      <a:cubicBezTo>
                        <a:pt x="454612" y="162371"/>
                        <a:pt x="470098" y="170427"/>
                        <a:pt x="477196" y="180577"/>
                      </a:cubicBezTo>
                      <a:lnTo>
                        <a:pt x="524783" y="248243"/>
                      </a:lnTo>
                      <a:cubicBezTo>
                        <a:pt x="528816" y="254043"/>
                        <a:pt x="536882" y="257910"/>
                        <a:pt x="544625" y="257910"/>
                      </a:cubicBezTo>
                      <a:cubicBezTo>
                        <a:pt x="546883" y="257910"/>
                        <a:pt x="548819" y="257748"/>
                        <a:pt x="550594" y="257104"/>
                      </a:cubicBezTo>
                      <a:lnTo>
                        <a:pt x="586728" y="245826"/>
                      </a:lnTo>
                      <a:cubicBezTo>
                        <a:pt x="593987" y="243571"/>
                        <a:pt x="600924" y="245021"/>
                        <a:pt x="605118" y="249693"/>
                      </a:cubicBezTo>
                      <a:cubicBezTo>
                        <a:pt x="608183" y="253398"/>
                        <a:pt x="609473" y="258554"/>
                        <a:pt x="608828" y="264354"/>
                      </a:cubicBezTo>
                      <a:lnTo>
                        <a:pt x="590277" y="401942"/>
                      </a:lnTo>
                      <a:cubicBezTo>
                        <a:pt x="588664" y="414992"/>
                        <a:pt x="576565" y="425625"/>
                        <a:pt x="563337" y="425625"/>
                      </a:cubicBezTo>
                      <a:lnTo>
                        <a:pt x="493166" y="425625"/>
                      </a:lnTo>
                      <a:cubicBezTo>
                        <a:pt x="484939" y="453981"/>
                        <a:pt x="458806" y="474764"/>
                        <a:pt x="427673" y="474764"/>
                      </a:cubicBezTo>
                      <a:cubicBezTo>
                        <a:pt x="396700" y="474764"/>
                        <a:pt x="370568" y="453981"/>
                        <a:pt x="362341" y="425625"/>
                      </a:cubicBezTo>
                      <a:lnTo>
                        <a:pt x="215061" y="425625"/>
                      </a:lnTo>
                      <a:cubicBezTo>
                        <a:pt x="206834" y="453981"/>
                        <a:pt x="180540" y="474764"/>
                        <a:pt x="149568" y="474764"/>
                      </a:cubicBezTo>
                      <a:cubicBezTo>
                        <a:pt x="118595" y="474764"/>
                        <a:pt x="92301" y="453981"/>
                        <a:pt x="84074" y="425625"/>
                      </a:cubicBezTo>
                      <a:lnTo>
                        <a:pt x="21485" y="425625"/>
                      </a:lnTo>
                      <a:cubicBezTo>
                        <a:pt x="14871" y="425625"/>
                        <a:pt x="8902" y="423048"/>
                        <a:pt x="4869" y="418214"/>
                      </a:cubicBezTo>
                      <a:cubicBezTo>
                        <a:pt x="836" y="413542"/>
                        <a:pt x="-777" y="407420"/>
                        <a:pt x="352" y="400814"/>
                      </a:cubicBezTo>
                      <a:lnTo>
                        <a:pt x="15516" y="309304"/>
                      </a:lnTo>
                      <a:cubicBezTo>
                        <a:pt x="17613" y="296576"/>
                        <a:pt x="29066" y="284332"/>
                        <a:pt x="41649" y="281593"/>
                      </a:cubicBezTo>
                      <a:lnTo>
                        <a:pt x="95850" y="269348"/>
                      </a:lnTo>
                      <a:cubicBezTo>
                        <a:pt x="105690" y="267093"/>
                        <a:pt x="119241" y="258554"/>
                        <a:pt x="125532" y="250660"/>
                      </a:cubicBezTo>
                      <a:lnTo>
                        <a:pt x="181992" y="179771"/>
                      </a:lnTo>
                      <a:cubicBezTo>
                        <a:pt x="189735" y="169943"/>
                        <a:pt x="205544" y="162371"/>
                        <a:pt x="217965" y="162371"/>
                      </a:cubicBezTo>
                      <a:close/>
                      <a:moveTo>
                        <a:pt x="168447" y="0"/>
                      </a:moveTo>
                      <a:cubicBezTo>
                        <a:pt x="200068" y="0"/>
                        <a:pt x="227011" y="19493"/>
                        <a:pt x="238143" y="47040"/>
                      </a:cubicBezTo>
                      <a:lnTo>
                        <a:pt x="416257" y="47040"/>
                      </a:lnTo>
                      <a:cubicBezTo>
                        <a:pt x="418193" y="47040"/>
                        <a:pt x="419968" y="47202"/>
                        <a:pt x="421743" y="47524"/>
                      </a:cubicBezTo>
                      <a:cubicBezTo>
                        <a:pt x="432875" y="19815"/>
                        <a:pt x="459979" y="0"/>
                        <a:pt x="491762" y="0"/>
                      </a:cubicBezTo>
                      <a:cubicBezTo>
                        <a:pt x="518543" y="0"/>
                        <a:pt x="543550" y="14499"/>
                        <a:pt x="556941" y="37858"/>
                      </a:cubicBezTo>
                      <a:cubicBezTo>
                        <a:pt x="558232" y="39952"/>
                        <a:pt x="558877" y="43335"/>
                        <a:pt x="557103" y="46396"/>
                      </a:cubicBezTo>
                      <a:cubicBezTo>
                        <a:pt x="555651" y="48812"/>
                        <a:pt x="552908" y="50262"/>
                        <a:pt x="549520" y="50262"/>
                      </a:cubicBezTo>
                      <a:cubicBezTo>
                        <a:pt x="549520" y="50262"/>
                        <a:pt x="513703" y="50423"/>
                        <a:pt x="500635" y="50423"/>
                      </a:cubicBezTo>
                      <a:cubicBezTo>
                        <a:pt x="497731" y="50423"/>
                        <a:pt x="496279" y="52357"/>
                        <a:pt x="496279" y="52357"/>
                      </a:cubicBezTo>
                      <a:lnTo>
                        <a:pt x="495957" y="52840"/>
                      </a:lnTo>
                      <a:cubicBezTo>
                        <a:pt x="489019" y="60895"/>
                        <a:pt x="481275" y="71366"/>
                        <a:pt x="479823" y="75071"/>
                      </a:cubicBezTo>
                      <a:cubicBezTo>
                        <a:pt x="481275" y="78777"/>
                        <a:pt x="489019" y="89087"/>
                        <a:pt x="495634" y="97142"/>
                      </a:cubicBezTo>
                      <a:lnTo>
                        <a:pt x="495957" y="97625"/>
                      </a:lnTo>
                      <a:cubicBezTo>
                        <a:pt x="496441" y="98269"/>
                        <a:pt x="498054" y="99719"/>
                        <a:pt x="499345" y="99719"/>
                      </a:cubicBezTo>
                      <a:cubicBezTo>
                        <a:pt x="511929" y="99719"/>
                        <a:pt x="549520" y="99880"/>
                        <a:pt x="549520" y="99880"/>
                      </a:cubicBezTo>
                      <a:cubicBezTo>
                        <a:pt x="552747" y="99880"/>
                        <a:pt x="555489" y="101491"/>
                        <a:pt x="556941" y="104069"/>
                      </a:cubicBezTo>
                      <a:cubicBezTo>
                        <a:pt x="558393" y="106485"/>
                        <a:pt x="558393" y="109868"/>
                        <a:pt x="556941" y="112285"/>
                      </a:cubicBezTo>
                      <a:cubicBezTo>
                        <a:pt x="543550" y="135644"/>
                        <a:pt x="518543" y="150304"/>
                        <a:pt x="491762" y="150304"/>
                      </a:cubicBezTo>
                      <a:cubicBezTo>
                        <a:pt x="459979" y="150304"/>
                        <a:pt x="432875" y="130489"/>
                        <a:pt x="421743" y="102780"/>
                      </a:cubicBezTo>
                      <a:cubicBezTo>
                        <a:pt x="419968" y="103102"/>
                        <a:pt x="418193" y="103263"/>
                        <a:pt x="416257" y="103263"/>
                      </a:cubicBezTo>
                      <a:lnTo>
                        <a:pt x="238143" y="103263"/>
                      </a:lnTo>
                      <a:cubicBezTo>
                        <a:pt x="227011" y="130811"/>
                        <a:pt x="200068" y="150304"/>
                        <a:pt x="168447" y="150304"/>
                      </a:cubicBezTo>
                      <a:cubicBezTo>
                        <a:pt x="141665" y="150304"/>
                        <a:pt x="116658" y="135805"/>
                        <a:pt x="103267" y="112446"/>
                      </a:cubicBezTo>
                      <a:cubicBezTo>
                        <a:pt x="101977" y="110352"/>
                        <a:pt x="101331" y="106969"/>
                        <a:pt x="103106" y="103908"/>
                      </a:cubicBezTo>
                      <a:cubicBezTo>
                        <a:pt x="104558" y="101330"/>
                        <a:pt x="107301" y="99880"/>
                        <a:pt x="110689" y="99880"/>
                      </a:cubicBezTo>
                      <a:cubicBezTo>
                        <a:pt x="110689" y="99880"/>
                        <a:pt x="146505" y="99880"/>
                        <a:pt x="159573" y="99880"/>
                      </a:cubicBezTo>
                      <a:cubicBezTo>
                        <a:pt x="162477" y="99880"/>
                        <a:pt x="163929" y="98108"/>
                        <a:pt x="164091" y="97786"/>
                      </a:cubicBezTo>
                      <a:lnTo>
                        <a:pt x="164252" y="97464"/>
                      </a:lnTo>
                      <a:cubicBezTo>
                        <a:pt x="171189" y="89248"/>
                        <a:pt x="178933" y="78777"/>
                        <a:pt x="180385" y="75232"/>
                      </a:cubicBezTo>
                      <a:cubicBezTo>
                        <a:pt x="178933" y="71527"/>
                        <a:pt x="171189" y="61217"/>
                        <a:pt x="164575" y="53162"/>
                      </a:cubicBezTo>
                      <a:lnTo>
                        <a:pt x="164252" y="52679"/>
                      </a:lnTo>
                      <a:cubicBezTo>
                        <a:pt x="163768" y="52034"/>
                        <a:pt x="162155" y="50423"/>
                        <a:pt x="160864" y="50423"/>
                      </a:cubicBezTo>
                      <a:lnTo>
                        <a:pt x="160541" y="50423"/>
                      </a:lnTo>
                      <a:cubicBezTo>
                        <a:pt x="147796" y="50423"/>
                        <a:pt x="110689" y="50262"/>
                        <a:pt x="110689" y="50262"/>
                      </a:cubicBezTo>
                      <a:cubicBezTo>
                        <a:pt x="107462" y="50262"/>
                        <a:pt x="104719" y="48812"/>
                        <a:pt x="103267" y="46235"/>
                      </a:cubicBezTo>
                      <a:cubicBezTo>
                        <a:pt x="101815" y="43657"/>
                        <a:pt x="101654" y="40435"/>
                        <a:pt x="103267" y="37858"/>
                      </a:cubicBezTo>
                      <a:cubicBezTo>
                        <a:pt x="116497" y="14499"/>
                        <a:pt x="141665" y="0"/>
                        <a:pt x="168447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84795149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CD7B45C-9F8D-42F2-880D-C0DE9713A0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C653D0D6-4712-424D-BFD4-51F78163D9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5FC4FE32-2179-4F75-B6FC-8144FDFA19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593AA1C5-A087-481D-A4B8-A64D57BD0BAA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313427"/>
            <a:ext cx="10846298" cy="4650246"/>
            <a:chOff x="669925" y="1313427"/>
            <a:chExt cx="10846298" cy="4650246"/>
          </a:xfrm>
        </p:grpSpPr>
        <p:sp>
          <p:nvSpPr>
            <p:cNvPr id="6" name="椭圆 5">
              <a:extLst>
                <a:ext uri="{FF2B5EF4-FFF2-40B4-BE49-F238E27FC236}">
                  <a16:creationId xmlns:a16="http://schemas.microsoft.com/office/drawing/2014/main" id="{FF7228E6-2439-44D8-9E8C-DCFFE287CDB3}"/>
                </a:ext>
              </a:extLst>
            </p:cNvPr>
            <p:cNvSpPr/>
            <p:nvPr/>
          </p:nvSpPr>
          <p:spPr bwMode="auto">
            <a:xfrm>
              <a:off x="4516419" y="2063820"/>
              <a:ext cx="3159160" cy="3153100"/>
            </a:xfrm>
            <a:prstGeom prst="ellipse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任意多边形: 形状 6">
              <a:extLst>
                <a:ext uri="{FF2B5EF4-FFF2-40B4-BE49-F238E27FC236}">
                  <a16:creationId xmlns:a16="http://schemas.microsoft.com/office/drawing/2014/main" id="{0F051387-1AB4-40C8-B8CD-025162CA2C97}"/>
                </a:ext>
              </a:extLst>
            </p:cNvPr>
            <p:cNvSpPr/>
            <p:nvPr/>
          </p:nvSpPr>
          <p:spPr bwMode="auto">
            <a:xfrm>
              <a:off x="3806033" y="3152432"/>
              <a:ext cx="2776084" cy="2773661"/>
            </a:xfrm>
            <a:custGeom>
              <a:avLst/>
              <a:gdLst>
                <a:gd name="T0" fmla="*/ 996 w 1102"/>
                <a:gd name="T1" fmla="*/ 106 h 1103"/>
                <a:gd name="T2" fmla="*/ 996 w 1102"/>
                <a:gd name="T3" fmla="*/ 106 h 1103"/>
                <a:gd name="T4" fmla="*/ 611 w 1102"/>
                <a:gd name="T5" fmla="*/ 106 h 1103"/>
                <a:gd name="T6" fmla="*/ 106 w 1102"/>
                <a:gd name="T7" fmla="*/ 611 h 1103"/>
                <a:gd name="T8" fmla="*/ 106 w 1102"/>
                <a:gd name="T9" fmla="*/ 997 h 1103"/>
                <a:gd name="T10" fmla="*/ 106 w 1102"/>
                <a:gd name="T11" fmla="*/ 997 h 1103"/>
                <a:gd name="T12" fmla="*/ 492 w 1102"/>
                <a:gd name="T13" fmla="*/ 997 h 1103"/>
                <a:gd name="T14" fmla="*/ 996 w 1102"/>
                <a:gd name="T15" fmla="*/ 492 h 1103"/>
                <a:gd name="T16" fmla="*/ 996 w 1102"/>
                <a:gd name="T17" fmla="*/ 10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103">
                  <a:moveTo>
                    <a:pt x="996" y="106"/>
                  </a:moveTo>
                  <a:cubicBezTo>
                    <a:pt x="996" y="106"/>
                    <a:pt x="996" y="106"/>
                    <a:pt x="996" y="106"/>
                  </a:cubicBezTo>
                  <a:cubicBezTo>
                    <a:pt x="890" y="0"/>
                    <a:pt x="717" y="0"/>
                    <a:pt x="611" y="106"/>
                  </a:cubicBezTo>
                  <a:cubicBezTo>
                    <a:pt x="106" y="611"/>
                    <a:pt x="106" y="611"/>
                    <a:pt x="106" y="611"/>
                  </a:cubicBezTo>
                  <a:cubicBezTo>
                    <a:pt x="0" y="717"/>
                    <a:pt x="0" y="890"/>
                    <a:pt x="106" y="997"/>
                  </a:cubicBezTo>
                  <a:cubicBezTo>
                    <a:pt x="106" y="997"/>
                    <a:pt x="106" y="997"/>
                    <a:pt x="106" y="997"/>
                  </a:cubicBezTo>
                  <a:cubicBezTo>
                    <a:pt x="212" y="1103"/>
                    <a:pt x="386" y="1103"/>
                    <a:pt x="492" y="997"/>
                  </a:cubicBezTo>
                  <a:cubicBezTo>
                    <a:pt x="996" y="492"/>
                    <a:pt x="996" y="492"/>
                    <a:pt x="996" y="492"/>
                  </a:cubicBezTo>
                  <a:cubicBezTo>
                    <a:pt x="1102" y="386"/>
                    <a:pt x="1102" y="212"/>
                    <a:pt x="996" y="10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任意多边形: 形状 7">
              <a:extLst>
                <a:ext uri="{FF2B5EF4-FFF2-40B4-BE49-F238E27FC236}">
                  <a16:creationId xmlns:a16="http://schemas.microsoft.com/office/drawing/2014/main" id="{FCB8CA56-D3D2-401F-BA49-745280CF378E}"/>
                </a:ext>
              </a:extLst>
            </p:cNvPr>
            <p:cNvSpPr/>
            <p:nvPr/>
          </p:nvSpPr>
          <p:spPr bwMode="auto">
            <a:xfrm>
              <a:off x="5567453" y="1313427"/>
              <a:ext cx="2856094" cy="2854883"/>
            </a:xfrm>
            <a:custGeom>
              <a:avLst/>
              <a:gdLst>
                <a:gd name="T0" fmla="*/ 92 w 1134"/>
                <a:gd name="T1" fmla="*/ 1042 h 1135"/>
                <a:gd name="T2" fmla="*/ 61 w 1134"/>
                <a:gd name="T3" fmla="*/ 1006 h 1135"/>
                <a:gd name="T4" fmla="*/ 36 w 1134"/>
                <a:gd name="T5" fmla="*/ 966 h 1135"/>
                <a:gd name="T6" fmla="*/ 9 w 1134"/>
                <a:gd name="T7" fmla="*/ 895 h 1135"/>
                <a:gd name="T8" fmla="*/ 2 w 1134"/>
                <a:gd name="T9" fmla="*/ 850 h 1135"/>
                <a:gd name="T10" fmla="*/ 4 w 1134"/>
                <a:gd name="T11" fmla="*/ 774 h 1135"/>
                <a:gd name="T12" fmla="*/ 13 w 1134"/>
                <a:gd name="T13" fmla="*/ 730 h 1135"/>
                <a:gd name="T14" fmla="*/ 44 w 1134"/>
                <a:gd name="T15" fmla="*/ 659 h 1135"/>
                <a:gd name="T16" fmla="*/ 61 w 1134"/>
                <a:gd name="T17" fmla="*/ 633 h 1135"/>
                <a:gd name="T18" fmla="*/ 92 w 1134"/>
                <a:gd name="T19" fmla="*/ 597 h 1135"/>
                <a:gd name="T20" fmla="*/ 609 w 1134"/>
                <a:gd name="T21" fmla="*/ 81 h 1135"/>
                <a:gd name="T22" fmla="*/ 646 w 1134"/>
                <a:gd name="T23" fmla="*/ 52 h 1135"/>
                <a:gd name="T24" fmla="*/ 687 w 1134"/>
                <a:gd name="T25" fmla="*/ 29 h 1135"/>
                <a:gd name="T26" fmla="*/ 760 w 1134"/>
                <a:gd name="T27" fmla="*/ 6 h 1135"/>
                <a:gd name="T28" fmla="*/ 805 w 1134"/>
                <a:gd name="T29" fmla="*/ 1 h 1135"/>
                <a:gd name="T30" fmla="*/ 880 w 1134"/>
                <a:gd name="T31" fmla="*/ 6 h 1135"/>
                <a:gd name="T32" fmla="*/ 924 w 1134"/>
                <a:gd name="T33" fmla="*/ 18 h 1135"/>
                <a:gd name="T34" fmla="*/ 993 w 1134"/>
                <a:gd name="T35" fmla="*/ 52 h 1135"/>
                <a:gd name="T36" fmla="*/ 1031 w 1134"/>
                <a:gd name="T37" fmla="*/ 81 h 1135"/>
                <a:gd name="T38" fmla="*/ 1064 w 1134"/>
                <a:gd name="T39" fmla="*/ 116 h 1135"/>
                <a:gd name="T40" fmla="*/ 1091 w 1134"/>
                <a:gd name="T41" fmla="*/ 155 h 1135"/>
                <a:gd name="T42" fmla="*/ 1112 w 1134"/>
                <a:gd name="T43" fmla="*/ 196 h 1135"/>
                <a:gd name="T44" fmla="*/ 1131 w 1134"/>
                <a:gd name="T45" fmla="*/ 270 h 1135"/>
                <a:gd name="T46" fmla="*/ 1134 w 1134"/>
                <a:gd name="T47" fmla="*/ 315 h 1135"/>
                <a:gd name="T48" fmla="*/ 1126 w 1134"/>
                <a:gd name="T49" fmla="*/ 390 h 1135"/>
                <a:gd name="T50" fmla="*/ 1112 w 1134"/>
                <a:gd name="T51" fmla="*/ 434 h 1135"/>
                <a:gd name="T52" fmla="*/ 1074 w 1134"/>
                <a:gd name="T53" fmla="*/ 501 h 1135"/>
                <a:gd name="T54" fmla="*/ 1043 w 1134"/>
                <a:gd name="T55" fmla="*/ 537 h 1135"/>
                <a:gd name="T56" fmla="*/ 526 w 1134"/>
                <a:gd name="T57" fmla="*/ 1053 h 1135"/>
                <a:gd name="T58" fmla="*/ 489 w 1134"/>
                <a:gd name="T59" fmla="*/ 1083 h 1135"/>
                <a:gd name="T60" fmla="*/ 448 w 1134"/>
                <a:gd name="T61" fmla="*/ 1105 h 1135"/>
                <a:gd name="T62" fmla="*/ 375 w 1134"/>
                <a:gd name="T63" fmla="*/ 1129 h 1135"/>
                <a:gd name="T64" fmla="*/ 330 w 1134"/>
                <a:gd name="T65" fmla="*/ 1134 h 1135"/>
                <a:gd name="T66" fmla="*/ 255 w 1134"/>
                <a:gd name="T67" fmla="*/ 1129 h 1135"/>
                <a:gd name="T68" fmla="*/ 211 w 1134"/>
                <a:gd name="T69" fmla="*/ 1117 h 1135"/>
                <a:gd name="T70" fmla="*/ 142 w 1134"/>
                <a:gd name="T71" fmla="*/ 1083 h 1135"/>
                <a:gd name="T72" fmla="*/ 104 w 1134"/>
                <a:gd name="T73" fmla="*/ 1053 h 1135"/>
                <a:gd name="T74" fmla="*/ 92 w 1134"/>
                <a:gd name="T75" fmla="*/ 1042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4" h="1135">
                  <a:moveTo>
                    <a:pt x="92" y="1042"/>
                  </a:moveTo>
                  <a:cubicBezTo>
                    <a:pt x="81" y="1031"/>
                    <a:pt x="71" y="1019"/>
                    <a:pt x="61" y="1006"/>
                  </a:cubicBezTo>
                  <a:cubicBezTo>
                    <a:pt x="52" y="993"/>
                    <a:pt x="44" y="980"/>
                    <a:pt x="36" y="966"/>
                  </a:cubicBezTo>
                  <a:cubicBezTo>
                    <a:pt x="25" y="942"/>
                    <a:pt x="16" y="920"/>
                    <a:pt x="9" y="895"/>
                  </a:cubicBezTo>
                  <a:cubicBezTo>
                    <a:pt x="6" y="880"/>
                    <a:pt x="4" y="865"/>
                    <a:pt x="2" y="850"/>
                  </a:cubicBezTo>
                  <a:cubicBezTo>
                    <a:pt x="0" y="824"/>
                    <a:pt x="1" y="800"/>
                    <a:pt x="4" y="774"/>
                  </a:cubicBezTo>
                  <a:cubicBezTo>
                    <a:pt x="6" y="759"/>
                    <a:pt x="9" y="745"/>
                    <a:pt x="13" y="730"/>
                  </a:cubicBezTo>
                  <a:cubicBezTo>
                    <a:pt x="21" y="705"/>
                    <a:pt x="31" y="682"/>
                    <a:pt x="44" y="659"/>
                  </a:cubicBezTo>
                  <a:cubicBezTo>
                    <a:pt x="61" y="633"/>
                    <a:pt x="61" y="633"/>
                    <a:pt x="61" y="633"/>
                  </a:cubicBezTo>
                  <a:cubicBezTo>
                    <a:pt x="71" y="620"/>
                    <a:pt x="81" y="609"/>
                    <a:pt x="92" y="597"/>
                  </a:cubicBezTo>
                  <a:cubicBezTo>
                    <a:pt x="609" y="81"/>
                    <a:pt x="609" y="81"/>
                    <a:pt x="609" y="81"/>
                  </a:cubicBezTo>
                  <a:cubicBezTo>
                    <a:pt x="621" y="71"/>
                    <a:pt x="633" y="61"/>
                    <a:pt x="646" y="52"/>
                  </a:cubicBezTo>
                  <a:cubicBezTo>
                    <a:pt x="660" y="44"/>
                    <a:pt x="673" y="36"/>
                    <a:pt x="687" y="29"/>
                  </a:cubicBezTo>
                  <a:cubicBezTo>
                    <a:pt x="711" y="19"/>
                    <a:pt x="734" y="12"/>
                    <a:pt x="760" y="6"/>
                  </a:cubicBezTo>
                  <a:cubicBezTo>
                    <a:pt x="775" y="3"/>
                    <a:pt x="789" y="2"/>
                    <a:pt x="805" y="1"/>
                  </a:cubicBezTo>
                  <a:cubicBezTo>
                    <a:pt x="831" y="0"/>
                    <a:pt x="854" y="2"/>
                    <a:pt x="880" y="6"/>
                  </a:cubicBezTo>
                  <a:cubicBezTo>
                    <a:pt x="895" y="9"/>
                    <a:pt x="909" y="13"/>
                    <a:pt x="924" y="18"/>
                  </a:cubicBezTo>
                  <a:cubicBezTo>
                    <a:pt x="949" y="27"/>
                    <a:pt x="971" y="38"/>
                    <a:pt x="993" y="52"/>
                  </a:cubicBezTo>
                  <a:cubicBezTo>
                    <a:pt x="1006" y="61"/>
                    <a:pt x="1019" y="71"/>
                    <a:pt x="1031" y="81"/>
                  </a:cubicBezTo>
                  <a:cubicBezTo>
                    <a:pt x="1043" y="92"/>
                    <a:pt x="1053" y="104"/>
                    <a:pt x="1064" y="116"/>
                  </a:cubicBezTo>
                  <a:cubicBezTo>
                    <a:pt x="1074" y="129"/>
                    <a:pt x="1083" y="141"/>
                    <a:pt x="1091" y="155"/>
                  </a:cubicBezTo>
                  <a:cubicBezTo>
                    <a:pt x="1099" y="169"/>
                    <a:pt x="1105" y="182"/>
                    <a:pt x="1112" y="196"/>
                  </a:cubicBezTo>
                  <a:cubicBezTo>
                    <a:pt x="1121" y="221"/>
                    <a:pt x="1127" y="244"/>
                    <a:pt x="1131" y="270"/>
                  </a:cubicBezTo>
                  <a:cubicBezTo>
                    <a:pt x="1133" y="285"/>
                    <a:pt x="1134" y="300"/>
                    <a:pt x="1134" y="315"/>
                  </a:cubicBezTo>
                  <a:cubicBezTo>
                    <a:pt x="1134" y="341"/>
                    <a:pt x="1131" y="365"/>
                    <a:pt x="1126" y="390"/>
                  </a:cubicBezTo>
                  <a:cubicBezTo>
                    <a:pt x="1121" y="405"/>
                    <a:pt x="1117" y="419"/>
                    <a:pt x="1112" y="434"/>
                  </a:cubicBezTo>
                  <a:cubicBezTo>
                    <a:pt x="1101" y="458"/>
                    <a:pt x="1089" y="479"/>
                    <a:pt x="1074" y="501"/>
                  </a:cubicBezTo>
                  <a:cubicBezTo>
                    <a:pt x="1064" y="514"/>
                    <a:pt x="1054" y="526"/>
                    <a:pt x="1043" y="537"/>
                  </a:cubicBezTo>
                  <a:cubicBezTo>
                    <a:pt x="526" y="1053"/>
                    <a:pt x="526" y="1053"/>
                    <a:pt x="526" y="1053"/>
                  </a:cubicBezTo>
                  <a:cubicBezTo>
                    <a:pt x="514" y="1064"/>
                    <a:pt x="502" y="1073"/>
                    <a:pt x="489" y="1083"/>
                  </a:cubicBezTo>
                  <a:cubicBezTo>
                    <a:pt x="475" y="1091"/>
                    <a:pt x="462" y="1098"/>
                    <a:pt x="448" y="1105"/>
                  </a:cubicBezTo>
                  <a:cubicBezTo>
                    <a:pt x="424" y="1116"/>
                    <a:pt x="401" y="1123"/>
                    <a:pt x="375" y="1129"/>
                  </a:cubicBezTo>
                  <a:cubicBezTo>
                    <a:pt x="360" y="1131"/>
                    <a:pt x="346" y="1133"/>
                    <a:pt x="330" y="1134"/>
                  </a:cubicBezTo>
                  <a:cubicBezTo>
                    <a:pt x="304" y="1135"/>
                    <a:pt x="281" y="1133"/>
                    <a:pt x="255" y="1129"/>
                  </a:cubicBezTo>
                  <a:cubicBezTo>
                    <a:pt x="240" y="1125"/>
                    <a:pt x="226" y="1121"/>
                    <a:pt x="211" y="1117"/>
                  </a:cubicBezTo>
                  <a:cubicBezTo>
                    <a:pt x="186" y="1107"/>
                    <a:pt x="164" y="1097"/>
                    <a:pt x="142" y="1083"/>
                  </a:cubicBezTo>
                  <a:cubicBezTo>
                    <a:pt x="128" y="1073"/>
                    <a:pt x="116" y="1064"/>
                    <a:pt x="104" y="1053"/>
                  </a:cubicBezTo>
                  <a:cubicBezTo>
                    <a:pt x="92" y="1042"/>
                    <a:pt x="92" y="1042"/>
                    <a:pt x="92" y="10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任意多边形: 形状 8">
              <a:extLst>
                <a:ext uri="{FF2B5EF4-FFF2-40B4-BE49-F238E27FC236}">
                  <a16:creationId xmlns:a16="http://schemas.microsoft.com/office/drawing/2014/main" id="{225DB097-DBC2-4B0A-A05D-8AB3E9E63A9E}"/>
                </a:ext>
              </a:extLst>
            </p:cNvPr>
            <p:cNvSpPr/>
            <p:nvPr/>
          </p:nvSpPr>
          <p:spPr bwMode="auto">
            <a:xfrm>
              <a:off x="5607458" y="1354644"/>
              <a:ext cx="2778509" cy="2770024"/>
            </a:xfrm>
            <a:custGeom>
              <a:avLst/>
              <a:gdLst>
                <a:gd name="T0" fmla="*/ 106 w 1103"/>
                <a:gd name="T1" fmla="*/ 996 h 1102"/>
                <a:gd name="T2" fmla="*/ 106 w 1103"/>
                <a:gd name="T3" fmla="*/ 996 h 1102"/>
                <a:gd name="T4" fmla="*/ 106 w 1103"/>
                <a:gd name="T5" fmla="*/ 611 h 1102"/>
                <a:gd name="T6" fmla="*/ 611 w 1103"/>
                <a:gd name="T7" fmla="*/ 106 h 1102"/>
                <a:gd name="T8" fmla="*/ 997 w 1103"/>
                <a:gd name="T9" fmla="*/ 106 h 1102"/>
                <a:gd name="T10" fmla="*/ 997 w 1103"/>
                <a:gd name="T11" fmla="*/ 106 h 1102"/>
                <a:gd name="T12" fmla="*/ 997 w 1103"/>
                <a:gd name="T13" fmla="*/ 492 h 1102"/>
                <a:gd name="T14" fmla="*/ 492 w 1103"/>
                <a:gd name="T15" fmla="*/ 996 h 1102"/>
                <a:gd name="T16" fmla="*/ 106 w 1103"/>
                <a:gd name="T17" fmla="*/ 996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3" h="1102">
                  <a:moveTo>
                    <a:pt x="106" y="996"/>
                  </a:moveTo>
                  <a:cubicBezTo>
                    <a:pt x="106" y="996"/>
                    <a:pt x="106" y="996"/>
                    <a:pt x="106" y="996"/>
                  </a:cubicBezTo>
                  <a:cubicBezTo>
                    <a:pt x="0" y="890"/>
                    <a:pt x="0" y="717"/>
                    <a:pt x="106" y="611"/>
                  </a:cubicBezTo>
                  <a:cubicBezTo>
                    <a:pt x="611" y="106"/>
                    <a:pt x="611" y="106"/>
                    <a:pt x="611" y="106"/>
                  </a:cubicBezTo>
                  <a:cubicBezTo>
                    <a:pt x="717" y="0"/>
                    <a:pt x="890" y="0"/>
                    <a:pt x="997" y="106"/>
                  </a:cubicBezTo>
                  <a:cubicBezTo>
                    <a:pt x="997" y="106"/>
                    <a:pt x="997" y="106"/>
                    <a:pt x="997" y="106"/>
                  </a:cubicBezTo>
                  <a:cubicBezTo>
                    <a:pt x="1103" y="212"/>
                    <a:pt x="1103" y="386"/>
                    <a:pt x="997" y="492"/>
                  </a:cubicBezTo>
                  <a:cubicBezTo>
                    <a:pt x="492" y="996"/>
                    <a:pt x="492" y="996"/>
                    <a:pt x="492" y="996"/>
                  </a:cubicBezTo>
                  <a:cubicBezTo>
                    <a:pt x="386" y="1102"/>
                    <a:pt x="212" y="1102"/>
                    <a:pt x="106" y="99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任意多边形: 形状 9">
              <a:extLst>
                <a:ext uri="{FF2B5EF4-FFF2-40B4-BE49-F238E27FC236}">
                  <a16:creationId xmlns:a16="http://schemas.microsoft.com/office/drawing/2014/main" id="{7EBB7A74-DA73-4875-A538-9C5762B6935A}"/>
                </a:ext>
              </a:extLst>
            </p:cNvPr>
            <p:cNvSpPr/>
            <p:nvPr/>
          </p:nvSpPr>
          <p:spPr bwMode="auto">
            <a:xfrm>
              <a:off x="5567453" y="3112427"/>
              <a:ext cx="2858519" cy="2851246"/>
            </a:xfrm>
            <a:custGeom>
              <a:avLst/>
              <a:gdLst>
                <a:gd name="T0" fmla="*/ 92 w 1135"/>
                <a:gd name="T1" fmla="*/ 92 h 1134"/>
                <a:gd name="T2" fmla="*/ 129 w 1135"/>
                <a:gd name="T3" fmla="*/ 61 h 1134"/>
                <a:gd name="T4" fmla="*/ 169 w 1135"/>
                <a:gd name="T5" fmla="*/ 36 h 1134"/>
                <a:gd name="T6" fmla="*/ 240 w 1135"/>
                <a:gd name="T7" fmla="*/ 9 h 1134"/>
                <a:gd name="T8" fmla="*/ 285 w 1135"/>
                <a:gd name="T9" fmla="*/ 2 h 1134"/>
                <a:gd name="T10" fmla="*/ 360 w 1135"/>
                <a:gd name="T11" fmla="*/ 4 h 1134"/>
                <a:gd name="T12" fmla="*/ 405 w 1135"/>
                <a:gd name="T13" fmla="*/ 13 h 1134"/>
                <a:gd name="T14" fmla="*/ 475 w 1135"/>
                <a:gd name="T15" fmla="*/ 44 h 1134"/>
                <a:gd name="T16" fmla="*/ 502 w 1135"/>
                <a:gd name="T17" fmla="*/ 61 h 1134"/>
                <a:gd name="T18" fmla="*/ 538 w 1135"/>
                <a:gd name="T19" fmla="*/ 92 h 1134"/>
                <a:gd name="T20" fmla="*/ 1054 w 1135"/>
                <a:gd name="T21" fmla="*/ 609 h 1134"/>
                <a:gd name="T22" fmla="*/ 1083 w 1135"/>
                <a:gd name="T23" fmla="*/ 646 h 1134"/>
                <a:gd name="T24" fmla="*/ 1105 w 1135"/>
                <a:gd name="T25" fmla="*/ 687 h 1134"/>
                <a:gd name="T26" fmla="*/ 1129 w 1135"/>
                <a:gd name="T27" fmla="*/ 760 h 1134"/>
                <a:gd name="T28" fmla="*/ 1134 w 1135"/>
                <a:gd name="T29" fmla="*/ 805 h 1134"/>
                <a:gd name="T30" fmla="*/ 1129 w 1135"/>
                <a:gd name="T31" fmla="*/ 880 h 1134"/>
                <a:gd name="T32" fmla="*/ 1117 w 1135"/>
                <a:gd name="T33" fmla="*/ 924 h 1134"/>
                <a:gd name="T34" fmla="*/ 1083 w 1135"/>
                <a:gd name="T35" fmla="*/ 993 h 1134"/>
                <a:gd name="T36" fmla="*/ 1054 w 1135"/>
                <a:gd name="T37" fmla="*/ 1031 h 1134"/>
                <a:gd name="T38" fmla="*/ 1019 w 1135"/>
                <a:gd name="T39" fmla="*/ 1064 h 1134"/>
                <a:gd name="T40" fmla="*/ 980 w 1135"/>
                <a:gd name="T41" fmla="*/ 1091 h 1134"/>
                <a:gd name="T42" fmla="*/ 938 w 1135"/>
                <a:gd name="T43" fmla="*/ 1112 h 1134"/>
                <a:gd name="T44" fmla="*/ 865 w 1135"/>
                <a:gd name="T45" fmla="*/ 1131 h 1134"/>
                <a:gd name="T46" fmla="*/ 820 w 1135"/>
                <a:gd name="T47" fmla="*/ 1134 h 1134"/>
                <a:gd name="T48" fmla="*/ 745 w 1135"/>
                <a:gd name="T49" fmla="*/ 1126 h 1134"/>
                <a:gd name="T50" fmla="*/ 701 w 1135"/>
                <a:gd name="T51" fmla="*/ 1112 h 1134"/>
                <a:gd name="T52" fmla="*/ 633 w 1135"/>
                <a:gd name="T53" fmla="*/ 1074 h 1134"/>
                <a:gd name="T54" fmla="*/ 597 w 1135"/>
                <a:gd name="T55" fmla="*/ 1043 h 1134"/>
                <a:gd name="T56" fmla="*/ 81 w 1135"/>
                <a:gd name="T57" fmla="*/ 526 h 1134"/>
                <a:gd name="T58" fmla="*/ 52 w 1135"/>
                <a:gd name="T59" fmla="*/ 489 h 1134"/>
                <a:gd name="T60" fmla="*/ 30 w 1135"/>
                <a:gd name="T61" fmla="*/ 448 h 1134"/>
                <a:gd name="T62" fmla="*/ 6 w 1135"/>
                <a:gd name="T63" fmla="*/ 375 h 1134"/>
                <a:gd name="T64" fmla="*/ 1 w 1135"/>
                <a:gd name="T65" fmla="*/ 330 h 1134"/>
                <a:gd name="T66" fmla="*/ 6 w 1135"/>
                <a:gd name="T67" fmla="*/ 255 h 1134"/>
                <a:gd name="T68" fmla="*/ 18 w 1135"/>
                <a:gd name="T69" fmla="*/ 211 h 1134"/>
                <a:gd name="T70" fmla="*/ 52 w 1135"/>
                <a:gd name="T71" fmla="*/ 142 h 1134"/>
                <a:gd name="T72" fmla="*/ 81 w 1135"/>
                <a:gd name="T73" fmla="*/ 104 h 1134"/>
                <a:gd name="T74" fmla="*/ 92 w 1135"/>
                <a:gd name="T75" fmla="*/ 92 h 1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4">
                  <a:moveTo>
                    <a:pt x="92" y="92"/>
                  </a:moveTo>
                  <a:cubicBezTo>
                    <a:pt x="104" y="81"/>
                    <a:pt x="116" y="71"/>
                    <a:pt x="129" y="61"/>
                  </a:cubicBezTo>
                  <a:cubicBezTo>
                    <a:pt x="142" y="52"/>
                    <a:pt x="155" y="44"/>
                    <a:pt x="169" y="36"/>
                  </a:cubicBezTo>
                  <a:cubicBezTo>
                    <a:pt x="192" y="25"/>
                    <a:pt x="215" y="16"/>
                    <a:pt x="240" y="9"/>
                  </a:cubicBezTo>
                  <a:cubicBezTo>
                    <a:pt x="255" y="6"/>
                    <a:pt x="270" y="4"/>
                    <a:pt x="285" y="2"/>
                  </a:cubicBezTo>
                  <a:cubicBezTo>
                    <a:pt x="311" y="0"/>
                    <a:pt x="335" y="1"/>
                    <a:pt x="360" y="4"/>
                  </a:cubicBezTo>
                  <a:cubicBezTo>
                    <a:pt x="376" y="6"/>
                    <a:pt x="390" y="9"/>
                    <a:pt x="405" y="13"/>
                  </a:cubicBezTo>
                  <a:cubicBezTo>
                    <a:pt x="430" y="21"/>
                    <a:pt x="452" y="31"/>
                    <a:pt x="475" y="44"/>
                  </a:cubicBezTo>
                  <a:cubicBezTo>
                    <a:pt x="502" y="61"/>
                    <a:pt x="502" y="61"/>
                    <a:pt x="502" y="61"/>
                  </a:cubicBezTo>
                  <a:cubicBezTo>
                    <a:pt x="514" y="71"/>
                    <a:pt x="526" y="81"/>
                    <a:pt x="538" y="92"/>
                  </a:cubicBezTo>
                  <a:cubicBezTo>
                    <a:pt x="1054" y="609"/>
                    <a:pt x="1054" y="609"/>
                    <a:pt x="1054" y="609"/>
                  </a:cubicBezTo>
                  <a:cubicBezTo>
                    <a:pt x="1064" y="621"/>
                    <a:pt x="1074" y="633"/>
                    <a:pt x="1083" y="646"/>
                  </a:cubicBezTo>
                  <a:cubicBezTo>
                    <a:pt x="1091" y="660"/>
                    <a:pt x="1098" y="673"/>
                    <a:pt x="1105" y="687"/>
                  </a:cubicBezTo>
                  <a:cubicBezTo>
                    <a:pt x="1116" y="711"/>
                    <a:pt x="1123" y="734"/>
                    <a:pt x="1129" y="760"/>
                  </a:cubicBezTo>
                  <a:cubicBezTo>
                    <a:pt x="1131" y="775"/>
                    <a:pt x="1133" y="789"/>
                    <a:pt x="1134" y="805"/>
                  </a:cubicBezTo>
                  <a:cubicBezTo>
                    <a:pt x="1135" y="831"/>
                    <a:pt x="1133" y="854"/>
                    <a:pt x="1129" y="880"/>
                  </a:cubicBezTo>
                  <a:cubicBezTo>
                    <a:pt x="1125" y="895"/>
                    <a:pt x="1122" y="909"/>
                    <a:pt x="1117" y="924"/>
                  </a:cubicBezTo>
                  <a:cubicBezTo>
                    <a:pt x="1108" y="949"/>
                    <a:pt x="1097" y="971"/>
                    <a:pt x="1083" y="993"/>
                  </a:cubicBezTo>
                  <a:cubicBezTo>
                    <a:pt x="1074" y="1006"/>
                    <a:pt x="1064" y="1019"/>
                    <a:pt x="1054" y="1031"/>
                  </a:cubicBezTo>
                  <a:cubicBezTo>
                    <a:pt x="1042" y="1043"/>
                    <a:pt x="1031" y="1053"/>
                    <a:pt x="1019" y="1064"/>
                  </a:cubicBezTo>
                  <a:cubicBezTo>
                    <a:pt x="1006" y="1074"/>
                    <a:pt x="993" y="1083"/>
                    <a:pt x="980" y="1091"/>
                  </a:cubicBezTo>
                  <a:cubicBezTo>
                    <a:pt x="966" y="1099"/>
                    <a:pt x="953" y="1105"/>
                    <a:pt x="938" y="1112"/>
                  </a:cubicBezTo>
                  <a:cubicBezTo>
                    <a:pt x="914" y="1121"/>
                    <a:pt x="891" y="1127"/>
                    <a:pt x="865" y="1131"/>
                  </a:cubicBezTo>
                  <a:cubicBezTo>
                    <a:pt x="850" y="1133"/>
                    <a:pt x="835" y="1134"/>
                    <a:pt x="820" y="1134"/>
                  </a:cubicBezTo>
                  <a:cubicBezTo>
                    <a:pt x="794" y="1134"/>
                    <a:pt x="770" y="1131"/>
                    <a:pt x="745" y="1126"/>
                  </a:cubicBezTo>
                  <a:cubicBezTo>
                    <a:pt x="730" y="1121"/>
                    <a:pt x="716" y="1117"/>
                    <a:pt x="701" y="1112"/>
                  </a:cubicBezTo>
                  <a:cubicBezTo>
                    <a:pt x="677" y="1101"/>
                    <a:pt x="655" y="1089"/>
                    <a:pt x="633" y="1074"/>
                  </a:cubicBezTo>
                  <a:cubicBezTo>
                    <a:pt x="621" y="1064"/>
                    <a:pt x="609" y="1054"/>
                    <a:pt x="597" y="1043"/>
                  </a:cubicBezTo>
                  <a:cubicBezTo>
                    <a:pt x="81" y="526"/>
                    <a:pt x="81" y="526"/>
                    <a:pt x="81" y="526"/>
                  </a:cubicBezTo>
                  <a:cubicBezTo>
                    <a:pt x="71" y="514"/>
                    <a:pt x="61" y="502"/>
                    <a:pt x="52" y="489"/>
                  </a:cubicBezTo>
                  <a:cubicBezTo>
                    <a:pt x="44" y="475"/>
                    <a:pt x="37" y="462"/>
                    <a:pt x="30" y="448"/>
                  </a:cubicBezTo>
                  <a:cubicBezTo>
                    <a:pt x="19" y="424"/>
                    <a:pt x="12" y="401"/>
                    <a:pt x="6" y="375"/>
                  </a:cubicBezTo>
                  <a:cubicBezTo>
                    <a:pt x="4" y="360"/>
                    <a:pt x="2" y="346"/>
                    <a:pt x="1" y="330"/>
                  </a:cubicBezTo>
                  <a:cubicBezTo>
                    <a:pt x="0" y="304"/>
                    <a:pt x="2" y="281"/>
                    <a:pt x="6" y="255"/>
                  </a:cubicBezTo>
                  <a:cubicBezTo>
                    <a:pt x="9" y="240"/>
                    <a:pt x="13" y="226"/>
                    <a:pt x="18" y="211"/>
                  </a:cubicBezTo>
                  <a:cubicBezTo>
                    <a:pt x="27" y="186"/>
                    <a:pt x="38" y="164"/>
                    <a:pt x="52" y="142"/>
                  </a:cubicBezTo>
                  <a:cubicBezTo>
                    <a:pt x="61" y="128"/>
                    <a:pt x="71" y="116"/>
                    <a:pt x="81" y="104"/>
                  </a:cubicBezTo>
                  <a:cubicBezTo>
                    <a:pt x="92" y="92"/>
                    <a:pt x="92" y="92"/>
                    <a:pt x="92" y="9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1" name="任意多边形: 形状 10">
              <a:extLst>
                <a:ext uri="{FF2B5EF4-FFF2-40B4-BE49-F238E27FC236}">
                  <a16:creationId xmlns:a16="http://schemas.microsoft.com/office/drawing/2014/main" id="{F3BAB2A6-E073-4DEF-A5C4-83F3DA74268C}"/>
                </a:ext>
              </a:extLst>
            </p:cNvPr>
            <p:cNvSpPr/>
            <p:nvPr/>
          </p:nvSpPr>
          <p:spPr bwMode="auto">
            <a:xfrm>
              <a:off x="5607458" y="3152432"/>
              <a:ext cx="2778509" cy="2773661"/>
            </a:xfrm>
            <a:custGeom>
              <a:avLst/>
              <a:gdLst>
                <a:gd name="T0" fmla="*/ 106 w 1103"/>
                <a:gd name="T1" fmla="*/ 106 h 1103"/>
                <a:gd name="T2" fmla="*/ 106 w 1103"/>
                <a:gd name="T3" fmla="*/ 106 h 1103"/>
                <a:gd name="T4" fmla="*/ 492 w 1103"/>
                <a:gd name="T5" fmla="*/ 106 h 1103"/>
                <a:gd name="T6" fmla="*/ 997 w 1103"/>
                <a:gd name="T7" fmla="*/ 611 h 1103"/>
                <a:gd name="T8" fmla="*/ 997 w 1103"/>
                <a:gd name="T9" fmla="*/ 997 h 1103"/>
                <a:gd name="T10" fmla="*/ 997 w 1103"/>
                <a:gd name="T11" fmla="*/ 997 h 1103"/>
                <a:gd name="T12" fmla="*/ 611 w 1103"/>
                <a:gd name="T13" fmla="*/ 997 h 1103"/>
                <a:gd name="T14" fmla="*/ 106 w 1103"/>
                <a:gd name="T15" fmla="*/ 492 h 1103"/>
                <a:gd name="T16" fmla="*/ 106 w 1103"/>
                <a:gd name="T17" fmla="*/ 106 h 1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3" h="1103">
                  <a:moveTo>
                    <a:pt x="106" y="106"/>
                  </a:moveTo>
                  <a:cubicBezTo>
                    <a:pt x="106" y="106"/>
                    <a:pt x="106" y="106"/>
                    <a:pt x="106" y="106"/>
                  </a:cubicBezTo>
                  <a:cubicBezTo>
                    <a:pt x="212" y="0"/>
                    <a:pt x="386" y="0"/>
                    <a:pt x="492" y="106"/>
                  </a:cubicBezTo>
                  <a:cubicBezTo>
                    <a:pt x="997" y="611"/>
                    <a:pt x="997" y="611"/>
                    <a:pt x="997" y="611"/>
                  </a:cubicBezTo>
                  <a:cubicBezTo>
                    <a:pt x="1103" y="717"/>
                    <a:pt x="1103" y="890"/>
                    <a:pt x="997" y="997"/>
                  </a:cubicBezTo>
                  <a:cubicBezTo>
                    <a:pt x="997" y="997"/>
                    <a:pt x="997" y="997"/>
                    <a:pt x="997" y="997"/>
                  </a:cubicBezTo>
                  <a:cubicBezTo>
                    <a:pt x="890" y="1103"/>
                    <a:pt x="717" y="1103"/>
                    <a:pt x="611" y="997"/>
                  </a:cubicBezTo>
                  <a:cubicBezTo>
                    <a:pt x="106" y="492"/>
                    <a:pt x="106" y="492"/>
                    <a:pt x="106" y="492"/>
                  </a:cubicBezTo>
                  <a:cubicBezTo>
                    <a:pt x="0" y="386"/>
                    <a:pt x="0" y="212"/>
                    <a:pt x="106" y="10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2" name="任意多边形: 形状 11">
              <a:extLst>
                <a:ext uri="{FF2B5EF4-FFF2-40B4-BE49-F238E27FC236}">
                  <a16:creationId xmlns:a16="http://schemas.microsoft.com/office/drawing/2014/main" id="{50A82FDF-7329-4E88-8B32-C78FF77D1B93}"/>
                </a:ext>
              </a:extLst>
            </p:cNvPr>
            <p:cNvSpPr/>
            <p:nvPr/>
          </p:nvSpPr>
          <p:spPr bwMode="auto">
            <a:xfrm>
              <a:off x="3766028" y="1313427"/>
              <a:ext cx="2858519" cy="2854883"/>
            </a:xfrm>
            <a:custGeom>
              <a:avLst/>
              <a:gdLst>
                <a:gd name="T0" fmla="*/ 1042 w 1135"/>
                <a:gd name="T1" fmla="*/ 1042 h 1135"/>
                <a:gd name="T2" fmla="*/ 1074 w 1135"/>
                <a:gd name="T3" fmla="*/ 1006 h 1135"/>
                <a:gd name="T4" fmla="*/ 1098 w 1135"/>
                <a:gd name="T5" fmla="*/ 966 h 1135"/>
                <a:gd name="T6" fmla="*/ 1125 w 1135"/>
                <a:gd name="T7" fmla="*/ 895 h 1135"/>
                <a:gd name="T8" fmla="*/ 1133 w 1135"/>
                <a:gd name="T9" fmla="*/ 850 h 1135"/>
                <a:gd name="T10" fmla="*/ 1131 w 1135"/>
                <a:gd name="T11" fmla="*/ 774 h 1135"/>
                <a:gd name="T12" fmla="*/ 1121 w 1135"/>
                <a:gd name="T13" fmla="*/ 730 h 1135"/>
                <a:gd name="T14" fmla="*/ 1091 w 1135"/>
                <a:gd name="T15" fmla="*/ 659 h 1135"/>
                <a:gd name="T16" fmla="*/ 1074 w 1135"/>
                <a:gd name="T17" fmla="*/ 633 h 1135"/>
                <a:gd name="T18" fmla="*/ 1043 w 1135"/>
                <a:gd name="T19" fmla="*/ 597 h 1135"/>
                <a:gd name="T20" fmla="*/ 526 w 1135"/>
                <a:gd name="T21" fmla="*/ 81 h 1135"/>
                <a:gd name="T22" fmla="*/ 488 w 1135"/>
                <a:gd name="T23" fmla="*/ 52 h 1135"/>
                <a:gd name="T24" fmla="*/ 448 w 1135"/>
                <a:gd name="T25" fmla="*/ 29 h 1135"/>
                <a:gd name="T26" fmla="*/ 375 w 1135"/>
                <a:gd name="T27" fmla="*/ 6 h 1135"/>
                <a:gd name="T28" fmla="*/ 330 w 1135"/>
                <a:gd name="T29" fmla="*/ 1 h 1135"/>
                <a:gd name="T30" fmla="*/ 255 w 1135"/>
                <a:gd name="T31" fmla="*/ 6 h 1135"/>
                <a:gd name="T32" fmla="*/ 211 w 1135"/>
                <a:gd name="T33" fmla="*/ 18 h 1135"/>
                <a:gd name="T34" fmla="*/ 142 w 1135"/>
                <a:gd name="T35" fmla="*/ 52 h 1135"/>
                <a:gd name="T36" fmla="*/ 104 w 1135"/>
                <a:gd name="T37" fmla="*/ 81 h 1135"/>
                <a:gd name="T38" fmla="*/ 71 w 1135"/>
                <a:gd name="T39" fmla="*/ 116 h 1135"/>
                <a:gd name="T40" fmla="*/ 44 w 1135"/>
                <a:gd name="T41" fmla="*/ 155 h 1135"/>
                <a:gd name="T42" fmla="*/ 23 w 1135"/>
                <a:gd name="T43" fmla="*/ 196 h 1135"/>
                <a:gd name="T44" fmla="*/ 3 w 1135"/>
                <a:gd name="T45" fmla="*/ 270 h 1135"/>
                <a:gd name="T46" fmla="*/ 0 w 1135"/>
                <a:gd name="T47" fmla="*/ 315 h 1135"/>
                <a:gd name="T48" fmla="*/ 9 w 1135"/>
                <a:gd name="T49" fmla="*/ 390 h 1135"/>
                <a:gd name="T50" fmla="*/ 23 w 1135"/>
                <a:gd name="T51" fmla="*/ 434 h 1135"/>
                <a:gd name="T52" fmla="*/ 61 w 1135"/>
                <a:gd name="T53" fmla="*/ 501 h 1135"/>
                <a:gd name="T54" fmla="*/ 92 w 1135"/>
                <a:gd name="T55" fmla="*/ 537 h 1135"/>
                <a:gd name="T56" fmla="*/ 608 w 1135"/>
                <a:gd name="T57" fmla="*/ 1053 h 1135"/>
                <a:gd name="T58" fmla="*/ 646 w 1135"/>
                <a:gd name="T59" fmla="*/ 1083 h 1135"/>
                <a:gd name="T60" fmla="*/ 687 w 1135"/>
                <a:gd name="T61" fmla="*/ 1105 h 1135"/>
                <a:gd name="T62" fmla="*/ 759 w 1135"/>
                <a:gd name="T63" fmla="*/ 1129 h 1135"/>
                <a:gd name="T64" fmla="*/ 804 w 1135"/>
                <a:gd name="T65" fmla="*/ 1134 h 1135"/>
                <a:gd name="T66" fmla="*/ 880 w 1135"/>
                <a:gd name="T67" fmla="*/ 1129 h 1135"/>
                <a:gd name="T68" fmla="*/ 924 w 1135"/>
                <a:gd name="T69" fmla="*/ 1117 h 1135"/>
                <a:gd name="T70" fmla="*/ 993 w 1135"/>
                <a:gd name="T71" fmla="*/ 1083 h 1135"/>
                <a:gd name="T72" fmla="*/ 1031 w 1135"/>
                <a:gd name="T73" fmla="*/ 1053 h 1135"/>
                <a:gd name="T74" fmla="*/ 1042 w 1135"/>
                <a:gd name="T75" fmla="*/ 1042 h 1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35" h="1135">
                  <a:moveTo>
                    <a:pt x="1042" y="1042"/>
                  </a:moveTo>
                  <a:cubicBezTo>
                    <a:pt x="1054" y="1031"/>
                    <a:pt x="1064" y="1019"/>
                    <a:pt x="1074" y="1006"/>
                  </a:cubicBezTo>
                  <a:cubicBezTo>
                    <a:pt x="1083" y="993"/>
                    <a:pt x="1091" y="980"/>
                    <a:pt x="1098" y="966"/>
                  </a:cubicBezTo>
                  <a:cubicBezTo>
                    <a:pt x="1110" y="942"/>
                    <a:pt x="1118" y="920"/>
                    <a:pt x="1125" y="895"/>
                  </a:cubicBezTo>
                  <a:cubicBezTo>
                    <a:pt x="1129" y="880"/>
                    <a:pt x="1131" y="865"/>
                    <a:pt x="1133" y="850"/>
                  </a:cubicBezTo>
                  <a:cubicBezTo>
                    <a:pt x="1135" y="824"/>
                    <a:pt x="1134" y="800"/>
                    <a:pt x="1131" y="774"/>
                  </a:cubicBezTo>
                  <a:cubicBezTo>
                    <a:pt x="1128" y="759"/>
                    <a:pt x="1125" y="745"/>
                    <a:pt x="1121" y="730"/>
                  </a:cubicBezTo>
                  <a:cubicBezTo>
                    <a:pt x="1113" y="705"/>
                    <a:pt x="1104" y="682"/>
                    <a:pt x="1091" y="659"/>
                  </a:cubicBezTo>
                  <a:cubicBezTo>
                    <a:pt x="1074" y="633"/>
                    <a:pt x="1074" y="633"/>
                    <a:pt x="1074" y="633"/>
                  </a:cubicBezTo>
                  <a:cubicBezTo>
                    <a:pt x="1064" y="620"/>
                    <a:pt x="1054" y="609"/>
                    <a:pt x="1043" y="597"/>
                  </a:cubicBezTo>
                  <a:cubicBezTo>
                    <a:pt x="526" y="81"/>
                    <a:pt x="526" y="81"/>
                    <a:pt x="526" y="81"/>
                  </a:cubicBezTo>
                  <a:cubicBezTo>
                    <a:pt x="514" y="71"/>
                    <a:pt x="502" y="61"/>
                    <a:pt x="488" y="52"/>
                  </a:cubicBezTo>
                  <a:cubicBezTo>
                    <a:pt x="475" y="44"/>
                    <a:pt x="462" y="36"/>
                    <a:pt x="448" y="29"/>
                  </a:cubicBezTo>
                  <a:cubicBezTo>
                    <a:pt x="424" y="19"/>
                    <a:pt x="401" y="12"/>
                    <a:pt x="375" y="6"/>
                  </a:cubicBezTo>
                  <a:cubicBezTo>
                    <a:pt x="360" y="3"/>
                    <a:pt x="345" y="2"/>
                    <a:pt x="330" y="1"/>
                  </a:cubicBezTo>
                  <a:cubicBezTo>
                    <a:pt x="304" y="0"/>
                    <a:pt x="280" y="2"/>
                    <a:pt x="255" y="6"/>
                  </a:cubicBezTo>
                  <a:cubicBezTo>
                    <a:pt x="240" y="9"/>
                    <a:pt x="225" y="13"/>
                    <a:pt x="211" y="18"/>
                  </a:cubicBezTo>
                  <a:cubicBezTo>
                    <a:pt x="186" y="27"/>
                    <a:pt x="164" y="38"/>
                    <a:pt x="142" y="52"/>
                  </a:cubicBezTo>
                  <a:cubicBezTo>
                    <a:pt x="128" y="61"/>
                    <a:pt x="116" y="71"/>
                    <a:pt x="104" y="81"/>
                  </a:cubicBezTo>
                  <a:cubicBezTo>
                    <a:pt x="92" y="92"/>
                    <a:pt x="81" y="104"/>
                    <a:pt x="71" y="116"/>
                  </a:cubicBezTo>
                  <a:cubicBezTo>
                    <a:pt x="61" y="129"/>
                    <a:pt x="52" y="141"/>
                    <a:pt x="44" y="155"/>
                  </a:cubicBezTo>
                  <a:cubicBezTo>
                    <a:pt x="36" y="169"/>
                    <a:pt x="29" y="182"/>
                    <a:pt x="23" y="196"/>
                  </a:cubicBezTo>
                  <a:cubicBezTo>
                    <a:pt x="14" y="221"/>
                    <a:pt x="8" y="244"/>
                    <a:pt x="3" y="270"/>
                  </a:cubicBezTo>
                  <a:cubicBezTo>
                    <a:pt x="2" y="285"/>
                    <a:pt x="1" y="300"/>
                    <a:pt x="0" y="315"/>
                  </a:cubicBezTo>
                  <a:cubicBezTo>
                    <a:pt x="1" y="341"/>
                    <a:pt x="4" y="365"/>
                    <a:pt x="9" y="390"/>
                  </a:cubicBezTo>
                  <a:cubicBezTo>
                    <a:pt x="13" y="405"/>
                    <a:pt x="18" y="419"/>
                    <a:pt x="23" y="434"/>
                  </a:cubicBezTo>
                  <a:cubicBezTo>
                    <a:pt x="34" y="458"/>
                    <a:pt x="46" y="479"/>
                    <a:pt x="61" y="501"/>
                  </a:cubicBezTo>
                  <a:cubicBezTo>
                    <a:pt x="71" y="514"/>
                    <a:pt x="81" y="526"/>
                    <a:pt x="92" y="537"/>
                  </a:cubicBezTo>
                  <a:cubicBezTo>
                    <a:pt x="608" y="1053"/>
                    <a:pt x="608" y="1053"/>
                    <a:pt x="608" y="1053"/>
                  </a:cubicBezTo>
                  <a:cubicBezTo>
                    <a:pt x="621" y="1064"/>
                    <a:pt x="633" y="1073"/>
                    <a:pt x="646" y="1083"/>
                  </a:cubicBezTo>
                  <a:cubicBezTo>
                    <a:pt x="659" y="1091"/>
                    <a:pt x="673" y="1098"/>
                    <a:pt x="687" y="1105"/>
                  </a:cubicBezTo>
                  <a:cubicBezTo>
                    <a:pt x="711" y="1116"/>
                    <a:pt x="734" y="1123"/>
                    <a:pt x="759" y="1129"/>
                  </a:cubicBezTo>
                  <a:cubicBezTo>
                    <a:pt x="774" y="1131"/>
                    <a:pt x="789" y="1133"/>
                    <a:pt x="804" y="1134"/>
                  </a:cubicBezTo>
                  <a:cubicBezTo>
                    <a:pt x="830" y="1135"/>
                    <a:pt x="854" y="1133"/>
                    <a:pt x="880" y="1129"/>
                  </a:cubicBezTo>
                  <a:cubicBezTo>
                    <a:pt x="895" y="1125"/>
                    <a:pt x="909" y="1121"/>
                    <a:pt x="924" y="1117"/>
                  </a:cubicBezTo>
                  <a:cubicBezTo>
                    <a:pt x="949" y="1107"/>
                    <a:pt x="970" y="1097"/>
                    <a:pt x="993" y="1083"/>
                  </a:cubicBezTo>
                  <a:cubicBezTo>
                    <a:pt x="1006" y="1073"/>
                    <a:pt x="1018" y="1064"/>
                    <a:pt x="1031" y="1053"/>
                  </a:cubicBezTo>
                  <a:cubicBezTo>
                    <a:pt x="1042" y="1042"/>
                    <a:pt x="1042" y="1042"/>
                    <a:pt x="1042" y="104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3" name="任意多边形: 形状 12">
              <a:extLst>
                <a:ext uri="{FF2B5EF4-FFF2-40B4-BE49-F238E27FC236}">
                  <a16:creationId xmlns:a16="http://schemas.microsoft.com/office/drawing/2014/main" id="{288F369C-F886-4144-906A-E126E9E1D2C7}"/>
                </a:ext>
              </a:extLst>
            </p:cNvPr>
            <p:cNvSpPr/>
            <p:nvPr/>
          </p:nvSpPr>
          <p:spPr bwMode="auto">
            <a:xfrm>
              <a:off x="3806033" y="1354644"/>
              <a:ext cx="2776084" cy="2770024"/>
            </a:xfrm>
            <a:custGeom>
              <a:avLst/>
              <a:gdLst>
                <a:gd name="T0" fmla="*/ 996 w 1102"/>
                <a:gd name="T1" fmla="*/ 996 h 1102"/>
                <a:gd name="T2" fmla="*/ 996 w 1102"/>
                <a:gd name="T3" fmla="*/ 996 h 1102"/>
                <a:gd name="T4" fmla="*/ 996 w 1102"/>
                <a:gd name="T5" fmla="*/ 611 h 1102"/>
                <a:gd name="T6" fmla="*/ 492 w 1102"/>
                <a:gd name="T7" fmla="*/ 106 h 1102"/>
                <a:gd name="T8" fmla="*/ 106 w 1102"/>
                <a:gd name="T9" fmla="*/ 106 h 1102"/>
                <a:gd name="T10" fmla="*/ 106 w 1102"/>
                <a:gd name="T11" fmla="*/ 106 h 1102"/>
                <a:gd name="T12" fmla="*/ 106 w 1102"/>
                <a:gd name="T13" fmla="*/ 492 h 1102"/>
                <a:gd name="T14" fmla="*/ 611 w 1102"/>
                <a:gd name="T15" fmla="*/ 996 h 1102"/>
                <a:gd name="T16" fmla="*/ 996 w 1102"/>
                <a:gd name="T17" fmla="*/ 996 h 1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102" h="1102">
                  <a:moveTo>
                    <a:pt x="996" y="996"/>
                  </a:moveTo>
                  <a:cubicBezTo>
                    <a:pt x="996" y="996"/>
                    <a:pt x="996" y="996"/>
                    <a:pt x="996" y="996"/>
                  </a:cubicBezTo>
                  <a:cubicBezTo>
                    <a:pt x="1102" y="890"/>
                    <a:pt x="1102" y="717"/>
                    <a:pt x="996" y="611"/>
                  </a:cubicBezTo>
                  <a:cubicBezTo>
                    <a:pt x="492" y="106"/>
                    <a:pt x="492" y="106"/>
                    <a:pt x="492" y="106"/>
                  </a:cubicBezTo>
                  <a:cubicBezTo>
                    <a:pt x="386" y="0"/>
                    <a:pt x="212" y="0"/>
                    <a:pt x="106" y="106"/>
                  </a:cubicBezTo>
                  <a:cubicBezTo>
                    <a:pt x="106" y="106"/>
                    <a:pt x="106" y="106"/>
                    <a:pt x="106" y="106"/>
                  </a:cubicBezTo>
                  <a:cubicBezTo>
                    <a:pt x="0" y="212"/>
                    <a:pt x="0" y="386"/>
                    <a:pt x="106" y="492"/>
                  </a:cubicBezTo>
                  <a:cubicBezTo>
                    <a:pt x="611" y="996"/>
                    <a:pt x="611" y="996"/>
                    <a:pt x="611" y="996"/>
                  </a:cubicBezTo>
                  <a:cubicBezTo>
                    <a:pt x="717" y="1102"/>
                    <a:pt x="890" y="1102"/>
                    <a:pt x="996" y="996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4" name="椭圆 13">
              <a:extLst>
                <a:ext uri="{FF2B5EF4-FFF2-40B4-BE49-F238E27FC236}">
                  <a16:creationId xmlns:a16="http://schemas.microsoft.com/office/drawing/2014/main" id="{7B98C935-A084-4D63-9F32-8622808D6AAE}"/>
                </a:ext>
              </a:extLst>
            </p:cNvPr>
            <p:cNvSpPr/>
            <p:nvPr/>
          </p:nvSpPr>
          <p:spPr bwMode="auto">
            <a:xfrm>
              <a:off x="4621886" y="2169285"/>
              <a:ext cx="2948226" cy="2942166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wrap="square" lIns="91440" tIns="45720" rIns="91440" bIns="45720" anchor="ctr">
              <a:normAutofit/>
            </a:bodyPr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5" name="任意多边形: 形状 14">
              <a:extLst>
                <a:ext uri="{FF2B5EF4-FFF2-40B4-BE49-F238E27FC236}">
                  <a16:creationId xmlns:a16="http://schemas.microsoft.com/office/drawing/2014/main" id="{4B57BF1A-AD4B-4650-ADD7-D2E3382752CD}"/>
                </a:ext>
              </a:extLst>
            </p:cNvPr>
            <p:cNvSpPr/>
            <p:nvPr/>
          </p:nvSpPr>
          <p:spPr bwMode="auto">
            <a:xfrm>
              <a:off x="4730990" y="2277177"/>
              <a:ext cx="1311670" cy="1310458"/>
            </a:xfrm>
            <a:custGeom>
              <a:avLst/>
              <a:gdLst>
                <a:gd name="T0" fmla="*/ 0 w 521"/>
                <a:gd name="T1" fmla="*/ 521 h 521"/>
                <a:gd name="T2" fmla="*/ 521 w 521"/>
                <a:gd name="T3" fmla="*/ 0 h 521"/>
                <a:gd name="T4" fmla="*/ 521 w 521"/>
                <a:gd name="T5" fmla="*/ 521 h 521"/>
                <a:gd name="T6" fmla="*/ 0 w 521"/>
                <a:gd name="T7" fmla="*/ 521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" h="521">
                  <a:moveTo>
                    <a:pt x="0" y="521"/>
                  </a:moveTo>
                  <a:cubicBezTo>
                    <a:pt x="11" y="239"/>
                    <a:pt x="239" y="11"/>
                    <a:pt x="521" y="0"/>
                  </a:cubicBezTo>
                  <a:cubicBezTo>
                    <a:pt x="521" y="521"/>
                    <a:pt x="521" y="521"/>
                    <a:pt x="521" y="521"/>
                  </a:cubicBezTo>
                  <a:cubicBezTo>
                    <a:pt x="0" y="521"/>
                    <a:pt x="0" y="521"/>
                    <a:pt x="0" y="521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6" name="任意多边形: 形状 15">
              <a:extLst>
                <a:ext uri="{FF2B5EF4-FFF2-40B4-BE49-F238E27FC236}">
                  <a16:creationId xmlns:a16="http://schemas.microsoft.com/office/drawing/2014/main" id="{C43BF3F4-2515-4403-A3D1-21ED5CA43994}"/>
                </a:ext>
              </a:extLst>
            </p:cNvPr>
            <p:cNvSpPr/>
            <p:nvPr/>
          </p:nvSpPr>
          <p:spPr bwMode="auto">
            <a:xfrm>
              <a:off x="4730990" y="3690678"/>
              <a:ext cx="1311670" cy="1311670"/>
            </a:xfrm>
            <a:custGeom>
              <a:avLst/>
              <a:gdLst>
                <a:gd name="T0" fmla="*/ 521 w 521"/>
                <a:gd name="T1" fmla="*/ 522 h 522"/>
                <a:gd name="T2" fmla="*/ 0 w 521"/>
                <a:gd name="T3" fmla="*/ 0 h 522"/>
                <a:gd name="T4" fmla="*/ 521 w 521"/>
                <a:gd name="T5" fmla="*/ 0 h 522"/>
                <a:gd name="T6" fmla="*/ 521 w 521"/>
                <a:gd name="T7" fmla="*/ 522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1" h="522">
                  <a:moveTo>
                    <a:pt x="521" y="522"/>
                  </a:moveTo>
                  <a:cubicBezTo>
                    <a:pt x="239" y="511"/>
                    <a:pt x="11" y="283"/>
                    <a:pt x="0" y="0"/>
                  </a:cubicBezTo>
                  <a:cubicBezTo>
                    <a:pt x="521" y="0"/>
                    <a:pt x="521" y="0"/>
                    <a:pt x="521" y="0"/>
                  </a:cubicBezTo>
                  <a:cubicBezTo>
                    <a:pt x="521" y="522"/>
                    <a:pt x="521" y="522"/>
                    <a:pt x="521" y="522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7" name="任意多边形: 形状 16">
              <a:extLst>
                <a:ext uri="{FF2B5EF4-FFF2-40B4-BE49-F238E27FC236}">
                  <a16:creationId xmlns:a16="http://schemas.microsoft.com/office/drawing/2014/main" id="{C9918517-EFC1-48FB-A457-A6460334F78F}"/>
                </a:ext>
              </a:extLst>
            </p:cNvPr>
            <p:cNvSpPr/>
            <p:nvPr/>
          </p:nvSpPr>
          <p:spPr bwMode="auto">
            <a:xfrm>
              <a:off x="6146916" y="3690678"/>
              <a:ext cx="1314095" cy="1311670"/>
            </a:xfrm>
            <a:custGeom>
              <a:avLst/>
              <a:gdLst>
                <a:gd name="T0" fmla="*/ 522 w 522"/>
                <a:gd name="T1" fmla="*/ 0 h 522"/>
                <a:gd name="T2" fmla="*/ 0 w 522"/>
                <a:gd name="T3" fmla="*/ 522 h 522"/>
                <a:gd name="T4" fmla="*/ 0 w 522"/>
                <a:gd name="T5" fmla="*/ 0 h 522"/>
                <a:gd name="T6" fmla="*/ 522 w 522"/>
                <a:gd name="T7" fmla="*/ 0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2" h="522">
                  <a:moveTo>
                    <a:pt x="522" y="0"/>
                  </a:moveTo>
                  <a:cubicBezTo>
                    <a:pt x="511" y="283"/>
                    <a:pt x="283" y="511"/>
                    <a:pt x="0" y="52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22" y="0"/>
                    <a:pt x="522" y="0"/>
                    <a:pt x="522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8" name="任意多边形: 形状 17">
              <a:extLst>
                <a:ext uri="{FF2B5EF4-FFF2-40B4-BE49-F238E27FC236}">
                  <a16:creationId xmlns:a16="http://schemas.microsoft.com/office/drawing/2014/main" id="{520CDE1D-6441-46C8-8CD7-26D1AF3962CE}"/>
                </a:ext>
              </a:extLst>
            </p:cNvPr>
            <p:cNvSpPr/>
            <p:nvPr/>
          </p:nvSpPr>
          <p:spPr bwMode="auto">
            <a:xfrm>
              <a:off x="6146916" y="2277177"/>
              <a:ext cx="1314095" cy="1310458"/>
            </a:xfrm>
            <a:custGeom>
              <a:avLst/>
              <a:gdLst>
                <a:gd name="T0" fmla="*/ 0 w 522"/>
                <a:gd name="T1" fmla="*/ 0 h 521"/>
                <a:gd name="T2" fmla="*/ 522 w 522"/>
                <a:gd name="T3" fmla="*/ 521 h 521"/>
                <a:gd name="T4" fmla="*/ 0 w 522"/>
                <a:gd name="T5" fmla="*/ 521 h 521"/>
                <a:gd name="T6" fmla="*/ 0 w 522"/>
                <a:gd name="T7" fmla="*/ 0 h 5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22" h="521">
                  <a:moveTo>
                    <a:pt x="0" y="0"/>
                  </a:moveTo>
                  <a:cubicBezTo>
                    <a:pt x="283" y="11"/>
                    <a:pt x="511" y="239"/>
                    <a:pt x="522" y="521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anchor="ctr" anchorCtr="1" compatLnSpc="1">
              <a:normAutofit/>
            </a:bodyPr>
            <a:lstStyle/>
            <a:p>
              <a:pPr algn="r"/>
              <a:endParaRPr lang="zh-CN" altLang="en-US" sz="36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sp>
          <p:nvSpPr>
            <p:cNvPr id="19" name="任意多边形: 形状 18">
              <a:extLst>
                <a:ext uri="{FF2B5EF4-FFF2-40B4-BE49-F238E27FC236}">
                  <a16:creationId xmlns:a16="http://schemas.microsoft.com/office/drawing/2014/main" id="{8AD29918-86A0-40A6-88B7-3C41D795B7B7}"/>
                </a:ext>
              </a:extLst>
            </p:cNvPr>
            <p:cNvSpPr/>
            <p:nvPr/>
          </p:nvSpPr>
          <p:spPr bwMode="auto">
            <a:xfrm>
              <a:off x="5426824" y="2971916"/>
              <a:ext cx="1335926" cy="1334482"/>
            </a:xfrm>
            <a:custGeom>
              <a:avLst/>
              <a:gdLst>
                <a:gd name="T0" fmla="*/ 79 w 445"/>
                <a:gd name="T1" fmla="*/ 79 h 445"/>
                <a:gd name="T2" fmla="*/ 79 w 445"/>
                <a:gd name="T3" fmla="*/ 366 h 445"/>
                <a:gd name="T4" fmla="*/ 366 w 445"/>
                <a:gd name="T5" fmla="*/ 366 h 445"/>
                <a:gd name="T6" fmla="*/ 366 w 445"/>
                <a:gd name="T7" fmla="*/ 79 h 445"/>
                <a:gd name="T8" fmla="*/ 79 w 445"/>
                <a:gd name="T9" fmla="*/ 79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5" h="445">
                  <a:moveTo>
                    <a:pt x="79" y="79"/>
                  </a:moveTo>
                  <a:cubicBezTo>
                    <a:pt x="0" y="158"/>
                    <a:pt x="0" y="287"/>
                    <a:pt x="79" y="366"/>
                  </a:cubicBezTo>
                  <a:cubicBezTo>
                    <a:pt x="158" y="445"/>
                    <a:pt x="287" y="445"/>
                    <a:pt x="366" y="366"/>
                  </a:cubicBezTo>
                  <a:cubicBezTo>
                    <a:pt x="445" y="287"/>
                    <a:pt x="445" y="158"/>
                    <a:pt x="366" y="79"/>
                  </a:cubicBezTo>
                  <a:cubicBezTo>
                    <a:pt x="287" y="0"/>
                    <a:pt x="158" y="0"/>
                    <a:pt x="79" y="79"/>
                  </a:cubicBezTo>
                  <a:close/>
                </a:path>
              </a:pathLst>
            </a:cu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anchor="ctr">
              <a:normAutofit/>
            </a:bodyPr>
            <a:lstStyle/>
            <a:p>
              <a:pPr algn="ctr"/>
              <a:r>
                <a:rPr lang="en-US" b="1" dirty="0">
                  <a:solidFill>
                    <a:schemeClr val="tx1"/>
                  </a:solidFill>
                  <a:cs typeface="+mn-ea"/>
                  <a:sym typeface="+mn-lt"/>
                </a:rPr>
                <a:t>Text</a:t>
              </a:r>
              <a:endParaRPr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20" name="任意多边形: 形状 19">
              <a:extLst>
                <a:ext uri="{FF2B5EF4-FFF2-40B4-BE49-F238E27FC236}">
                  <a16:creationId xmlns:a16="http://schemas.microsoft.com/office/drawing/2014/main" id="{A8217CB8-5E9E-4807-AEDB-1AB63AAE66C5}"/>
                </a:ext>
              </a:extLst>
            </p:cNvPr>
            <p:cNvSpPr/>
            <p:nvPr/>
          </p:nvSpPr>
          <p:spPr bwMode="auto">
            <a:xfrm>
              <a:off x="6474747" y="2715033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1" name="任意多边形: 形状 20">
              <a:extLst>
                <a:ext uri="{FF2B5EF4-FFF2-40B4-BE49-F238E27FC236}">
                  <a16:creationId xmlns:a16="http://schemas.microsoft.com/office/drawing/2014/main" id="{00E83879-A1F1-4741-BCBD-E352A838A880}"/>
                </a:ext>
              </a:extLst>
            </p:cNvPr>
            <p:cNvSpPr/>
            <p:nvPr/>
          </p:nvSpPr>
          <p:spPr bwMode="auto">
            <a:xfrm>
              <a:off x="5145567" y="2715033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2" name="任意多边形: 形状 21">
              <a:extLst>
                <a:ext uri="{FF2B5EF4-FFF2-40B4-BE49-F238E27FC236}">
                  <a16:creationId xmlns:a16="http://schemas.microsoft.com/office/drawing/2014/main" id="{16740CD2-2004-49F6-BF2E-CA26E5B3F993}"/>
                </a:ext>
              </a:extLst>
            </p:cNvPr>
            <p:cNvSpPr/>
            <p:nvPr/>
          </p:nvSpPr>
          <p:spPr bwMode="auto">
            <a:xfrm>
              <a:off x="6474747" y="4138480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3" name="任意多边形: 形状 22">
              <a:extLst>
                <a:ext uri="{FF2B5EF4-FFF2-40B4-BE49-F238E27FC236}">
                  <a16:creationId xmlns:a16="http://schemas.microsoft.com/office/drawing/2014/main" id="{2EEEBC68-6B04-43B7-8DB5-7172093AB5F1}"/>
                </a:ext>
              </a:extLst>
            </p:cNvPr>
            <p:cNvSpPr/>
            <p:nvPr/>
          </p:nvSpPr>
          <p:spPr bwMode="auto">
            <a:xfrm>
              <a:off x="5145567" y="4138480"/>
              <a:ext cx="459416" cy="421482"/>
            </a:xfrm>
            <a:custGeom>
              <a:avLst/>
              <a:gdLst>
                <a:gd name="connsiteX0" fmla="*/ 303857 w 607639"/>
                <a:gd name="connsiteY0" fmla="*/ 303714 h 557467"/>
                <a:gd name="connsiteX1" fmla="*/ 352986 w 607639"/>
                <a:gd name="connsiteY1" fmla="*/ 309132 h 557467"/>
                <a:gd name="connsiteX2" fmla="*/ 514597 w 607639"/>
                <a:gd name="connsiteY2" fmla="*/ 449845 h 557467"/>
                <a:gd name="connsiteX3" fmla="*/ 528676 w 607639"/>
                <a:gd name="connsiteY3" fmla="*/ 528182 h 557467"/>
                <a:gd name="connsiteX4" fmla="*/ 499345 w 607639"/>
                <a:gd name="connsiteY4" fmla="*/ 557467 h 557467"/>
                <a:gd name="connsiteX5" fmla="*/ 108223 w 607639"/>
                <a:gd name="connsiteY5" fmla="*/ 557467 h 557467"/>
                <a:gd name="connsiteX6" fmla="*/ 78892 w 607639"/>
                <a:gd name="connsiteY6" fmla="*/ 528182 h 557467"/>
                <a:gd name="connsiteX7" fmla="*/ 303857 w 607639"/>
                <a:gd name="connsiteY7" fmla="*/ 303714 h 557467"/>
                <a:gd name="connsiteX8" fmla="*/ 455825 w 607639"/>
                <a:gd name="connsiteY8" fmla="*/ 268995 h 557467"/>
                <a:gd name="connsiteX9" fmla="*/ 607639 w 607639"/>
                <a:gd name="connsiteY9" fmla="*/ 420565 h 557467"/>
                <a:gd name="connsiteX10" fmla="*/ 578303 w 607639"/>
                <a:gd name="connsiteY10" fmla="*/ 449854 h 557467"/>
                <a:gd name="connsiteX11" fmla="*/ 576396 w 607639"/>
                <a:gd name="connsiteY11" fmla="*/ 449854 h 557467"/>
                <a:gd name="connsiteX12" fmla="*/ 424875 w 607639"/>
                <a:gd name="connsiteY12" fmla="*/ 272217 h 557467"/>
                <a:gd name="connsiteX13" fmla="*/ 455825 w 607639"/>
                <a:gd name="connsiteY13" fmla="*/ 268995 h 557467"/>
                <a:gd name="connsiteX14" fmla="*/ 151811 w 607639"/>
                <a:gd name="connsiteY14" fmla="*/ 268995 h 557467"/>
                <a:gd name="connsiteX15" fmla="*/ 182906 w 607639"/>
                <a:gd name="connsiteY15" fmla="*/ 272217 h 557467"/>
                <a:gd name="connsiteX16" fmla="*/ 31389 w 607639"/>
                <a:gd name="connsiteY16" fmla="*/ 449854 h 557467"/>
                <a:gd name="connsiteX17" fmla="*/ 29335 w 607639"/>
                <a:gd name="connsiteY17" fmla="*/ 449854 h 557467"/>
                <a:gd name="connsiteX18" fmla="*/ 0 w 607639"/>
                <a:gd name="connsiteY18" fmla="*/ 420565 h 557467"/>
                <a:gd name="connsiteX19" fmla="*/ 151811 w 607639"/>
                <a:gd name="connsiteY19" fmla="*/ 268995 h 557467"/>
                <a:gd name="connsiteX20" fmla="*/ 462556 w 607639"/>
                <a:gd name="connsiteY20" fmla="*/ 35000 h 557467"/>
                <a:gd name="connsiteX21" fmla="*/ 543847 w 607639"/>
                <a:gd name="connsiteY21" fmla="*/ 122571 h 557467"/>
                <a:gd name="connsiteX22" fmla="*/ 462556 w 607639"/>
                <a:gd name="connsiteY22" fmla="*/ 210143 h 557467"/>
                <a:gd name="connsiteX23" fmla="*/ 485153 w 607639"/>
                <a:gd name="connsiteY23" fmla="*/ 122571 h 557467"/>
                <a:gd name="connsiteX24" fmla="*/ 462556 w 607639"/>
                <a:gd name="connsiteY24" fmla="*/ 35000 h 557467"/>
                <a:gd name="connsiteX25" fmla="*/ 145224 w 607639"/>
                <a:gd name="connsiteY25" fmla="*/ 35000 h 557467"/>
                <a:gd name="connsiteX26" fmla="*/ 122481 w 607639"/>
                <a:gd name="connsiteY26" fmla="*/ 122571 h 557467"/>
                <a:gd name="connsiteX27" fmla="*/ 145224 w 607639"/>
                <a:gd name="connsiteY27" fmla="*/ 210143 h 557467"/>
                <a:gd name="connsiteX28" fmla="*/ 63791 w 607639"/>
                <a:gd name="connsiteY28" fmla="*/ 122571 h 557467"/>
                <a:gd name="connsiteX29" fmla="*/ 145224 w 607639"/>
                <a:gd name="connsiteY29" fmla="*/ 35000 h 557467"/>
                <a:gd name="connsiteX30" fmla="*/ 303892 w 607639"/>
                <a:gd name="connsiteY30" fmla="*/ 0 h 557467"/>
                <a:gd name="connsiteX31" fmla="*/ 403912 w 607639"/>
                <a:gd name="connsiteY31" fmla="*/ 51694 h 557467"/>
                <a:gd name="connsiteX32" fmla="*/ 426497 w 607639"/>
                <a:gd name="connsiteY32" fmla="*/ 122572 h 557467"/>
                <a:gd name="connsiteX33" fmla="*/ 403912 w 607639"/>
                <a:gd name="connsiteY33" fmla="*/ 193450 h 557467"/>
                <a:gd name="connsiteX34" fmla="*/ 303892 w 607639"/>
                <a:gd name="connsiteY34" fmla="*/ 245144 h 557467"/>
                <a:gd name="connsiteX35" fmla="*/ 181141 w 607639"/>
                <a:gd name="connsiteY35" fmla="*/ 122572 h 557467"/>
                <a:gd name="connsiteX36" fmla="*/ 303892 w 607639"/>
                <a:gd name="connsiteY36" fmla="*/ 0 h 5574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607639" h="557467">
                  <a:moveTo>
                    <a:pt x="303857" y="303714"/>
                  </a:moveTo>
                  <a:cubicBezTo>
                    <a:pt x="320722" y="303714"/>
                    <a:pt x="337148" y="305618"/>
                    <a:pt x="352986" y="309132"/>
                  </a:cubicBezTo>
                  <a:cubicBezTo>
                    <a:pt x="427486" y="325824"/>
                    <a:pt x="488200" y="379562"/>
                    <a:pt x="514597" y="449845"/>
                  </a:cubicBezTo>
                  <a:cubicBezTo>
                    <a:pt x="523690" y="474298"/>
                    <a:pt x="528676" y="500655"/>
                    <a:pt x="528676" y="528182"/>
                  </a:cubicBezTo>
                  <a:cubicBezTo>
                    <a:pt x="528676" y="544289"/>
                    <a:pt x="515477" y="557467"/>
                    <a:pt x="499345" y="557467"/>
                  </a:cubicBezTo>
                  <a:lnTo>
                    <a:pt x="108223" y="557467"/>
                  </a:lnTo>
                  <a:cubicBezTo>
                    <a:pt x="92091" y="557467"/>
                    <a:pt x="78892" y="544289"/>
                    <a:pt x="78892" y="528182"/>
                  </a:cubicBezTo>
                  <a:cubicBezTo>
                    <a:pt x="78892" y="404307"/>
                    <a:pt x="179789" y="303714"/>
                    <a:pt x="303857" y="303714"/>
                  </a:cubicBezTo>
                  <a:close/>
                  <a:moveTo>
                    <a:pt x="455825" y="268995"/>
                  </a:moveTo>
                  <a:cubicBezTo>
                    <a:pt x="539579" y="268995"/>
                    <a:pt x="607639" y="336945"/>
                    <a:pt x="607639" y="420565"/>
                  </a:cubicBezTo>
                  <a:cubicBezTo>
                    <a:pt x="607639" y="436674"/>
                    <a:pt x="594584" y="449854"/>
                    <a:pt x="578303" y="449854"/>
                  </a:cubicBezTo>
                  <a:lnTo>
                    <a:pt x="576396" y="449854"/>
                  </a:lnTo>
                  <a:cubicBezTo>
                    <a:pt x="553661" y="371360"/>
                    <a:pt x="497775" y="306631"/>
                    <a:pt x="424875" y="272217"/>
                  </a:cubicBezTo>
                  <a:cubicBezTo>
                    <a:pt x="434996" y="270020"/>
                    <a:pt x="445410" y="268995"/>
                    <a:pt x="455825" y="268995"/>
                  </a:cubicBezTo>
                  <a:close/>
                  <a:moveTo>
                    <a:pt x="151811" y="268995"/>
                  </a:moveTo>
                  <a:cubicBezTo>
                    <a:pt x="162371" y="268995"/>
                    <a:pt x="172785" y="270020"/>
                    <a:pt x="182906" y="272217"/>
                  </a:cubicBezTo>
                  <a:cubicBezTo>
                    <a:pt x="110008" y="306631"/>
                    <a:pt x="53977" y="371360"/>
                    <a:pt x="31389" y="449854"/>
                  </a:cubicBezTo>
                  <a:lnTo>
                    <a:pt x="29335" y="449854"/>
                  </a:lnTo>
                  <a:cubicBezTo>
                    <a:pt x="13201" y="449854"/>
                    <a:pt x="0" y="436674"/>
                    <a:pt x="0" y="420565"/>
                  </a:cubicBezTo>
                  <a:cubicBezTo>
                    <a:pt x="0" y="336945"/>
                    <a:pt x="68058" y="268995"/>
                    <a:pt x="151811" y="268995"/>
                  </a:cubicBezTo>
                  <a:close/>
                  <a:moveTo>
                    <a:pt x="462556" y="35000"/>
                  </a:moveTo>
                  <a:cubicBezTo>
                    <a:pt x="507897" y="38368"/>
                    <a:pt x="543847" y="76296"/>
                    <a:pt x="543847" y="122571"/>
                  </a:cubicBezTo>
                  <a:cubicBezTo>
                    <a:pt x="543847" y="168847"/>
                    <a:pt x="507897" y="206775"/>
                    <a:pt x="462556" y="210143"/>
                  </a:cubicBezTo>
                  <a:cubicBezTo>
                    <a:pt x="476936" y="184223"/>
                    <a:pt x="485153" y="154349"/>
                    <a:pt x="485153" y="122571"/>
                  </a:cubicBezTo>
                  <a:cubicBezTo>
                    <a:pt x="485153" y="90794"/>
                    <a:pt x="476936" y="60920"/>
                    <a:pt x="462556" y="35000"/>
                  </a:cubicBezTo>
                  <a:close/>
                  <a:moveTo>
                    <a:pt x="145224" y="35000"/>
                  </a:moveTo>
                  <a:cubicBezTo>
                    <a:pt x="130698" y="60920"/>
                    <a:pt x="122481" y="90794"/>
                    <a:pt x="122481" y="122571"/>
                  </a:cubicBezTo>
                  <a:cubicBezTo>
                    <a:pt x="122481" y="154349"/>
                    <a:pt x="130698" y="184223"/>
                    <a:pt x="145224" y="210143"/>
                  </a:cubicBezTo>
                  <a:cubicBezTo>
                    <a:pt x="99739" y="206775"/>
                    <a:pt x="63791" y="168847"/>
                    <a:pt x="63791" y="122571"/>
                  </a:cubicBezTo>
                  <a:cubicBezTo>
                    <a:pt x="63791" y="76296"/>
                    <a:pt x="99739" y="38368"/>
                    <a:pt x="145224" y="35000"/>
                  </a:cubicBezTo>
                  <a:close/>
                  <a:moveTo>
                    <a:pt x="303892" y="0"/>
                  </a:moveTo>
                  <a:cubicBezTo>
                    <a:pt x="345103" y="0"/>
                    <a:pt x="381620" y="20502"/>
                    <a:pt x="403912" y="51694"/>
                  </a:cubicBezTo>
                  <a:cubicBezTo>
                    <a:pt x="418138" y="71756"/>
                    <a:pt x="426497" y="96212"/>
                    <a:pt x="426497" y="122572"/>
                  </a:cubicBezTo>
                  <a:cubicBezTo>
                    <a:pt x="426497" y="148931"/>
                    <a:pt x="418138" y="173387"/>
                    <a:pt x="403912" y="193450"/>
                  </a:cubicBezTo>
                  <a:cubicBezTo>
                    <a:pt x="381620" y="224642"/>
                    <a:pt x="345103" y="245144"/>
                    <a:pt x="303892" y="245144"/>
                  </a:cubicBezTo>
                  <a:cubicBezTo>
                    <a:pt x="236137" y="245144"/>
                    <a:pt x="181141" y="190082"/>
                    <a:pt x="181141" y="122572"/>
                  </a:cubicBezTo>
                  <a:cubicBezTo>
                    <a:pt x="181141" y="55062"/>
                    <a:pt x="236137" y="0"/>
                    <a:pt x="303892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24" name="文本框 23">
              <a:extLst>
                <a:ext uri="{FF2B5EF4-FFF2-40B4-BE49-F238E27FC236}">
                  <a16:creationId xmlns:a16="http://schemas.microsoft.com/office/drawing/2014/main" id="{D75EF5B3-F718-42B9-AB77-F85C52872D6C}"/>
                </a:ext>
              </a:extLst>
            </p:cNvPr>
            <p:cNvSpPr txBox="1"/>
            <p:nvPr/>
          </p:nvSpPr>
          <p:spPr>
            <a:xfrm>
              <a:off x="4067572" y="1891432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5" name="文本框 24">
              <a:extLst>
                <a:ext uri="{FF2B5EF4-FFF2-40B4-BE49-F238E27FC236}">
                  <a16:creationId xmlns:a16="http://schemas.microsoft.com/office/drawing/2014/main" id="{DCFBA58D-6C56-4E97-BF5C-84BE7D39D2BF}"/>
                </a:ext>
              </a:extLst>
            </p:cNvPr>
            <p:cNvSpPr txBox="1"/>
            <p:nvPr/>
          </p:nvSpPr>
          <p:spPr>
            <a:xfrm>
              <a:off x="4067572" y="4948259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6" name="文本框 25">
              <a:extLst>
                <a:ext uri="{FF2B5EF4-FFF2-40B4-BE49-F238E27FC236}">
                  <a16:creationId xmlns:a16="http://schemas.microsoft.com/office/drawing/2014/main" id="{AE250DE3-7C92-42EB-BDEE-44648204F6B3}"/>
                </a:ext>
              </a:extLst>
            </p:cNvPr>
            <p:cNvSpPr txBox="1"/>
            <p:nvPr/>
          </p:nvSpPr>
          <p:spPr>
            <a:xfrm>
              <a:off x="7150366" y="1891432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7" name="文本框 26">
              <a:extLst>
                <a:ext uri="{FF2B5EF4-FFF2-40B4-BE49-F238E27FC236}">
                  <a16:creationId xmlns:a16="http://schemas.microsoft.com/office/drawing/2014/main" id="{517C60B6-F74A-483B-97FE-72F688C17757}"/>
                </a:ext>
              </a:extLst>
            </p:cNvPr>
            <p:cNvSpPr txBox="1"/>
            <p:nvPr/>
          </p:nvSpPr>
          <p:spPr>
            <a:xfrm>
              <a:off x="7150366" y="4948259"/>
              <a:ext cx="897694" cy="483522"/>
            </a:xfrm>
            <a:prstGeom prst="rect">
              <a:avLst/>
            </a:prstGeom>
            <a:noFill/>
          </p:spPr>
          <p:txBody>
            <a:bodyPr wrap="none" rtlCol="0" anchor="ctr">
              <a:normAutofit/>
            </a:bodyPr>
            <a:lstStyle/>
            <a:p>
              <a:pPr lvl="0" algn="ctr" defTabSz="914378">
                <a:spcBef>
                  <a:spcPct val="0"/>
                </a:spcBef>
                <a:defRPr/>
              </a:pPr>
              <a:r>
                <a:rPr lang="en-US" altLang="zh-CN" sz="1200" b="1">
                  <a:cs typeface="+mn-ea"/>
                  <a:sym typeface="+mn-lt"/>
                </a:rPr>
                <a:t>… text</a:t>
              </a:r>
              <a:endParaRPr lang="zh-CN" altLang="en-US" sz="1200" b="1" dirty="0">
                <a:cs typeface="+mn-ea"/>
                <a:sym typeface="+mn-lt"/>
              </a:endParaRP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F6AE26A7-B87C-4BFC-9328-9CA3D0DEE437}"/>
                </a:ext>
              </a:extLst>
            </p:cNvPr>
            <p:cNvSpPr/>
            <p:nvPr/>
          </p:nvSpPr>
          <p:spPr bwMode="auto">
            <a:xfrm>
              <a:off x="669925" y="1527143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29" name="矩形 28">
              <a:extLst>
                <a:ext uri="{FF2B5EF4-FFF2-40B4-BE49-F238E27FC236}">
                  <a16:creationId xmlns:a16="http://schemas.microsoft.com/office/drawing/2014/main" id="{C0B95528-62E1-440F-B8C9-3D663DEB1AEF}"/>
                </a:ext>
              </a:extLst>
            </p:cNvPr>
            <p:cNvSpPr/>
            <p:nvPr/>
          </p:nvSpPr>
          <p:spPr bwMode="auto">
            <a:xfrm>
              <a:off x="669925" y="4876709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 algn="r"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30" name="矩形 29">
              <a:extLst>
                <a:ext uri="{FF2B5EF4-FFF2-40B4-BE49-F238E27FC236}">
                  <a16:creationId xmlns:a16="http://schemas.microsoft.com/office/drawing/2014/main" id="{9AD06999-2C07-49D8-983D-4946AE1DB321}"/>
                </a:ext>
              </a:extLst>
            </p:cNvPr>
            <p:cNvSpPr/>
            <p:nvPr/>
          </p:nvSpPr>
          <p:spPr bwMode="auto">
            <a:xfrm>
              <a:off x="8371624" y="1527143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  <p:sp>
          <p:nvSpPr>
            <p:cNvPr id="31" name="矩形 30">
              <a:extLst>
                <a:ext uri="{FF2B5EF4-FFF2-40B4-BE49-F238E27FC236}">
                  <a16:creationId xmlns:a16="http://schemas.microsoft.com/office/drawing/2014/main" id="{D3573975-9508-4A5A-AD0C-A1B38DA1DB09}"/>
                </a:ext>
              </a:extLst>
            </p:cNvPr>
            <p:cNvSpPr/>
            <p:nvPr/>
          </p:nvSpPr>
          <p:spPr bwMode="auto">
            <a:xfrm>
              <a:off x="8371624" y="4876709"/>
              <a:ext cx="3144599" cy="8732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0000" tIns="46800" rIns="90000" bIns="46800" anchor="ctr" anchorCtr="0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Supporting text here.</a:t>
              </a:r>
            </a:p>
            <a:p>
              <a:pPr>
                <a:lnSpc>
                  <a:spcPct val="130000"/>
                </a:lnSpc>
              </a:pPr>
              <a:r>
                <a:rPr lang="en-US" altLang="zh-CN" sz="1200">
                  <a:cs typeface="+mn-ea"/>
                  <a:sym typeface="+mn-lt"/>
                </a:rPr>
                <a:t>…… </a:t>
              </a:r>
              <a:endParaRPr lang="en-US" altLang="zh-CN" sz="1200" dirty="0">
                <a:cs typeface="+mn-ea"/>
                <a:sym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714442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5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206947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8555D68-B9E2-4BAE-B8A5-EC31B08F89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F4C33CB-1D5C-4E65-A52A-4571EE2278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AF5A781-82AC-4B1E-B5F3-DEE931EBB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734CE58A-0481-4C18-937A-4DA3DECE17E4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411288"/>
            <a:ext cx="10845800" cy="4454525"/>
            <a:chOff x="673100" y="1411288"/>
            <a:chExt cx="10845800" cy="4454525"/>
          </a:xfrm>
        </p:grpSpPr>
        <p:cxnSp>
          <p:nvCxnSpPr>
            <p:cNvPr id="6" name="直接连接符 5">
              <a:extLst>
                <a:ext uri="{FF2B5EF4-FFF2-40B4-BE49-F238E27FC236}">
                  <a16:creationId xmlns:a16="http://schemas.microsoft.com/office/drawing/2014/main" id="{36D4CA02-3741-4855-AA40-94DFB68ED2FD}"/>
                </a:ext>
              </a:extLst>
            </p:cNvPr>
            <p:cNvCxnSpPr>
              <a:cxnSpLocks/>
              <a:stCxn id="46" idx="2"/>
              <a:endCxn id="7" idx="3"/>
            </p:cNvCxnSpPr>
            <p:nvPr/>
          </p:nvCxnSpPr>
          <p:spPr>
            <a:xfrm flipH="1">
              <a:off x="2553971" y="1760503"/>
              <a:ext cx="7782276" cy="1"/>
            </a:xfrm>
            <a:prstGeom prst="line">
              <a:avLst/>
            </a:prstGeom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53F0B08A-030E-4F57-94E6-431AAF7CBF8B}"/>
                </a:ext>
              </a:extLst>
            </p:cNvPr>
            <p:cNvSpPr txBox="1"/>
            <p:nvPr/>
          </p:nvSpPr>
          <p:spPr>
            <a:xfrm>
              <a:off x="673100" y="1468116"/>
              <a:ext cx="1880871" cy="584775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 w="38100">
              <a:solidFill>
                <a:schemeClr val="bg1"/>
              </a:solidFill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800" b="1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zh-CN" altLang="en-US" sz="1800" b="1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52C7DE3-27DC-49D4-A7B5-173586773D12}"/>
                </a:ext>
              </a:extLst>
            </p:cNvPr>
            <p:cNvGrpSpPr/>
            <p:nvPr/>
          </p:nvGrpSpPr>
          <p:grpSpPr>
            <a:xfrm>
              <a:off x="3484455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60" name="组合 59">
                <a:extLst>
                  <a:ext uri="{FF2B5EF4-FFF2-40B4-BE49-F238E27FC236}">
                    <a16:creationId xmlns:a16="http://schemas.microsoft.com/office/drawing/2014/main" id="{6A4FC085-CBF6-4FF6-9867-A3F1FCACA8CA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64" name="椭圆 63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 defTabSz="914400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65" name="任意多边形: 形状 64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61" name="组合 60">
                <a:extLst>
                  <a:ext uri="{FF2B5EF4-FFF2-40B4-BE49-F238E27FC236}">
                    <a16:creationId xmlns:a16="http://schemas.microsoft.com/office/drawing/2014/main" id="{8936EF87-C165-4127-8C72-1E4CA969921B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62" name="矩形 61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63" name="文本框 62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44BBD03E-AFA4-4853-B539-61CF8965A49D}"/>
                </a:ext>
              </a:extLst>
            </p:cNvPr>
            <p:cNvGrpSpPr/>
            <p:nvPr/>
          </p:nvGrpSpPr>
          <p:grpSpPr>
            <a:xfrm>
              <a:off x="5606978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54" name="组合 53">
                <a:extLst>
                  <a:ext uri="{FF2B5EF4-FFF2-40B4-BE49-F238E27FC236}">
                    <a16:creationId xmlns:a16="http://schemas.microsoft.com/office/drawing/2014/main" id="{76DFEC82-7F11-4F36-B4AA-894DBCB50F3A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58" name="椭圆 57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9" name="任意多边形: 形状 58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55" name="组合 54">
                <a:extLst>
                  <a:ext uri="{FF2B5EF4-FFF2-40B4-BE49-F238E27FC236}">
                    <a16:creationId xmlns:a16="http://schemas.microsoft.com/office/drawing/2014/main" id="{F0BD7C05-A496-4358-BF9D-987EE7A7E5BC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56" name="矩形 55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7" name="文本框 5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903802BD-6506-4E3D-9301-8A879A14725B}"/>
                </a:ext>
              </a:extLst>
            </p:cNvPr>
            <p:cNvGrpSpPr/>
            <p:nvPr/>
          </p:nvGrpSpPr>
          <p:grpSpPr>
            <a:xfrm>
              <a:off x="7729501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48" name="组合 47">
                <a:extLst>
                  <a:ext uri="{FF2B5EF4-FFF2-40B4-BE49-F238E27FC236}">
                    <a16:creationId xmlns:a16="http://schemas.microsoft.com/office/drawing/2014/main" id="{C023FBC2-3FAC-44FD-A335-297FB7729434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52" name="椭圆 51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3" name="任意多边形: 形状 52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9" name="组合 48">
                <a:extLst>
                  <a:ext uri="{FF2B5EF4-FFF2-40B4-BE49-F238E27FC236}">
                    <a16:creationId xmlns:a16="http://schemas.microsoft.com/office/drawing/2014/main" id="{F1D20DF5-F3DD-448F-9DDD-32CE69B72303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50" name="矩形 49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51" name="文本框 50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A41469DC-E139-4E66-9828-16D46A2F24DF}"/>
                </a:ext>
              </a:extLst>
            </p:cNvPr>
            <p:cNvGrpSpPr/>
            <p:nvPr/>
          </p:nvGrpSpPr>
          <p:grpSpPr>
            <a:xfrm>
              <a:off x="9852025" y="1411288"/>
              <a:ext cx="1666875" cy="1954035"/>
              <a:chOff x="3484455" y="1130300"/>
              <a:chExt cx="1666875" cy="1954035"/>
            </a:xfrm>
          </p:grpSpPr>
          <p:grpSp>
            <p:nvGrpSpPr>
              <p:cNvPr id="42" name="组合 41">
                <a:extLst>
                  <a:ext uri="{FF2B5EF4-FFF2-40B4-BE49-F238E27FC236}">
                    <a16:creationId xmlns:a16="http://schemas.microsoft.com/office/drawing/2014/main" id="{7DA1FC34-8B1E-4007-AB2B-530FE59C4433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46" name="椭圆 45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1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43" name="组合 42">
                <a:extLst>
                  <a:ext uri="{FF2B5EF4-FFF2-40B4-BE49-F238E27FC236}">
                    <a16:creationId xmlns:a16="http://schemas.microsoft.com/office/drawing/2014/main" id="{77CEAF58-BE25-4FBA-BFBE-0F07E93A846D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44" name="矩形 43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文本框 44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36D4CA02-3741-4855-AA40-94DFB68ED2FD}"/>
                </a:ext>
              </a:extLst>
            </p:cNvPr>
            <p:cNvCxnSpPr>
              <a:cxnSpLocks/>
              <a:stCxn id="22" idx="2"/>
              <a:endCxn id="13" idx="3"/>
            </p:cNvCxnSpPr>
            <p:nvPr/>
          </p:nvCxnSpPr>
          <p:spPr>
            <a:xfrm flipH="1">
              <a:off x="2553971" y="4260993"/>
              <a:ext cx="7782276" cy="1"/>
            </a:xfrm>
            <a:prstGeom prst="line">
              <a:avLst/>
            </a:prstGeom>
            <a:ln w="57150">
              <a:solidFill>
                <a:schemeClr val="bg1">
                  <a:lumMod val="9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53F0B08A-030E-4F57-94E6-431AAF7CBF8B}"/>
                </a:ext>
              </a:extLst>
            </p:cNvPr>
            <p:cNvSpPr txBox="1"/>
            <p:nvPr/>
          </p:nvSpPr>
          <p:spPr>
            <a:xfrm>
              <a:off x="673100" y="3968606"/>
              <a:ext cx="1880871" cy="584775"/>
            </a:xfrm>
            <a:prstGeom prst="roundRect">
              <a:avLst>
                <a:gd name="adj" fmla="val 50000"/>
              </a:avLst>
            </a:prstGeom>
            <a:solidFill>
              <a:schemeClr val="accent2"/>
            </a:solidFill>
            <a:ln w="38100">
              <a:solidFill>
                <a:schemeClr val="bg1"/>
              </a:solidFill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sz="1800" b="1" dirty="0">
                  <a:solidFill>
                    <a:schemeClr val="bg1"/>
                  </a:solidFill>
                  <a:cs typeface="+mn-ea"/>
                  <a:sym typeface="+mn-lt"/>
                </a:rPr>
                <a:t>…Text</a:t>
              </a:r>
              <a:endParaRPr lang="zh-CN" altLang="en-US" sz="1800" b="1" dirty="0">
                <a:solidFill>
                  <a:schemeClr val="bg1"/>
                </a:solidFill>
                <a:cs typeface="+mn-ea"/>
                <a:sym typeface="+mn-lt"/>
              </a:endParaRP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86031A49-AADA-4870-B14E-8A8FC08FE920}"/>
                </a:ext>
              </a:extLst>
            </p:cNvPr>
            <p:cNvGrpSpPr/>
            <p:nvPr/>
          </p:nvGrpSpPr>
          <p:grpSpPr>
            <a:xfrm>
              <a:off x="3484455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36" name="组合 35">
                <a:extLst>
                  <a:ext uri="{FF2B5EF4-FFF2-40B4-BE49-F238E27FC236}">
                    <a16:creationId xmlns:a16="http://schemas.microsoft.com/office/drawing/2014/main" id="{03761AE1-F359-49F9-9E51-0CCFE81CFDAD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40" name="椭圆 39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7" name="组合 36">
                <a:extLst>
                  <a:ext uri="{FF2B5EF4-FFF2-40B4-BE49-F238E27FC236}">
                    <a16:creationId xmlns:a16="http://schemas.microsoft.com/office/drawing/2014/main" id="{4892D2B7-A3C4-466F-9754-820DC1701DD2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38" name="矩形 37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文本框 38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53716D1B-D31C-4E6A-9F99-CEB349239CD5}"/>
                </a:ext>
              </a:extLst>
            </p:cNvPr>
            <p:cNvGrpSpPr/>
            <p:nvPr/>
          </p:nvGrpSpPr>
          <p:grpSpPr>
            <a:xfrm>
              <a:off x="5606978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30" name="组合 29">
                <a:extLst>
                  <a:ext uri="{FF2B5EF4-FFF2-40B4-BE49-F238E27FC236}">
                    <a16:creationId xmlns:a16="http://schemas.microsoft.com/office/drawing/2014/main" id="{39733057-CF17-43B0-8F47-9BAE7CD65D0E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34" name="椭圆 33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5" name="任意多边形: 形状 34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1" name="组合 30">
                <a:extLst>
                  <a:ext uri="{FF2B5EF4-FFF2-40B4-BE49-F238E27FC236}">
                    <a16:creationId xmlns:a16="http://schemas.microsoft.com/office/drawing/2014/main" id="{CA4B2F20-FAF6-4208-A99D-0A4A603BA962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32" name="矩形 31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3" name="文本框 32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24007198-834D-49AD-BAE6-301DD81064A2}"/>
                </a:ext>
              </a:extLst>
            </p:cNvPr>
            <p:cNvGrpSpPr/>
            <p:nvPr/>
          </p:nvGrpSpPr>
          <p:grpSpPr>
            <a:xfrm>
              <a:off x="7729501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83C52894-CA85-4594-84DE-9A6865FDEA4B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28" name="椭圆 27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9" name="任意多边形: 形状 28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25" name="组合 24">
                <a:extLst>
                  <a:ext uri="{FF2B5EF4-FFF2-40B4-BE49-F238E27FC236}">
                    <a16:creationId xmlns:a16="http://schemas.microsoft.com/office/drawing/2014/main" id="{6011BE08-6476-4F0C-9BF1-F4D5E73ECA14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26" name="矩形 25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文本框 2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5B62B3B4-F642-465E-8D16-EEEAC6EFE8E0}"/>
                </a:ext>
              </a:extLst>
            </p:cNvPr>
            <p:cNvGrpSpPr/>
            <p:nvPr/>
          </p:nvGrpSpPr>
          <p:grpSpPr>
            <a:xfrm>
              <a:off x="9852025" y="3911778"/>
              <a:ext cx="1666875" cy="1954035"/>
              <a:chOff x="3484455" y="1130300"/>
              <a:chExt cx="1666875" cy="1954035"/>
            </a:xfrm>
          </p:grpSpPr>
          <p:grpSp>
            <p:nvGrpSpPr>
              <p:cNvPr id="18" name="组合 17">
                <a:extLst>
                  <a:ext uri="{FF2B5EF4-FFF2-40B4-BE49-F238E27FC236}">
                    <a16:creationId xmlns:a16="http://schemas.microsoft.com/office/drawing/2014/main" id="{BBB39168-A64E-4BA7-A879-9A3228D82DDE}"/>
                  </a:ext>
                </a:extLst>
              </p:cNvPr>
              <p:cNvGrpSpPr/>
              <p:nvPr/>
            </p:nvGrpSpPr>
            <p:grpSpPr>
              <a:xfrm>
                <a:off x="3968677" y="1130300"/>
                <a:ext cx="698430" cy="698430"/>
                <a:chOff x="3968679" y="1130300"/>
                <a:chExt cx="698430" cy="698430"/>
              </a:xfrm>
            </p:grpSpPr>
            <p:sp>
              <p:nvSpPr>
                <p:cNvPr id="22" name="椭圆 21">
                  <a:extLst>
                    <a:ext uri="{FF2B5EF4-FFF2-40B4-BE49-F238E27FC236}">
                      <a16:creationId xmlns:a16="http://schemas.microsoft.com/office/drawing/2014/main" id="{AD630B5D-D741-4B61-8437-B0BF70C9F2DC}"/>
                    </a:ext>
                  </a:extLst>
                </p:cNvPr>
                <p:cNvSpPr/>
                <p:nvPr/>
              </p:nvSpPr>
              <p:spPr>
                <a:xfrm>
                  <a:off x="3968679" y="1130300"/>
                  <a:ext cx="698430" cy="698430"/>
                </a:xfrm>
                <a:prstGeom prst="ellipse">
                  <a:avLst/>
                </a:prstGeom>
                <a:solidFill>
                  <a:schemeClr val="bg1"/>
                </a:solidFill>
                <a:ln w="19050">
                  <a:solidFill>
                    <a:schemeClr val="accent2"/>
                  </a:solidFill>
                  <a:prstDash val="solid"/>
                  <a:miter lim="800000"/>
                  <a:headEnd/>
                  <a:tailEnd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algn="ctr"/>
                  <a:endParaRPr sz="1400" b="1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任意多边形: 形状 22">
                  <a:extLst>
                    <a:ext uri="{FF2B5EF4-FFF2-40B4-BE49-F238E27FC236}">
                      <a16:creationId xmlns:a16="http://schemas.microsoft.com/office/drawing/2014/main" id="{7826ED76-34D6-45BB-B096-D2827F4F41FB}"/>
                    </a:ext>
                  </a:extLst>
                </p:cNvPr>
                <p:cNvSpPr/>
                <p:nvPr/>
              </p:nvSpPr>
              <p:spPr bwMode="auto">
                <a:xfrm>
                  <a:off x="4180795" y="1358832"/>
                  <a:ext cx="274202" cy="241368"/>
                </a:xfrm>
                <a:custGeom>
                  <a:avLst/>
                  <a:gdLst>
                    <a:gd name="connsiteX0" fmla="*/ 18335 w 604256"/>
                    <a:gd name="connsiteY0" fmla="*/ 334272 h 531895"/>
                    <a:gd name="connsiteX1" fmla="*/ 37988 w 604256"/>
                    <a:gd name="connsiteY1" fmla="*/ 336249 h 531895"/>
                    <a:gd name="connsiteX2" fmla="*/ 302130 w 604256"/>
                    <a:gd name="connsiteY2" fmla="*/ 476833 h 531895"/>
                    <a:gd name="connsiteX3" fmla="*/ 566126 w 604256"/>
                    <a:gd name="connsiteY3" fmla="*/ 336249 h 531895"/>
                    <a:gd name="connsiteX4" fmla="*/ 601178 w 604256"/>
                    <a:gd name="connsiteY4" fmla="*/ 346793 h 531895"/>
                    <a:gd name="connsiteX5" fmla="*/ 590619 w 604256"/>
                    <a:gd name="connsiteY5" fmla="*/ 381793 h 531895"/>
                    <a:gd name="connsiteX6" fmla="*/ 314303 w 604256"/>
                    <a:gd name="connsiteY6" fmla="*/ 528820 h 531895"/>
                    <a:gd name="connsiteX7" fmla="*/ 302130 w 604256"/>
                    <a:gd name="connsiteY7" fmla="*/ 531895 h 531895"/>
                    <a:gd name="connsiteX8" fmla="*/ 289957 w 604256"/>
                    <a:gd name="connsiteY8" fmla="*/ 528820 h 531895"/>
                    <a:gd name="connsiteX9" fmla="*/ 13641 w 604256"/>
                    <a:gd name="connsiteY9" fmla="*/ 381793 h 531895"/>
                    <a:gd name="connsiteX10" fmla="*/ 3082 w 604256"/>
                    <a:gd name="connsiteY10" fmla="*/ 346793 h 531895"/>
                    <a:gd name="connsiteX11" fmla="*/ 18335 w 604256"/>
                    <a:gd name="connsiteY11" fmla="*/ 334272 h 531895"/>
                    <a:gd name="connsiteX12" fmla="*/ 18335 w 604256"/>
                    <a:gd name="connsiteY12" fmla="*/ 233364 h 531895"/>
                    <a:gd name="connsiteX13" fmla="*/ 37988 w 604256"/>
                    <a:gd name="connsiteY13" fmla="*/ 235341 h 531895"/>
                    <a:gd name="connsiteX14" fmla="*/ 302130 w 604256"/>
                    <a:gd name="connsiteY14" fmla="*/ 375925 h 531895"/>
                    <a:gd name="connsiteX15" fmla="*/ 566126 w 604256"/>
                    <a:gd name="connsiteY15" fmla="*/ 235341 h 531895"/>
                    <a:gd name="connsiteX16" fmla="*/ 601178 w 604256"/>
                    <a:gd name="connsiteY16" fmla="*/ 245885 h 531895"/>
                    <a:gd name="connsiteX17" fmla="*/ 590619 w 604256"/>
                    <a:gd name="connsiteY17" fmla="*/ 280885 h 531895"/>
                    <a:gd name="connsiteX18" fmla="*/ 314303 w 604256"/>
                    <a:gd name="connsiteY18" fmla="*/ 428058 h 531895"/>
                    <a:gd name="connsiteX19" fmla="*/ 302130 w 604256"/>
                    <a:gd name="connsiteY19" fmla="*/ 430987 h 531895"/>
                    <a:gd name="connsiteX20" fmla="*/ 289957 w 604256"/>
                    <a:gd name="connsiteY20" fmla="*/ 428058 h 531895"/>
                    <a:gd name="connsiteX21" fmla="*/ 13641 w 604256"/>
                    <a:gd name="connsiteY21" fmla="*/ 280885 h 531895"/>
                    <a:gd name="connsiteX22" fmla="*/ 3082 w 604256"/>
                    <a:gd name="connsiteY22" fmla="*/ 245885 h 531895"/>
                    <a:gd name="connsiteX23" fmla="*/ 18335 w 604256"/>
                    <a:gd name="connsiteY23" fmla="*/ 233364 h 531895"/>
                    <a:gd name="connsiteX24" fmla="*/ 291571 w 604256"/>
                    <a:gd name="connsiteY24" fmla="*/ 2196 h 531895"/>
                    <a:gd name="connsiteX25" fmla="*/ 312689 w 604256"/>
                    <a:gd name="connsiteY25" fmla="*/ 2196 h 531895"/>
                    <a:gd name="connsiteX26" fmla="*/ 588846 w 604256"/>
                    <a:gd name="connsiteY26" fmla="*/ 125214 h 531895"/>
                    <a:gd name="connsiteX27" fmla="*/ 604245 w 604256"/>
                    <a:gd name="connsiteY27" fmla="*/ 147914 h 531895"/>
                    <a:gd name="connsiteX28" fmla="*/ 590605 w 604256"/>
                    <a:gd name="connsiteY28" fmla="*/ 171639 h 531895"/>
                    <a:gd name="connsiteX29" fmla="*/ 314303 w 604256"/>
                    <a:gd name="connsiteY29" fmla="*/ 318676 h 531895"/>
                    <a:gd name="connsiteX30" fmla="*/ 302130 w 604256"/>
                    <a:gd name="connsiteY30" fmla="*/ 321751 h 531895"/>
                    <a:gd name="connsiteX31" fmla="*/ 289957 w 604256"/>
                    <a:gd name="connsiteY31" fmla="*/ 318676 h 531895"/>
                    <a:gd name="connsiteX32" fmla="*/ 13654 w 604256"/>
                    <a:gd name="connsiteY32" fmla="*/ 171639 h 531895"/>
                    <a:gd name="connsiteX33" fmla="*/ 15 w 604256"/>
                    <a:gd name="connsiteY33" fmla="*/ 147914 h 531895"/>
                    <a:gd name="connsiteX34" fmla="*/ 15414 w 604256"/>
                    <a:gd name="connsiteY34" fmla="*/ 125214 h 53189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</a:cxnLst>
                  <a:rect l="l" t="t" r="r" b="b"/>
                  <a:pathLst>
                    <a:path w="604256" h="531895">
                      <a:moveTo>
                        <a:pt x="18335" y="334272"/>
                      </a:moveTo>
                      <a:cubicBezTo>
                        <a:pt x="24642" y="332369"/>
                        <a:pt x="31682" y="332881"/>
                        <a:pt x="37988" y="336249"/>
                      </a:cubicBezTo>
                      <a:lnTo>
                        <a:pt x="302130" y="476833"/>
                      </a:lnTo>
                      <a:lnTo>
                        <a:pt x="566126" y="336249"/>
                      </a:lnTo>
                      <a:cubicBezTo>
                        <a:pt x="578739" y="329513"/>
                        <a:pt x="594432" y="334199"/>
                        <a:pt x="601178" y="346793"/>
                      </a:cubicBezTo>
                      <a:cubicBezTo>
                        <a:pt x="607925" y="359387"/>
                        <a:pt x="603085" y="375056"/>
                        <a:pt x="590619" y="381793"/>
                      </a:cubicBezTo>
                      <a:lnTo>
                        <a:pt x="314303" y="528820"/>
                      </a:lnTo>
                      <a:cubicBezTo>
                        <a:pt x="310490" y="530870"/>
                        <a:pt x="306383" y="531895"/>
                        <a:pt x="302130" y="531895"/>
                      </a:cubicBezTo>
                      <a:cubicBezTo>
                        <a:pt x="297877" y="531895"/>
                        <a:pt x="293770" y="530870"/>
                        <a:pt x="289957" y="528820"/>
                      </a:cubicBezTo>
                      <a:lnTo>
                        <a:pt x="13641" y="381793"/>
                      </a:lnTo>
                      <a:cubicBezTo>
                        <a:pt x="1028" y="375056"/>
                        <a:pt x="-3665" y="359387"/>
                        <a:pt x="3082" y="346793"/>
                      </a:cubicBezTo>
                      <a:cubicBezTo>
                        <a:pt x="6455" y="340496"/>
                        <a:pt x="12028" y="336176"/>
                        <a:pt x="18335" y="334272"/>
                      </a:cubicBezTo>
                      <a:close/>
                      <a:moveTo>
                        <a:pt x="18335" y="233364"/>
                      </a:moveTo>
                      <a:cubicBezTo>
                        <a:pt x="24642" y="231461"/>
                        <a:pt x="31682" y="231973"/>
                        <a:pt x="37988" y="235341"/>
                      </a:cubicBezTo>
                      <a:lnTo>
                        <a:pt x="302130" y="375925"/>
                      </a:lnTo>
                      <a:lnTo>
                        <a:pt x="566126" y="235341"/>
                      </a:lnTo>
                      <a:cubicBezTo>
                        <a:pt x="578739" y="228605"/>
                        <a:pt x="594432" y="233291"/>
                        <a:pt x="601178" y="245885"/>
                      </a:cubicBezTo>
                      <a:cubicBezTo>
                        <a:pt x="607925" y="258479"/>
                        <a:pt x="603085" y="274148"/>
                        <a:pt x="590619" y="280885"/>
                      </a:cubicBezTo>
                      <a:lnTo>
                        <a:pt x="314303" y="428058"/>
                      </a:lnTo>
                      <a:cubicBezTo>
                        <a:pt x="310490" y="430108"/>
                        <a:pt x="306383" y="430987"/>
                        <a:pt x="302130" y="430987"/>
                      </a:cubicBezTo>
                      <a:cubicBezTo>
                        <a:pt x="297877" y="430987"/>
                        <a:pt x="293770" y="430108"/>
                        <a:pt x="289957" y="428058"/>
                      </a:cubicBezTo>
                      <a:lnTo>
                        <a:pt x="13641" y="280885"/>
                      </a:lnTo>
                      <a:cubicBezTo>
                        <a:pt x="1028" y="274148"/>
                        <a:pt x="-3665" y="258479"/>
                        <a:pt x="3082" y="245885"/>
                      </a:cubicBezTo>
                      <a:cubicBezTo>
                        <a:pt x="6455" y="239588"/>
                        <a:pt x="12028" y="235268"/>
                        <a:pt x="18335" y="233364"/>
                      </a:cubicBezTo>
                      <a:close/>
                      <a:moveTo>
                        <a:pt x="291571" y="2196"/>
                      </a:moveTo>
                      <a:cubicBezTo>
                        <a:pt x="298317" y="-733"/>
                        <a:pt x="305943" y="-733"/>
                        <a:pt x="312689" y="2196"/>
                      </a:cubicBezTo>
                      <a:lnTo>
                        <a:pt x="588846" y="125214"/>
                      </a:lnTo>
                      <a:cubicBezTo>
                        <a:pt x="597938" y="129315"/>
                        <a:pt x="603805" y="138102"/>
                        <a:pt x="604245" y="147914"/>
                      </a:cubicBezTo>
                      <a:cubicBezTo>
                        <a:pt x="604538" y="157726"/>
                        <a:pt x="599258" y="166953"/>
                        <a:pt x="590605" y="171639"/>
                      </a:cubicBezTo>
                      <a:lnTo>
                        <a:pt x="314303" y="318676"/>
                      </a:lnTo>
                      <a:cubicBezTo>
                        <a:pt x="310489" y="320726"/>
                        <a:pt x="306383" y="321751"/>
                        <a:pt x="302130" y="321751"/>
                      </a:cubicBezTo>
                      <a:cubicBezTo>
                        <a:pt x="297877" y="321751"/>
                        <a:pt x="293771" y="320726"/>
                        <a:pt x="289957" y="318676"/>
                      </a:cubicBezTo>
                      <a:lnTo>
                        <a:pt x="13654" y="171639"/>
                      </a:lnTo>
                      <a:cubicBezTo>
                        <a:pt x="5002" y="166953"/>
                        <a:pt x="-278" y="157726"/>
                        <a:pt x="15" y="147914"/>
                      </a:cubicBezTo>
                      <a:cubicBezTo>
                        <a:pt x="309" y="138102"/>
                        <a:pt x="6322" y="129315"/>
                        <a:pt x="15414" y="125214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 anchor="ctr">
                  <a:normAutofit fontScale="62500" lnSpcReduction="20000"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/>
                  <a:endParaRPr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19" name="组合 18">
                <a:extLst>
                  <a:ext uri="{FF2B5EF4-FFF2-40B4-BE49-F238E27FC236}">
                    <a16:creationId xmlns:a16="http://schemas.microsoft.com/office/drawing/2014/main" id="{AE67794D-B08F-4C43-8990-3817F07DAFE2}"/>
                  </a:ext>
                </a:extLst>
              </p:cNvPr>
              <p:cNvGrpSpPr/>
              <p:nvPr/>
            </p:nvGrpSpPr>
            <p:grpSpPr>
              <a:xfrm>
                <a:off x="3484455" y="2027340"/>
                <a:ext cx="1666875" cy="1056995"/>
                <a:chOff x="2079414" y="1545785"/>
                <a:chExt cx="1846753" cy="1056995"/>
              </a:xfrm>
            </p:grpSpPr>
            <p:sp>
              <p:nvSpPr>
                <p:cNvPr id="20" name="矩形 19">
                  <a:extLst>
                    <a:ext uri="{FF2B5EF4-FFF2-40B4-BE49-F238E27FC236}">
                      <a16:creationId xmlns:a16="http://schemas.microsoft.com/office/drawing/2014/main" id="{73DA5CA1-A22D-45FF-B355-18D3880E7B99}"/>
                    </a:ext>
                  </a:extLst>
                </p:cNvPr>
                <p:cNvSpPr/>
                <p:nvPr/>
              </p:nvSpPr>
              <p:spPr>
                <a:xfrm>
                  <a:off x="2079416" y="1545785"/>
                  <a:ext cx="1846751" cy="410188"/>
                </a:xfrm>
                <a:prstGeom prst="rect">
                  <a:avLst/>
                </a:prstGeom>
                <a:noFill/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wrap="square" lIns="91440" tIns="45720" rIns="91440" bIns="45720" anchor="ctr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lt1"/>
                      </a:solidFill>
                    </a:defRPr>
                  </a:lvl9pPr>
                </a:lstStyle>
                <a:p>
                  <a:pPr lvl="0" algn="ctr">
                    <a:lnSpc>
                      <a:spcPct val="120000"/>
                    </a:lnSpc>
                  </a:pPr>
                  <a:r>
                    <a:rPr lang="en-US" altLang="zh-CN" sz="1600" b="1" dirty="0">
                      <a:solidFill>
                        <a:schemeClr val="tx1"/>
                      </a:solidFill>
                      <a:cs typeface="+mn-ea"/>
                      <a:sym typeface="+mn-lt"/>
                    </a:rPr>
                    <a:t>Text here</a:t>
                  </a:r>
                  <a:endParaRPr lang="zh-CN" altLang="en-US" sz="1600" b="1" dirty="0">
                    <a:solidFill>
                      <a:schemeClr val="tx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21" name="文本框 20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2079414" y="1955974"/>
                  <a:ext cx="1846752" cy="646806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en-US"/>
                  </a:defPPr>
                  <a:lvl1pPr marL="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1pPr>
                  <a:lvl2pPr marL="609585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2pPr>
                  <a:lvl3pPr marL="1219170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3pPr>
                  <a:lvl4pPr marL="182875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4pPr>
                  <a:lvl5pPr marL="243833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5pPr>
                  <a:lvl6pPr marL="3047924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6pPr>
                  <a:lvl7pPr marL="3657509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7pPr>
                  <a:lvl8pPr marL="4267093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8pPr>
                  <a:lvl9pPr marL="4876678" algn="l" defTabSz="609585" rtl="0" eaLnBrk="1" latinLnBrk="0" hangingPunct="1">
                    <a:defRPr sz="2400" kern="1200">
                      <a:solidFill>
                        <a:schemeClr val="tx1"/>
                      </a:solidFill>
                    </a:defRPr>
                  </a:lvl9pPr>
                </a:lstStyle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marL="171450" indent="-171450">
                    <a:lnSpc>
                      <a:spcPct val="150000"/>
                    </a:lnSpc>
                    <a:spcBef>
                      <a:spcPct val="0"/>
                    </a:spcBef>
                    <a:buFont typeface="Arial" panose="020B0604020202020204" pitchFamily="34" charset="0"/>
                    <a:buChar char="•"/>
                  </a:pPr>
                  <a:r>
                    <a:rPr lang="en-US" altLang="zh-CN" sz="11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374055120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580079B-03FA-4FB4-AA0E-B404C52E2F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7533B1F4-0A96-46D8-A400-11D540A2B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982659A-94B9-4018-9CB2-D57CB54AE5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29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1884561-D774-4F40-A15D-E1F441D42F59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123947"/>
            <a:ext cx="12177677" cy="5769376"/>
            <a:chOff x="0" y="1123950"/>
            <a:chExt cx="12177676" cy="5769376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5F9F6B00-F2E6-472B-897A-410E292F8DC5}"/>
                </a:ext>
              </a:extLst>
            </p:cNvPr>
            <p:cNvGrpSpPr/>
            <p:nvPr/>
          </p:nvGrpSpPr>
          <p:grpSpPr>
            <a:xfrm>
              <a:off x="0" y="4452497"/>
              <a:ext cx="12177676" cy="2440829"/>
              <a:chOff x="0" y="4466341"/>
              <a:chExt cx="9144000" cy="1832773"/>
            </a:xfrm>
          </p:grpSpPr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4F99094A-E507-4C68-B558-91DB63F72ADF}"/>
                  </a:ext>
                </a:extLst>
              </p:cNvPr>
              <p:cNvSpPr/>
              <p:nvPr/>
            </p:nvSpPr>
            <p:spPr bwMode="auto">
              <a:xfrm>
                <a:off x="772875" y="4678733"/>
                <a:ext cx="4359944" cy="1392352"/>
              </a:xfrm>
              <a:custGeom>
                <a:avLst/>
                <a:gdLst>
                  <a:gd name="T0" fmla="*/ 1027 w 1478"/>
                  <a:gd name="T1" fmla="*/ 471 h 473"/>
                  <a:gd name="T2" fmla="*/ 972 w 1478"/>
                  <a:gd name="T3" fmla="*/ 473 h 473"/>
                  <a:gd name="T4" fmla="*/ 970 w 1478"/>
                  <a:gd name="T5" fmla="*/ 473 h 473"/>
                  <a:gd name="T6" fmla="*/ 995 w 1478"/>
                  <a:gd name="T7" fmla="*/ 117 h 473"/>
                  <a:gd name="T8" fmla="*/ 996 w 1478"/>
                  <a:gd name="T9" fmla="*/ 105 h 473"/>
                  <a:gd name="T10" fmla="*/ 1006 w 1478"/>
                  <a:gd name="T11" fmla="*/ 117 h 473"/>
                  <a:gd name="T12" fmla="*/ 1010 w 1478"/>
                  <a:gd name="T13" fmla="*/ 471 h 473"/>
                  <a:gd name="T14" fmla="*/ 1461 w 1478"/>
                  <a:gd name="T15" fmla="*/ 105 h 473"/>
                  <a:gd name="T16" fmla="*/ 1465 w 1478"/>
                  <a:gd name="T17" fmla="*/ 105 h 473"/>
                  <a:gd name="T18" fmla="*/ 1475 w 1478"/>
                  <a:gd name="T19" fmla="*/ 155 h 473"/>
                  <a:gd name="T20" fmla="*/ 1478 w 1478"/>
                  <a:gd name="T21" fmla="*/ 473 h 473"/>
                  <a:gd name="T22" fmla="*/ 1465 w 1478"/>
                  <a:gd name="T23" fmla="*/ 473 h 473"/>
                  <a:gd name="T24" fmla="*/ 1423 w 1478"/>
                  <a:gd name="T25" fmla="*/ 473 h 473"/>
                  <a:gd name="T26" fmla="*/ 1415 w 1478"/>
                  <a:gd name="T27" fmla="*/ 207 h 473"/>
                  <a:gd name="T28" fmla="*/ 1423 w 1478"/>
                  <a:gd name="T29" fmla="*/ 155 h 473"/>
                  <a:gd name="T30" fmla="*/ 1427 w 1478"/>
                  <a:gd name="T31" fmla="*/ 105 h 473"/>
                  <a:gd name="T32" fmla="*/ 1442 w 1478"/>
                  <a:gd name="T33" fmla="*/ 23 h 473"/>
                  <a:gd name="T34" fmla="*/ 1461 w 1478"/>
                  <a:gd name="T35" fmla="*/ 105 h 473"/>
                  <a:gd name="T36" fmla="*/ 1285 w 1478"/>
                  <a:gd name="T37" fmla="*/ 190 h 473"/>
                  <a:gd name="T38" fmla="*/ 1335 w 1478"/>
                  <a:gd name="T39" fmla="*/ 473 h 473"/>
                  <a:gd name="T40" fmla="*/ 1285 w 1478"/>
                  <a:gd name="T41" fmla="*/ 190 h 473"/>
                  <a:gd name="T42" fmla="*/ 1176 w 1478"/>
                  <a:gd name="T43" fmla="*/ 243 h 473"/>
                  <a:gd name="T44" fmla="*/ 1216 w 1478"/>
                  <a:gd name="T45" fmla="*/ 473 h 473"/>
                  <a:gd name="T46" fmla="*/ 1176 w 1478"/>
                  <a:gd name="T47" fmla="*/ 243 h 473"/>
                  <a:gd name="T48" fmla="*/ 1083 w 1478"/>
                  <a:gd name="T49" fmla="*/ 167 h 473"/>
                  <a:gd name="T50" fmla="*/ 1125 w 1478"/>
                  <a:gd name="T51" fmla="*/ 473 h 473"/>
                  <a:gd name="T52" fmla="*/ 1083 w 1478"/>
                  <a:gd name="T53" fmla="*/ 167 h 473"/>
                  <a:gd name="T54" fmla="*/ 849 w 1478"/>
                  <a:gd name="T55" fmla="*/ 295 h 473"/>
                  <a:gd name="T56" fmla="*/ 884 w 1478"/>
                  <a:gd name="T57" fmla="*/ 473 h 473"/>
                  <a:gd name="T58" fmla="*/ 849 w 1478"/>
                  <a:gd name="T59" fmla="*/ 295 h 473"/>
                  <a:gd name="T60" fmla="*/ 631 w 1478"/>
                  <a:gd name="T61" fmla="*/ 373 h 473"/>
                  <a:gd name="T62" fmla="*/ 643 w 1478"/>
                  <a:gd name="T63" fmla="*/ 318 h 473"/>
                  <a:gd name="T64" fmla="*/ 667 w 1478"/>
                  <a:gd name="T65" fmla="*/ 306 h 473"/>
                  <a:gd name="T66" fmla="*/ 702 w 1478"/>
                  <a:gd name="T67" fmla="*/ 234 h 473"/>
                  <a:gd name="T68" fmla="*/ 723 w 1478"/>
                  <a:gd name="T69" fmla="*/ 306 h 473"/>
                  <a:gd name="T70" fmla="*/ 702 w 1478"/>
                  <a:gd name="T71" fmla="*/ 473 h 473"/>
                  <a:gd name="T72" fmla="*/ 687 w 1478"/>
                  <a:gd name="T73" fmla="*/ 473 h 473"/>
                  <a:gd name="T74" fmla="*/ 643 w 1478"/>
                  <a:gd name="T75" fmla="*/ 473 h 473"/>
                  <a:gd name="T76" fmla="*/ 631 w 1478"/>
                  <a:gd name="T77" fmla="*/ 373 h 473"/>
                  <a:gd name="T78" fmla="*/ 581 w 1478"/>
                  <a:gd name="T79" fmla="*/ 255 h 473"/>
                  <a:gd name="T80" fmla="*/ 623 w 1478"/>
                  <a:gd name="T81" fmla="*/ 473 h 473"/>
                  <a:gd name="T82" fmla="*/ 581 w 1478"/>
                  <a:gd name="T83" fmla="*/ 255 h 473"/>
                  <a:gd name="T84" fmla="*/ 532 w 1478"/>
                  <a:gd name="T85" fmla="*/ 314 h 473"/>
                  <a:gd name="T86" fmla="*/ 557 w 1478"/>
                  <a:gd name="T87" fmla="*/ 356 h 473"/>
                  <a:gd name="T88" fmla="*/ 532 w 1478"/>
                  <a:gd name="T89" fmla="*/ 473 h 473"/>
                  <a:gd name="T90" fmla="*/ 455 w 1478"/>
                  <a:gd name="T91" fmla="*/ 473 h 473"/>
                  <a:gd name="T92" fmla="*/ 455 w 1478"/>
                  <a:gd name="T93" fmla="*/ 302 h 473"/>
                  <a:gd name="T94" fmla="*/ 488 w 1478"/>
                  <a:gd name="T95" fmla="*/ 356 h 473"/>
                  <a:gd name="T96" fmla="*/ 532 w 1478"/>
                  <a:gd name="T97" fmla="*/ 314 h 473"/>
                  <a:gd name="T98" fmla="*/ 360 w 1478"/>
                  <a:gd name="T99" fmla="*/ 293 h 473"/>
                  <a:gd name="T100" fmla="*/ 426 w 1478"/>
                  <a:gd name="T101" fmla="*/ 473 h 473"/>
                  <a:gd name="T102" fmla="*/ 360 w 1478"/>
                  <a:gd name="T103" fmla="*/ 293 h 473"/>
                  <a:gd name="T104" fmla="*/ 287 w 1478"/>
                  <a:gd name="T105" fmla="*/ 209 h 473"/>
                  <a:gd name="T106" fmla="*/ 350 w 1478"/>
                  <a:gd name="T107" fmla="*/ 473 h 473"/>
                  <a:gd name="T108" fmla="*/ 287 w 1478"/>
                  <a:gd name="T109" fmla="*/ 209 h 473"/>
                  <a:gd name="T110" fmla="*/ 195 w 1478"/>
                  <a:gd name="T111" fmla="*/ 184 h 473"/>
                  <a:gd name="T112" fmla="*/ 241 w 1478"/>
                  <a:gd name="T113" fmla="*/ 473 h 473"/>
                  <a:gd name="T114" fmla="*/ 195 w 1478"/>
                  <a:gd name="T115" fmla="*/ 184 h 473"/>
                  <a:gd name="T116" fmla="*/ 31 w 1478"/>
                  <a:gd name="T117" fmla="*/ 264 h 473"/>
                  <a:gd name="T118" fmla="*/ 92 w 1478"/>
                  <a:gd name="T119" fmla="*/ 473 h 473"/>
                  <a:gd name="T120" fmla="*/ 31 w 1478"/>
                  <a:gd name="T121" fmla="*/ 473 h 473"/>
                  <a:gd name="T122" fmla="*/ 0 w 1478"/>
                  <a:gd name="T123" fmla="*/ 331 h 473"/>
                  <a:gd name="T124" fmla="*/ 31 w 1478"/>
                  <a:gd name="T125" fmla="*/ 264 h 4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78" h="473">
                    <a:moveTo>
                      <a:pt x="1010" y="471"/>
                    </a:moveTo>
                    <a:lnTo>
                      <a:pt x="1027" y="471"/>
                    </a:lnTo>
                    <a:lnTo>
                      <a:pt x="1027" y="473"/>
                    </a:lnTo>
                    <a:lnTo>
                      <a:pt x="972" y="473"/>
                    </a:lnTo>
                    <a:lnTo>
                      <a:pt x="972" y="473"/>
                    </a:lnTo>
                    <a:lnTo>
                      <a:pt x="970" y="473"/>
                    </a:lnTo>
                    <a:lnTo>
                      <a:pt x="970" y="117"/>
                    </a:lnTo>
                    <a:lnTo>
                      <a:pt x="995" y="117"/>
                    </a:lnTo>
                    <a:lnTo>
                      <a:pt x="996" y="75"/>
                    </a:lnTo>
                    <a:lnTo>
                      <a:pt x="996" y="105"/>
                    </a:lnTo>
                    <a:lnTo>
                      <a:pt x="1002" y="105"/>
                    </a:lnTo>
                    <a:lnTo>
                      <a:pt x="1006" y="117"/>
                    </a:lnTo>
                    <a:lnTo>
                      <a:pt x="1010" y="117"/>
                    </a:lnTo>
                    <a:lnTo>
                      <a:pt x="1010" y="471"/>
                    </a:lnTo>
                    <a:lnTo>
                      <a:pt x="1010" y="471"/>
                    </a:lnTo>
                    <a:close/>
                    <a:moveTo>
                      <a:pt x="1461" y="105"/>
                    </a:moveTo>
                    <a:lnTo>
                      <a:pt x="1463" y="0"/>
                    </a:lnTo>
                    <a:lnTo>
                      <a:pt x="1465" y="105"/>
                    </a:lnTo>
                    <a:lnTo>
                      <a:pt x="1475" y="105"/>
                    </a:lnTo>
                    <a:lnTo>
                      <a:pt x="1475" y="155"/>
                    </a:lnTo>
                    <a:lnTo>
                      <a:pt x="1478" y="155"/>
                    </a:lnTo>
                    <a:lnTo>
                      <a:pt x="1478" y="473"/>
                    </a:lnTo>
                    <a:lnTo>
                      <a:pt x="1475" y="473"/>
                    </a:lnTo>
                    <a:lnTo>
                      <a:pt x="1465" y="473"/>
                    </a:lnTo>
                    <a:lnTo>
                      <a:pt x="1427" y="473"/>
                    </a:lnTo>
                    <a:lnTo>
                      <a:pt x="1423" y="473"/>
                    </a:lnTo>
                    <a:lnTo>
                      <a:pt x="1415" y="473"/>
                    </a:lnTo>
                    <a:lnTo>
                      <a:pt x="1415" y="207"/>
                    </a:lnTo>
                    <a:lnTo>
                      <a:pt x="1423" y="207"/>
                    </a:lnTo>
                    <a:lnTo>
                      <a:pt x="1423" y="155"/>
                    </a:lnTo>
                    <a:lnTo>
                      <a:pt x="1427" y="155"/>
                    </a:lnTo>
                    <a:lnTo>
                      <a:pt x="1427" y="105"/>
                    </a:lnTo>
                    <a:lnTo>
                      <a:pt x="1440" y="105"/>
                    </a:lnTo>
                    <a:lnTo>
                      <a:pt x="1442" y="23"/>
                    </a:lnTo>
                    <a:lnTo>
                      <a:pt x="1444" y="105"/>
                    </a:lnTo>
                    <a:lnTo>
                      <a:pt x="1461" y="105"/>
                    </a:lnTo>
                    <a:lnTo>
                      <a:pt x="1461" y="105"/>
                    </a:lnTo>
                    <a:close/>
                    <a:moveTo>
                      <a:pt x="1285" y="190"/>
                    </a:moveTo>
                    <a:lnTo>
                      <a:pt x="1335" y="190"/>
                    </a:lnTo>
                    <a:lnTo>
                      <a:pt x="1335" y="473"/>
                    </a:lnTo>
                    <a:lnTo>
                      <a:pt x="1285" y="473"/>
                    </a:lnTo>
                    <a:lnTo>
                      <a:pt x="1285" y="190"/>
                    </a:lnTo>
                    <a:lnTo>
                      <a:pt x="1285" y="190"/>
                    </a:lnTo>
                    <a:close/>
                    <a:moveTo>
                      <a:pt x="1176" y="243"/>
                    </a:moveTo>
                    <a:lnTo>
                      <a:pt x="1216" y="243"/>
                    </a:lnTo>
                    <a:lnTo>
                      <a:pt x="1216" y="473"/>
                    </a:lnTo>
                    <a:lnTo>
                      <a:pt x="1176" y="473"/>
                    </a:lnTo>
                    <a:lnTo>
                      <a:pt x="1176" y="243"/>
                    </a:lnTo>
                    <a:lnTo>
                      <a:pt x="1176" y="243"/>
                    </a:lnTo>
                    <a:close/>
                    <a:moveTo>
                      <a:pt x="1083" y="167"/>
                    </a:moveTo>
                    <a:lnTo>
                      <a:pt x="1125" y="167"/>
                    </a:lnTo>
                    <a:lnTo>
                      <a:pt x="1125" y="473"/>
                    </a:lnTo>
                    <a:lnTo>
                      <a:pt x="1083" y="473"/>
                    </a:lnTo>
                    <a:lnTo>
                      <a:pt x="1083" y="167"/>
                    </a:lnTo>
                    <a:lnTo>
                      <a:pt x="1083" y="167"/>
                    </a:lnTo>
                    <a:close/>
                    <a:moveTo>
                      <a:pt x="849" y="295"/>
                    </a:moveTo>
                    <a:lnTo>
                      <a:pt x="884" y="295"/>
                    </a:lnTo>
                    <a:lnTo>
                      <a:pt x="884" y="473"/>
                    </a:lnTo>
                    <a:lnTo>
                      <a:pt x="849" y="473"/>
                    </a:lnTo>
                    <a:lnTo>
                      <a:pt x="849" y="295"/>
                    </a:lnTo>
                    <a:lnTo>
                      <a:pt x="849" y="295"/>
                    </a:lnTo>
                    <a:close/>
                    <a:moveTo>
                      <a:pt x="631" y="373"/>
                    </a:moveTo>
                    <a:lnTo>
                      <a:pt x="643" y="373"/>
                    </a:lnTo>
                    <a:lnTo>
                      <a:pt x="643" y="318"/>
                    </a:lnTo>
                    <a:lnTo>
                      <a:pt x="667" y="318"/>
                    </a:lnTo>
                    <a:lnTo>
                      <a:pt x="667" y="306"/>
                    </a:lnTo>
                    <a:lnTo>
                      <a:pt x="667" y="234"/>
                    </a:lnTo>
                    <a:lnTo>
                      <a:pt x="702" y="234"/>
                    </a:lnTo>
                    <a:lnTo>
                      <a:pt x="702" y="306"/>
                    </a:lnTo>
                    <a:lnTo>
                      <a:pt x="723" y="306"/>
                    </a:lnTo>
                    <a:lnTo>
                      <a:pt x="723" y="473"/>
                    </a:lnTo>
                    <a:lnTo>
                      <a:pt x="702" y="473"/>
                    </a:lnTo>
                    <a:lnTo>
                      <a:pt x="698" y="473"/>
                    </a:lnTo>
                    <a:lnTo>
                      <a:pt x="687" y="473"/>
                    </a:lnTo>
                    <a:lnTo>
                      <a:pt x="667" y="473"/>
                    </a:lnTo>
                    <a:lnTo>
                      <a:pt x="643" y="473"/>
                    </a:lnTo>
                    <a:lnTo>
                      <a:pt x="631" y="473"/>
                    </a:lnTo>
                    <a:lnTo>
                      <a:pt x="631" y="373"/>
                    </a:lnTo>
                    <a:lnTo>
                      <a:pt x="631" y="373"/>
                    </a:lnTo>
                    <a:close/>
                    <a:moveTo>
                      <a:pt x="581" y="255"/>
                    </a:moveTo>
                    <a:lnTo>
                      <a:pt x="623" y="255"/>
                    </a:lnTo>
                    <a:lnTo>
                      <a:pt x="623" y="473"/>
                    </a:lnTo>
                    <a:lnTo>
                      <a:pt x="581" y="473"/>
                    </a:lnTo>
                    <a:lnTo>
                      <a:pt x="581" y="255"/>
                    </a:lnTo>
                    <a:lnTo>
                      <a:pt x="581" y="255"/>
                    </a:lnTo>
                    <a:close/>
                    <a:moveTo>
                      <a:pt x="532" y="314"/>
                    </a:moveTo>
                    <a:lnTo>
                      <a:pt x="557" y="314"/>
                    </a:lnTo>
                    <a:lnTo>
                      <a:pt x="557" y="356"/>
                    </a:lnTo>
                    <a:lnTo>
                      <a:pt x="557" y="473"/>
                    </a:lnTo>
                    <a:lnTo>
                      <a:pt x="532" y="473"/>
                    </a:lnTo>
                    <a:lnTo>
                      <a:pt x="488" y="473"/>
                    </a:lnTo>
                    <a:lnTo>
                      <a:pt x="455" y="473"/>
                    </a:lnTo>
                    <a:lnTo>
                      <a:pt x="455" y="356"/>
                    </a:lnTo>
                    <a:lnTo>
                      <a:pt x="455" y="302"/>
                    </a:lnTo>
                    <a:lnTo>
                      <a:pt x="488" y="302"/>
                    </a:lnTo>
                    <a:lnTo>
                      <a:pt x="488" y="356"/>
                    </a:lnTo>
                    <a:lnTo>
                      <a:pt x="532" y="356"/>
                    </a:lnTo>
                    <a:lnTo>
                      <a:pt x="532" y="314"/>
                    </a:lnTo>
                    <a:lnTo>
                      <a:pt x="532" y="314"/>
                    </a:lnTo>
                    <a:close/>
                    <a:moveTo>
                      <a:pt x="360" y="293"/>
                    </a:moveTo>
                    <a:lnTo>
                      <a:pt x="426" y="293"/>
                    </a:lnTo>
                    <a:lnTo>
                      <a:pt x="426" y="473"/>
                    </a:lnTo>
                    <a:lnTo>
                      <a:pt x="360" y="473"/>
                    </a:lnTo>
                    <a:lnTo>
                      <a:pt x="360" y="293"/>
                    </a:lnTo>
                    <a:lnTo>
                      <a:pt x="360" y="293"/>
                    </a:lnTo>
                    <a:close/>
                    <a:moveTo>
                      <a:pt x="287" y="209"/>
                    </a:moveTo>
                    <a:lnTo>
                      <a:pt x="350" y="209"/>
                    </a:lnTo>
                    <a:lnTo>
                      <a:pt x="350" y="473"/>
                    </a:lnTo>
                    <a:lnTo>
                      <a:pt x="287" y="473"/>
                    </a:lnTo>
                    <a:lnTo>
                      <a:pt x="287" y="209"/>
                    </a:lnTo>
                    <a:lnTo>
                      <a:pt x="287" y="209"/>
                    </a:lnTo>
                    <a:close/>
                    <a:moveTo>
                      <a:pt x="195" y="184"/>
                    </a:moveTo>
                    <a:lnTo>
                      <a:pt x="241" y="184"/>
                    </a:lnTo>
                    <a:lnTo>
                      <a:pt x="241" y="473"/>
                    </a:lnTo>
                    <a:lnTo>
                      <a:pt x="195" y="473"/>
                    </a:lnTo>
                    <a:lnTo>
                      <a:pt x="195" y="184"/>
                    </a:lnTo>
                    <a:lnTo>
                      <a:pt x="195" y="184"/>
                    </a:lnTo>
                    <a:close/>
                    <a:moveTo>
                      <a:pt x="31" y="264"/>
                    </a:moveTo>
                    <a:lnTo>
                      <a:pt x="92" y="264"/>
                    </a:lnTo>
                    <a:lnTo>
                      <a:pt x="92" y="473"/>
                    </a:lnTo>
                    <a:lnTo>
                      <a:pt x="61" y="473"/>
                    </a:lnTo>
                    <a:lnTo>
                      <a:pt x="31" y="473"/>
                    </a:lnTo>
                    <a:lnTo>
                      <a:pt x="0" y="473"/>
                    </a:lnTo>
                    <a:lnTo>
                      <a:pt x="0" y="331"/>
                    </a:lnTo>
                    <a:lnTo>
                      <a:pt x="31" y="331"/>
                    </a:lnTo>
                    <a:lnTo>
                      <a:pt x="31" y="264"/>
                    </a:lnTo>
                    <a:lnTo>
                      <a:pt x="31" y="264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707C06FA-0FD3-4F1C-AECD-D26050EE31BF}"/>
                  </a:ext>
                </a:extLst>
              </p:cNvPr>
              <p:cNvSpPr/>
              <p:nvPr/>
            </p:nvSpPr>
            <p:spPr bwMode="auto">
              <a:xfrm>
                <a:off x="117996" y="5321000"/>
                <a:ext cx="5994189" cy="750090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E8A88172-FC6E-42D7-A247-33CFD576807F}"/>
                  </a:ext>
                </a:extLst>
              </p:cNvPr>
              <p:cNvSpPr/>
              <p:nvPr/>
            </p:nvSpPr>
            <p:spPr bwMode="auto">
              <a:xfrm>
                <a:off x="430686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3A80B48F-4D8D-4702-8838-3D82ECB17D71}"/>
                  </a:ext>
                </a:extLst>
              </p:cNvPr>
              <p:cNvSpPr/>
              <p:nvPr/>
            </p:nvSpPr>
            <p:spPr bwMode="auto">
              <a:xfrm>
                <a:off x="908568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3" name="任意多边形: 形状 42">
                <a:extLst>
                  <a:ext uri="{FF2B5EF4-FFF2-40B4-BE49-F238E27FC236}">
                    <a16:creationId xmlns:a16="http://schemas.microsoft.com/office/drawing/2014/main" id="{8E0AAF09-8CD6-4666-B7C0-38CDBA40B437}"/>
                  </a:ext>
                </a:extLst>
              </p:cNvPr>
              <p:cNvSpPr/>
              <p:nvPr/>
            </p:nvSpPr>
            <p:spPr bwMode="auto">
              <a:xfrm>
                <a:off x="2041328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747B08EF-20C1-43EA-ADD1-F066EFF5E0C2}"/>
                  </a:ext>
                </a:extLst>
              </p:cNvPr>
              <p:cNvSpPr/>
              <p:nvPr/>
            </p:nvSpPr>
            <p:spPr bwMode="auto">
              <a:xfrm>
                <a:off x="2118028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5" name="任意多边形: 形状 44">
                <a:extLst>
                  <a:ext uri="{FF2B5EF4-FFF2-40B4-BE49-F238E27FC236}">
                    <a16:creationId xmlns:a16="http://schemas.microsoft.com/office/drawing/2014/main" id="{BDB7B707-825E-4BF0-AF1C-B1DBF8E11139}"/>
                  </a:ext>
                </a:extLst>
              </p:cNvPr>
              <p:cNvSpPr/>
              <p:nvPr/>
            </p:nvSpPr>
            <p:spPr bwMode="auto">
              <a:xfrm>
                <a:off x="2348117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8D4EF03B-1B79-45F0-96D5-4C6BE93E2B3A}"/>
                  </a:ext>
                </a:extLst>
              </p:cNvPr>
              <p:cNvSpPr/>
              <p:nvPr/>
            </p:nvSpPr>
            <p:spPr bwMode="auto">
              <a:xfrm>
                <a:off x="2660808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7" name="任意多边形: 形状 46">
                <a:extLst>
                  <a:ext uri="{FF2B5EF4-FFF2-40B4-BE49-F238E27FC236}">
                    <a16:creationId xmlns:a16="http://schemas.microsoft.com/office/drawing/2014/main" id="{F0036B3B-4436-453B-9BCC-76DFFBAC29C6}"/>
                  </a:ext>
                </a:extLst>
              </p:cNvPr>
              <p:cNvSpPr/>
              <p:nvPr/>
            </p:nvSpPr>
            <p:spPr bwMode="auto">
              <a:xfrm>
                <a:off x="2796502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1B6DA8C9-5033-43F7-BEC1-176A69508D80}"/>
                  </a:ext>
                </a:extLst>
              </p:cNvPr>
              <p:cNvSpPr/>
              <p:nvPr/>
            </p:nvSpPr>
            <p:spPr bwMode="auto">
              <a:xfrm>
                <a:off x="3421880" y="5610901"/>
                <a:ext cx="147494" cy="442486"/>
              </a:xfrm>
              <a:custGeom>
                <a:avLst/>
                <a:gdLst>
                  <a:gd name="T0" fmla="*/ 9 w 50"/>
                  <a:gd name="T1" fmla="*/ 23 h 149"/>
                  <a:gd name="T2" fmla="*/ 13 w 50"/>
                  <a:gd name="T3" fmla="*/ 23 h 149"/>
                  <a:gd name="T4" fmla="*/ 23 w 50"/>
                  <a:gd name="T5" fmla="*/ 0 h 149"/>
                  <a:gd name="T6" fmla="*/ 29 w 50"/>
                  <a:gd name="T7" fmla="*/ 0 h 149"/>
                  <a:gd name="T8" fmla="*/ 36 w 50"/>
                  <a:gd name="T9" fmla="*/ 23 h 149"/>
                  <a:gd name="T10" fmla="*/ 42 w 50"/>
                  <a:gd name="T11" fmla="*/ 23 h 149"/>
                  <a:gd name="T12" fmla="*/ 42 w 50"/>
                  <a:gd name="T13" fmla="*/ 36 h 149"/>
                  <a:gd name="T14" fmla="*/ 44 w 50"/>
                  <a:gd name="T15" fmla="*/ 42 h 149"/>
                  <a:gd name="T16" fmla="*/ 50 w 50"/>
                  <a:gd name="T17" fmla="*/ 42 h 149"/>
                  <a:gd name="T18" fmla="*/ 50 w 50"/>
                  <a:gd name="T19" fmla="*/ 149 h 149"/>
                  <a:gd name="T20" fmla="*/ 0 w 50"/>
                  <a:gd name="T21" fmla="*/ 149 h 149"/>
                  <a:gd name="T22" fmla="*/ 0 w 50"/>
                  <a:gd name="T23" fmla="*/ 42 h 149"/>
                  <a:gd name="T24" fmla="*/ 8 w 50"/>
                  <a:gd name="T25" fmla="*/ 42 h 149"/>
                  <a:gd name="T26" fmla="*/ 9 w 50"/>
                  <a:gd name="T27" fmla="*/ 36 h 149"/>
                  <a:gd name="T28" fmla="*/ 9 w 50"/>
                  <a:gd name="T29" fmla="*/ 23 h 149"/>
                  <a:gd name="T30" fmla="*/ 9 w 50"/>
                  <a:gd name="T31" fmla="*/ 23 h 1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50" h="149">
                    <a:moveTo>
                      <a:pt x="9" y="23"/>
                    </a:moveTo>
                    <a:lnTo>
                      <a:pt x="13" y="23"/>
                    </a:lnTo>
                    <a:lnTo>
                      <a:pt x="23" y="0"/>
                    </a:lnTo>
                    <a:lnTo>
                      <a:pt x="29" y="0"/>
                    </a:lnTo>
                    <a:lnTo>
                      <a:pt x="36" y="23"/>
                    </a:lnTo>
                    <a:lnTo>
                      <a:pt x="42" y="23"/>
                    </a:lnTo>
                    <a:lnTo>
                      <a:pt x="42" y="36"/>
                    </a:lnTo>
                    <a:lnTo>
                      <a:pt x="44" y="42"/>
                    </a:lnTo>
                    <a:lnTo>
                      <a:pt x="50" y="42"/>
                    </a:lnTo>
                    <a:lnTo>
                      <a:pt x="50" y="149"/>
                    </a:lnTo>
                    <a:lnTo>
                      <a:pt x="0" y="149"/>
                    </a:lnTo>
                    <a:lnTo>
                      <a:pt x="0" y="42"/>
                    </a:lnTo>
                    <a:lnTo>
                      <a:pt x="8" y="42"/>
                    </a:lnTo>
                    <a:lnTo>
                      <a:pt x="9" y="36"/>
                    </a:lnTo>
                    <a:lnTo>
                      <a:pt x="9" y="23"/>
                    </a:lnTo>
                    <a:lnTo>
                      <a:pt x="9" y="2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49" name="任意多边形: 形状 48">
                <a:extLst>
                  <a:ext uri="{FF2B5EF4-FFF2-40B4-BE49-F238E27FC236}">
                    <a16:creationId xmlns:a16="http://schemas.microsoft.com/office/drawing/2014/main" id="{A266A980-F3CF-46D8-9D3A-A2AAB53312FF}"/>
                  </a:ext>
                </a:extLst>
              </p:cNvPr>
              <p:cNvSpPr/>
              <p:nvPr/>
            </p:nvSpPr>
            <p:spPr bwMode="auto">
              <a:xfrm>
                <a:off x="3646071" y="5964889"/>
                <a:ext cx="82597" cy="88498"/>
              </a:xfrm>
              <a:custGeom>
                <a:avLst/>
                <a:gdLst>
                  <a:gd name="T0" fmla="*/ 0 w 28"/>
                  <a:gd name="T1" fmla="*/ 0 h 31"/>
                  <a:gd name="T2" fmla="*/ 28 w 28"/>
                  <a:gd name="T3" fmla="*/ 0 h 31"/>
                  <a:gd name="T4" fmla="*/ 28 w 28"/>
                  <a:gd name="T5" fmla="*/ 31 h 31"/>
                  <a:gd name="T6" fmla="*/ 0 w 28"/>
                  <a:gd name="T7" fmla="*/ 31 h 31"/>
                  <a:gd name="T8" fmla="*/ 0 w 28"/>
                  <a:gd name="T9" fmla="*/ 0 h 31"/>
                  <a:gd name="T10" fmla="*/ 0 w 28"/>
                  <a:gd name="T11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8" h="31">
                    <a:moveTo>
                      <a:pt x="0" y="0"/>
                    </a:moveTo>
                    <a:lnTo>
                      <a:pt x="28" y="0"/>
                    </a:lnTo>
                    <a:lnTo>
                      <a:pt x="28" y="31"/>
                    </a:lnTo>
                    <a:lnTo>
                      <a:pt x="0" y="31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B7462180-7209-49F8-AD63-23516416343B}"/>
                  </a:ext>
                </a:extLst>
              </p:cNvPr>
              <p:cNvSpPr/>
              <p:nvPr/>
            </p:nvSpPr>
            <p:spPr bwMode="auto">
              <a:xfrm>
                <a:off x="3675572" y="5021474"/>
                <a:ext cx="778773" cy="1031913"/>
              </a:xfrm>
              <a:custGeom>
                <a:avLst/>
                <a:gdLst>
                  <a:gd name="T0" fmla="*/ 124 w 266"/>
                  <a:gd name="T1" fmla="*/ 0 h 476"/>
                  <a:gd name="T2" fmla="*/ 203 w 266"/>
                  <a:gd name="T3" fmla="*/ 0 h 476"/>
                  <a:gd name="T4" fmla="*/ 203 w 266"/>
                  <a:gd name="T5" fmla="*/ 5 h 476"/>
                  <a:gd name="T6" fmla="*/ 209 w 266"/>
                  <a:gd name="T7" fmla="*/ 5 h 476"/>
                  <a:gd name="T8" fmla="*/ 209 w 266"/>
                  <a:gd name="T9" fmla="*/ 9 h 476"/>
                  <a:gd name="T10" fmla="*/ 214 w 266"/>
                  <a:gd name="T11" fmla="*/ 9 h 476"/>
                  <a:gd name="T12" fmla="*/ 214 w 266"/>
                  <a:gd name="T13" fmla="*/ 17 h 476"/>
                  <a:gd name="T14" fmla="*/ 222 w 266"/>
                  <a:gd name="T15" fmla="*/ 17 h 476"/>
                  <a:gd name="T16" fmla="*/ 222 w 266"/>
                  <a:gd name="T17" fmla="*/ 430 h 476"/>
                  <a:gd name="T18" fmla="*/ 230 w 266"/>
                  <a:gd name="T19" fmla="*/ 430 h 476"/>
                  <a:gd name="T20" fmla="*/ 230 w 266"/>
                  <a:gd name="T21" fmla="*/ 453 h 476"/>
                  <a:gd name="T22" fmla="*/ 230 w 266"/>
                  <a:gd name="T23" fmla="*/ 462 h 476"/>
                  <a:gd name="T24" fmla="*/ 266 w 266"/>
                  <a:gd name="T25" fmla="*/ 462 h 476"/>
                  <a:gd name="T26" fmla="*/ 266 w 266"/>
                  <a:gd name="T27" fmla="*/ 476 h 476"/>
                  <a:gd name="T28" fmla="*/ 230 w 266"/>
                  <a:gd name="T29" fmla="*/ 476 h 476"/>
                  <a:gd name="T30" fmla="*/ 222 w 266"/>
                  <a:gd name="T31" fmla="*/ 476 h 476"/>
                  <a:gd name="T32" fmla="*/ 199 w 266"/>
                  <a:gd name="T33" fmla="*/ 476 h 476"/>
                  <a:gd name="T34" fmla="*/ 124 w 266"/>
                  <a:gd name="T35" fmla="*/ 476 h 476"/>
                  <a:gd name="T36" fmla="*/ 48 w 266"/>
                  <a:gd name="T37" fmla="*/ 476 h 476"/>
                  <a:gd name="T38" fmla="*/ 0 w 266"/>
                  <a:gd name="T39" fmla="*/ 476 h 476"/>
                  <a:gd name="T40" fmla="*/ 0 w 266"/>
                  <a:gd name="T41" fmla="*/ 453 h 476"/>
                  <a:gd name="T42" fmla="*/ 0 w 266"/>
                  <a:gd name="T43" fmla="*/ 411 h 476"/>
                  <a:gd name="T44" fmla="*/ 10 w 266"/>
                  <a:gd name="T45" fmla="*/ 411 h 476"/>
                  <a:gd name="T46" fmla="*/ 10 w 266"/>
                  <a:gd name="T47" fmla="*/ 166 h 476"/>
                  <a:gd name="T48" fmla="*/ 17 w 266"/>
                  <a:gd name="T49" fmla="*/ 166 h 476"/>
                  <a:gd name="T50" fmla="*/ 17 w 266"/>
                  <a:gd name="T51" fmla="*/ 155 h 476"/>
                  <a:gd name="T52" fmla="*/ 23 w 266"/>
                  <a:gd name="T53" fmla="*/ 155 h 476"/>
                  <a:gd name="T54" fmla="*/ 23 w 266"/>
                  <a:gd name="T55" fmla="*/ 143 h 476"/>
                  <a:gd name="T56" fmla="*/ 25 w 266"/>
                  <a:gd name="T57" fmla="*/ 143 h 476"/>
                  <a:gd name="T58" fmla="*/ 44 w 266"/>
                  <a:gd name="T59" fmla="*/ 111 h 476"/>
                  <a:gd name="T60" fmla="*/ 46 w 266"/>
                  <a:gd name="T61" fmla="*/ 111 h 476"/>
                  <a:gd name="T62" fmla="*/ 48 w 266"/>
                  <a:gd name="T63" fmla="*/ 111 h 476"/>
                  <a:gd name="T64" fmla="*/ 48 w 266"/>
                  <a:gd name="T65" fmla="*/ 76 h 476"/>
                  <a:gd name="T66" fmla="*/ 50 w 266"/>
                  <a:gd name="T67" fmla="*/ 76 h 476"/>
                  <a:gd name="T68" fmla="*/ 50 w 266"/>
                  <a:gd name="T69" fmla="*/ 113 h 476"/>
                  <a:gd name="T70" fmla="*/ 69 w 266"/>
                  <a:gd name="T71" fmla="*/ 143 h 476"/>
                  <a:gd name="T72" fmla="*/ 71 w 266"/>
                  <a:gd name="T73" fmla="*/ 143 h 476"/>
                  <a:gd name="T74" fmla="*/ 71 w 266"/>
                  <a:gd name="T75" fmla="*/ 155 h 476"/>
                  <a:gd name="T76" fmla="*/ 75 w 266"/>
                  <a:gd name="T77" fmla="*/ 155 h 476"/>
                  <a:gd name="T78" fmla="*/ 75 w 266"/>
                  <a:gd name="T79" fmla="*/ 166 h 476"/>
                  <a:gd name="T80" fmla="*/ 82 w 266"/>
                  <a:gd name="T81" fmla="*/ 166 h 476"/>
                  <a:gd name="T82" fmla="*/ 82 w 266"/>
                  <a:gd name="T83" fmla="*/ 453 h 476"/>
                  <a:gd name="T84" fmla="*/ 124 w 266"/>
                  <a:gd name="T85" fmla="*/ 453 h 476"/>
                  <a:gd name="T86" fmla="*/ 124 w 266"/>
                  <a:gd name="T87" fmla="*/ 23 h 476"/>
                  <a:gd name="T88" fmla="*/ 124 w 266"/>
                  <a:gd name="T89" fmla="*/ 17 h 476"/>
                  <a:gd name="T90" fmla="*/ 124 w 266"/>
                  <a:gd name="T91" fmla="*/ 17 h 476"/>
                  <a:gd name="T92" fmla="*/ 124 w 266"/>
                  <a:gd name="T93" fmla="*/ 11 h 476"/>
                  <a:gd name="T94" fmla="*/ 124 w 266"/>
                  <a:gd name="T95" fmla="*/ 9 h 476"/>
                  <a:gd name="T96" fmla="*/ 124 w 266"/>
                  <a:gd name="T97" fmla="*/ 5 h 476"/>
                  <a:gd name="T98" fmla="*/ 124 w 266"/>
                  <a:gd name="T99" fmla="*/ 0 h 476"/>
                  <a:gd name="T100" fmla="*/ 124 w 266"/>
                  <a:gd name="T101" fmla="*/ 0 h 4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66" h="476">
                    <a:moveTo>
                      <a:pt x="124" y="0"/>
                    </a:moveTo>
                    <a:lnTo>
                      <a:pt x="203" y="0"/>
                    </a:lnTo>
                    <a:lnTo>
                      <a:pt x="203" y="5"/>
                    </a:lnTo>
                    <a:lnTo>
                      <a:pt x="209" y="5"/>
                    </a:lnTo>
                    <a:lnTo>
                      <a:pt x="209" y="9"/>
                    </a:lnTo>
                    <a:lnTo>
                      <a:pt x="214" y="9"/>
                    </a:lnTo>
                    <a:lnTo>
                      <a:pt x="214" y="17"/>
                    </a:lnTo>
                    <a:lnTo>
                      <a:pt x="222" y="17"/>
                    </a:lnTo>
                    <a:lnTo>
                      <a:pt x="222" y="430"/>
                    </a:lnTo>
                    <a:lnTo>
                      <a:pt x="230" y="430"/>
                    </a:lnTo>
                    <a:lnTo>
                      <a:pt x="230" y="453"/>
                    </a:lnTo>
                    <a:lnTo>
                      <a:pt x="230" y="462"/>
                    </a:lnTo>
                    <a:lnTo>
                      <a:pt x="266" y="462"/>
                    </a:lnTo>
                    <a:lnTo>
                      <a:pt x="266" y="476"/>
                    </a:lnTo>
                    <a:lnTo>
                      <a:pt x="230" y="476"/>
                    </a:lnTo>
                    <a:lnTo>
                      <a:pt x="222" y="476"/>
                    </a:lnTo>
                    <a:lnTo>
                      <a:pt x="199" y="476"/>
                    </a:lnTo>
                    <a:lnTo>
                      <a:pt x="124" y="476"/>
                    </a:lnTo>
                    <a:lnTo>
                      <a:pt x="48" y="476"/>
                    </a:lnTo>
                    <a:lnTo>
                      <a:pt x="0" y="476"/>
                    </a:lnTo>
                    <a:lnTo>
                      <a:pt x="0" y="453"/>
                    </a:lnTo>
                    <a:lnTo>
                      <a:pt x="0" y="411"/>
                    </a:lnTo>
                    <a:lnTo>
                      <a:pt x="10" y="411"/>
                    </a:lnTo>
                    <a:lnTo>
                      <a:pt x="10" y="166"/>
                    </a:lnTo>
                    <a:lnTo>
                      <a:pt x="17" y="166"/>
                    </a:lnTo>
                    <a:lnTo>
                      <a:pt x="17" y="155"/>
                    </a:lnTo>
                    <a:lnTo>
                      <a:pt x="23" y="155"/>
                    </a:lnTo>
                    <a:lnTo>
                      <a:pt x="23" y="143"/>
                    </a:lnTo>
                    <a:lnTo>
                      <a:pt x="25" y="143"/>
                    </a:lnTo>
                    <a:lnTo>
                      <a:pt x="44" y="111"/>
                    </a:lnTo>
                    <a:lnTo>
                      <a:pt x="46" y="111"/>
                    </a:lnTo>
                    <a:lnTo>
                      <a:pt x="48" y="111"/>
                    </a:lnTo>
                    <a:lnTo>
                      <a:pt x="48" y="76"/>
                    </a:lnTo>
                    <a:lnTo>
                      <a:pt x="50" y="76"/>
                    </a:lnTo>
                    <a:lnTo>
                      <a:pt x="50" y="113"/>
                    </a:lnTo>
                    <a:lnTo>
                      <a:pt x="69" y="143"/>
                    </a:lnTo>
                    <a:lnTo>
                      <a:pt x="71" y="143"/>
                    </a:lnTo>
                    <a:lnTo>
                      <a:pt x="71" y="155"/>
                    </a:lnTo>
                    <a:lnTo>
                      <a:pt x="75" y="155"/>
                    </a:lnTo>
                    <a:lnTo>
                      <a:pt x="75" y="166"/>
                    </a:lnTo>
                    <a:lnTo>
                      <a:pt x="82" y="166"/>
                    </a:lnTo>
                    <a:lnTo>
                      <a:pt x="82" y="453"/>
                    </a:lnTo>
                    <a:lnTo>
                      <a:pt x="124" y="453"/>
                    </a:lnTo>
                    <a:lnTo>
                      <a:pt x="124" y="23"/>
                    </a:lnTo>
                    <a:lnTo>
                      <a:pt x="124" y="17"/>
                    </a:lnTo>
                    <a:lnTo>
                      <a:pt x="124" y="17"/>
                    </a:lnTo>
                    <a:lnTo>
                      <a:pt x="124" y="11"/>
                    </a:lnTo>
                    <a:lnTo>
                      <a:pt x="124" y="9"/>
                    </a:lnTo>
                    <a:lnTo>
                      <a:pt x="124" y="5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1" name="任意多边形: 形状 50">
                <a:extLst>
                  <a:ext uri="{FF2B5EF4-FFF2-40B4-BE49-F238E27FC236}">
                    <a16:creationId xmlns:a16="http://schemas.microsoft.com/office/drawing/2014/main" id="{9749D135-25AD-4876-BBB6-C15A77AABCB2}"/>
                  </a:ext>
                </a:extLst>
              </p:cNvPr>
              <p:cNvSpPr/>
              <p:nvPr/>
            </p:nvSpPr>
            <p:spPr bwMode="auto">
              <a:xfrm>
                <a:off x="4383548" y="5622700"/>
                <a:ext cx="306789" cy="430687"/>
              </a:xfrm>
              <a:custGeom>
                <a:avLst/>
                <a:gdLst>
                  <a:gd name="T0" fmla="*/ 48 w 103"/>
                  <a:gd name="T1" fmla="*/ 112 h 145"/>
                  <a:gd name="T2" fmla="*/ 103 w 103"/>
                  <a:gd name="T3" fmla="*/ 112 h 145"/>
                  <a:gd name="T4" fmla="*/ 103 w 103"/>
                  <a:gd name="T5" fmla="*/ 145 h 145"/>
                  <a:gd name="T6" fmla="*/ 48 w 103"/>
                  <a:gd name="T7" fmla="*/ 145 h 145"/>
                  <a:gd name="T8" fmla="*/ 23 w 103"/>
                  <a:gd name="T9" fmla="*/ 145 h 145"/>
                  <a:gd name="T10" fmla="*/ 0 w 103"/>
                  <a:gd name="T11" fmla="*/ 145 h 145"/>
                  <a:gd name="T12" fmla="*/ 0 w 103"/>
                  <a:gd name="T13" fmla="*/ 11 h 145"/>
                  <a:gd name="T14" fmla="*/ 6 w 103"/>
                  <a:gd name="T15" fmla="*/ 11 h 145"/>
                  <a:gd name="T16" fmla="*/ 6 w 103"/>
                  <a:gd name="T17" fmla="*/ 0 h 145"/>
                  <a:gd name="T18" fmla="*/ 34 w 103"/>
                  <a:gd name="T19" fmla="*/ 0 h 145"/>
                  <a:gd name="T20" fmla="*/ 34 w 103"/>
                  <a:gd name="T21" fmla="*/ 11 h 145"/>
                  <a:gd name="T22" fmla="*/ 48 w 103"/>
                  <a:gd name="T23" fmla="*/ 11 h 145"/>
                  <a:gd name="T24" fmla="*/ 48 w 103"/>
                  <a:gd name="T25" fmla="*/ 112 h 145"/>
                  <a:gd name="T26" fmla="*/ 48 w 103"/>
                  <a:gd name="T27" fmla="*/ 112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3" h="145">
                    <a:moveTo>
                      <a:pt x="48" y="112"/>
                    </a:moveTo>
                    <a:lnTo>
                      <a:pt x="103" y="112"/>
                    </a:lnTo>
                    <a:lnTo>
                      <a:pt x="103" y="145"/>
                    </a:lnTo>
                    <a:lnTo>
                      <a:pt x="48" y="145"/>
                    </a:lnTo>
                    <a:lnTo>
                      <a:pt x="23" y="145"/>
                    </a:lnTo>
                    <a:lnTo>
                      <a:pt x="0" y="145"/>
                    </a:lnTo>
                    <a:lnTo>
                      <a:pt x="0" y="11"/>
                    </a:lnTo>
                    <a:lnTo>
                      <a:pt x="6" y="11"/>
                    </a:lnTo>
                    <a:lnTo>
                      <a:pt x="6" y="0"/>
                    </a:lnTo>
                    <a:lnTo>
                      <a:pt x="34" y="0"/>
                    </a:lnTo>
                    <a:lnTo>
                      <a:pt x="34" y="11"/>
                    </a:lnTo>
                    <a:lnTo>
                      <a:pt x="48" y="11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5458A2B1-7861-4E65-B041-4958B7F8F52E}"/>
                  </a:ext>
                </a:extLst>
              </p:cNvPr>
              <p:cNvSpPr/>
              <p:nvPr/>
            </p:nvSpPr>
            <p:spPr bwMode="auto">
              <a:xfrm>
                <a:off x="4908627" y="5634500"/>
                <a:ext cx="365788" cy="418888"/>
              </a:xfrm>
              <a:custGeom>
                <a:avLst/>
                <a:gdLst>
                  <a:gd name="T0" fmla="*/ 0 w 124"/>
                  <a:gd name="T1" fmla="*/ 0 h 142"/>
                  <a:gd name="T2" fmla="*/ 124 w 124"/>
                  <a:gd name="T3" fmla="*/ 0 h 142"/>
                  <a:gd name="T4" fmla="*/ 124 w 124"/>
                  <a:gd name="T5" fmla="*/ 142 h 142"/>
                  <a:gd name="T6" fmla="*/ 0 w 124"/>
                  <a:gd name="T7" fmla="*/ 142 h 142"/>
                  <a:gd name="T8" fmla="*/ 0 w 124"/>
                  <a:gd name="T9" fmla="*/ 0 h 142"/>
                  <a:gd name="T10" fmla="*/ 0 w 124"/>
                  <a:gd name="T11" fmla="*/ 0 h 1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4" h="142">
                    <a:moveTo>
                      <a:pt x="0" y="0"/>
                    </a:moveTo>
                    <a:lnTo>
                      <a:pt x="124" y="0"/>
                    </a:lnTo>
                    <a:lnTo>
                      <a:pt x="124" y="142"/>
                    </a:lnTo>
                    <a:lnTo>
                      <a:pt x="0" y="14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3" name="任意多边形: 形状 52">
                <a:extLst>
                  <a:ext uri="{FF2B5EF4-FFF2-40B4-BE49-F238E27FC236}">
                    <a16:creationId xmlns:a16="http://schemas.microsoft.com/office/drawing/2014/main" id="{8E2A9500-04E9-4A34-850C-3F8E60725676}"/>
                  </a:ext>
                </a:extLst>
              </p:cNvPr>
              <p:cNvSpPr/>
              <p:nvPr/>
            </p:nvSpPr>
            <p:spPr bwMode="auto">
              <a:xfrm>
                <a:off x="5303915" y="5410309"/>
                <a:ext cx="873170" cy="643080"/>
              </a:xfrm>
              <a:custGeom>
                <a:avLst/>
                <a:gdLst>
                  <a:gd name="T0" fmla="*/ 84 w 296"/>
                  <a:gd name="T1" fmla="*/ 193 h 218"/>
                  <a:gd name="T2" fmla="*/ 94 w 296"/>
                  <a:gd name="T3" fmla="*/ 193 h 218"/>
                  <a:gd name="T4" fmla="*/ 94 w 296"/>
                  <a:gd name="T5" fmla="*/ 199 h 218"/>
                  <a:gd name="T6" fmla="*/ 113 w 296"/>
                  <a:gd name="T7" fmla="*/ 199 h 218"/>
                  <a:gd name="T8" fmla="*/ 113 w 296"/>
                  <a:gd name="T9" fmla="*/ 206 h 218"/>
                  <a:gd name="T10" fmla="*/ 160 w 296"/>
                  <a:gd name="T11" fmla="*/ 206 h 218"/>
                  <a:gd name="T12" fmla="*/ 160 w 296"/>
                  <a:gd name="T13" fmla="*/ 9 h 218"/>
                  <a:gd name="T14" fmla="*/ 178 w 296"/>
                  <a:gd name="T15" fmla="*/ 9 h 218"/>
                  <a:gd name="T16" fmla="*/ 178 w 296"/>
                  <a:gd name="T17" fmla="*/ 0 h 218"/>
                  <a:gd name="T18" fmla="*/ 218 w 296"/>
                  <a:gd name="T19" fmla="*/ 0 h 218"/>
                  <a:gd name="T20" fmla="*/ 218 w 296"/>
                  <a:gd name="T21" fmla="*/ 9 h 218"/>
                  <a:gd name="T22" fmla="*/ 231 w 296"/>
                  <a:gd name="T23" fmla="*/ 9 h 218"/>
                  <a:gd name="T24" fmla="*/ 231 w 296"/>
                  <a:gd name="T25" fmla="*/ 206 h 218"/>
                  <a:gd name="T26" fmla="*/ 245 w 296"/>
                  <a:gd name="T27" fmla="*/ 206 h 218"/>
                  <a:gd name="T28" fmla="*/ 245 w 296"/>
                  <a:gd name="T29" fmla="*/ 214 h 218"/>
                  <a:gd name="T30" fmla="*/ 296 w 296"/>
                  <a:gd name="T31" fmla="*/ 214 h 218"/>
                  <a:gd name="T32" fmla="*/ 296 w 296"/>
                  <a:gd name="T33" fmla="*/ 218 h 218"/>
                  <a:gd name="T34" fmla="*/ 245 w 296"/>
                  <a:gd name="T35" fmla="*/ 218 h 218"/>
                  <a:gd name="T36" fmla="*/ 231 w 296"/>
                  <a:gd name="T37" fmla="*/ 218 h 218"/>
                  <a:gd name="T38" fmla="*/ 160 w 296"/>
                  <a:gd name="T39" fmla="*/ 218 h 218"/>
                  <a:gd name="T40" fmla="*/ 130 w 296"/>
                  <a:gd name="T41" fmla="*/ 218 h 218"/>
                  <a:gd name="T42" fmla="*/ 84 w 296"/>
                  <a:gd name="T43" fmla="*/ 218 h 218"/>
                  <a:gd name="T44" fmla="*/ 80 w 296"/>
                  <a:gd name="T45" fmla="*/ 218 h 218"/>
                  <a:gd name="T46" fmla="*/ 50 w 296"/>
                  <a:gd name="T47" fmla="*/ 218 h 218"/>
                  <a:gd name="T48" fmla="*/ 0 w 296"/>
                  <a:gd name="T49" fmla="*/ 218 h 218"/>
                  <a:gd name="T50" fmla="*/ 0 w 296"/>
                  <a:gd name="T51" fmla="*/ 4 h 218"/>
                  <a:gd name="T52" fmla="*/ 50 w 296"/>
                  <a:gd name="T53" fmla="*/ 4 h 218"/>
                  <a:gd name="T54" fmla="*/ 50 w 296"/>
                  <a:gd name="T55" fmla="*/ 25 h 218"/>
                  <a:gd name="T56" fmla="*/ 84 w 296"/>
                  <a:gd name="T57" fmla="*/ 25 h 218"/>
                  <a:gd name="T58" fmla="*/ 84 w 296"/>
                  <a:gd name="T59" fmla="*/ 193 h 218"/>
                  <a:gd name="T60" fmla="*/ 84 w 296"/>
                  <a:gd name="T61" fmla="*/ 193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6" h="218">
                    <a:moveTo>
                      <a:pt x="84" y="193"/>
                    </a:moveTo>
                    <a:lnTo>
                      <a:pt x="94" y="193"/>
                    </a:lnTo>
                    <a:lnTo>
                      <a:pt x="94" y="199"/>
                    </a:lnTo>
                    <a:lnTo>
                      <a:pt x="113" y="199"/>
                    </a:lnTo>
                    <a:lnTo>
                      <a:pt x="113" y="206"/>
                    </a:lnTo>
                    <a:lnTo>
                      <a:pt x="160" y="206"/>
                    </a:lnTo>
                    <a:lnTo>
                      <a:pt x="160" y="9"/>
                    </a:lnTo>
                    <a:lnTo>
                      <a:pt x="178" y="9"/>
                    </a:lnTo>
                    <a:lnTo>
                      <a:pt x="178" y="0"/>
                    </a:lnTo>
                    <a:lnTo>
                      <a:pt x="218" y="0"/>
                    </a:lnTo>
                    <a:lnTo>
                      <a:pt x="218" y="9"/>
                    </a:lnTo>
                    <a:lnTo>
                      <a:pt x="231" y="9"/>
                    </a:lnTo>
                    <a:lnTo>
                      <a:pt x="231" y="206"/>
                    </a:lnTo>
                    <a:lnTo>
                      <a:pt x="245" y="206"/>
                    </a:lnTo>
                    <a:lnTo>
                      <a:pt x="245" y="214"/>
                    </a:lnTo>
                    <a:lnTo>
                      <a:pt x="296" y="214"/>
                    </a:lnTo>
                    <a:lnTo>
                      <a:pt x="296" y="218"/>
                    </a:lnTo>
                    <a:lnTo>
                      <a:pt x="245" y="218"/>
                    </a:lnTo>
                    <a:lnTo>
                      <a:pt x="231" y="218"/>
                    </a:lnTo>
                    <a:lnTo>
                      <a:pt x="160" y="218"/>
                    </a:lnTo>
                    <a:lnTo>
                      <a:pt x="130" y="218"/>
                    </a:lnTo>
                    <a:lnTo>
                      <a:pt x="84" y="218"/>
                    </a:lnTo>
                    <a:lnTo>
                      <a:pt x="80" y="218"/>
                    </a:lnTo>
                    <a:lnTo>
                      <a:pt x="50" y="218"/>
                    </a:lnTo>
                    <a:lnTo>
                      <a:pt x="0" y="218"/>
                    </a:lnTo>
                    <a:lnTo>
                      <a:pt x="0" y="4"/>
                    </a:lnTo>
                    <a:lnTo>
                      <a:pt x="50" y="4"/>
                    </a:lnTo>
                    <a:lnTo>
                      <a:pt x="50" y="25"/>
                    </a:lnTo>
                    <a:lnTo>
                      <a:pt x="84" y="25"/>
                    </a:lnTo>
                    <a:lnTo>
                      <a:pt x="84" y="193"/>
                    </a:lnTo>
                    <a:lnTo>
                      <a:pt x="84" y="19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FF81A102-5FED-4A44-93F9-BFF78290CC64}"/>
                  </a:ext>
                </a:extLst>
              </p:cNvPr>
              <p:cNvSpPr/>
              <p:nvPr/>
            </p:nvSpPr>
            <p:spPr bwMode="auto">
              <a:xfrm>
                <a:off x="35399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5" name="任意多边形: 形状 54">
                <a:extLst>
                  <a:ext uri="{FF2B5EF4-FFF2-40B4-BE49-F238E27FC236}">
                    <a16:creationId xmlns:a16="http://schemas.microsoft.com/office/drawing/2014/main" id="{F17F6A22-AF9C-47E3-A8D1-DDCF14B3D230}"/>
                  </a:ext>
                </a:extLst>
              </p:cNvPr>
              <p:cNvSpPr/>
              <p:nvPr/>
            </p:nvSpPr>
            <p:spPr bwMode="auto">
              <a:xfrm>
                <a:off x="2796502" y="4887064"/>
                <a:ext cx="595877" cy="1166323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6" name="任意多边形: 形状 55">
                <a:extLst>
                  <a:ext uri="{FF2B5EF4-FFF2-40B4-BE49-F238E27FC236}">
                    <a16:creationId xmlns:a16="http://schemas.microsoft.com/office/drawing/2014/main" id="{91E3F93C-B53B-4056-976A-4B2CB322F1B4}"/>
                  </a:ext>
                </a:extLst>
              </p:cNvPr>
              <p:cNvSpPr/>
              <p:nvPr/>
            </p:nvSpPr>
            <p:spPr bwMode="auto">
              <a:xfrm>
                <a:off x="4708034" y="6006189"/>
                <a:ext cx="631276" cy="47199"/>
              </a:xfrm>
              <a:custGeom>
                <a:avLst/>
                <a:gdLst>
                  <a:gd name="T0" fmla="*/ 0 w 212"/>
                  <a:gd name="T1" fmla="*/ 0 h 15"/>
                  <a:gd name="T2" fmla="*/ 212 w 212"/>
                  <a:gd name="T3" fmla="*/ 0 h 15"/>
                  <a:gd name="T4" fmla="*/ 212 w 212"/>
                  <a:gd name="T5" fmla="*/ 15 h 15"/>
                  <a:gd name="T6" fmla="*/ 0 w 212"/>
                  <a:gd name="T7" fmla="*/ 15 h 15"/>
                  <a:gd name="T8" fmla="*/ 0 w 212"/>
                  <a:gd name="T9" fmla="*/ 0 h 15"/>
                  <a:gd name="T10" fmla="*/ 0 w 212"/>
                  <a:gd name="T11" fmla="*/ 0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12" h="15">
                    <a:moveTo>
                      <a:pt x="0" y="0"/>
                    </a:moveTo>
                    <a:lnTo>
                      <a:pt x="212" y="0"/>
                    </a:lnTo>
                    <a:lnTo>
                      <a:pt x="212" y="15"/>
                    </a:lnTo>
                    <a:lnTo>
                      <a:pt x="0" y="15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25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7" name="任意多边形: 形状 56">
                <a:extLst>
                  <a:ext uri="{FF2B5EF4-FFF2-40B4-BE49-F238E27FC236}">
                    <a16:creationId xmlns:a16="http://schemas.microsoft.com/office/drawing/2014/main" id="{4F8CE7F5-AB78-44BC-A66B-A2471C6A4942}"/>
                  </a:ext>
                </a:extLst>
              </p:cNvPr>
              <p:cNvSpPr/>
              <p:nvPr/>
            </p:nvSpPr>
            <p:spPr bwMode="auto">
              <a:xfrm>
                <a:off x="0" y="5982589"/>
                <a:ext cx="9144000" cy="316525"/>
              </a:xfrm>
              <a:custGeom>
                <a:avLst/>
                <a:gdLst>
                  <a:gd name="T0" fmla="*/ 132 w 2098"/>
                  <a:gd name="T1" fmla="*/ 21 h 101"/>
                  <a:gd name="T2" fmla="*/ 138 w 2098"/>
                  <a:gd name="T3" fmla="*/ 0 h 101"/>
                  <a:gd name="T4" fmla="*/ 281 w 2098"/>
                  <a:gd name="T5" fmla="*/ 21 h 101"/>
                  <a:gd name="T6" fmla="*/ 289 w 2098"/>
                  <a:gd name="T7" fmla="*/ 0 h 101"/>
                  <a:gd name="T8" fmla="*/ 675 w 2098"/>
                  <a:gd name="T9" fmla="*/ 21 h 101"/>
                  <a:gd name="T10" fmla="*/ 685 w 2098"/>
                  <a:gd name="T11" fmla="*/ 0 h 101"/>
                  <a:gd name="T12" fmla="*/ 706 w 2098"/>
                  <a:gd name="T13" fmla="*/ 21 h 101"/>
                  <a:gd name="T14" fmla="*/ 710 w 2098"/>
                  <a:gd name="T15" fmla="*/ 0 h 101"/>
                  <a:gd name="T16" fmla="*/ 819 w 2098"/>
                  <a:gd name="T17" fmla="*/ 21 h 101"/>
                  <a:gd name="T18" fmla="*/ 824 w 2098"/>
                  <a:gd name="T19" fmla="*/ 0 h 101"/>
                  <a:gd name="T20" fmla="*/ 889 w 2098"/>
                  <a:gd name="T21" fmla="*/ 21 h 101"/>
                  <a:gd name="T22" fmla="*/ 895 w 2098"/>
                  <a:gd name="T23" fmla="*/ 0 h 101"/>
                  <a:gd name="T24" fmla="*/ 979 w 2098"/>
                  <a:gd name="T25" fmla="*/ 21 h 101"/>
                  <a:gd name="T26" fmla="*/ 987 w 2098"/>
                  <a:gd name="T27" fmla="*/ 0 h 101"/>
                  <a:gd name="T28" fmla="*/ 1222 w 2098"/>
                  <a:gd name="T29" fmla="*/ 21 h 101"/>
                  <a:gd name="T30" fmla="*/ 1228 w 2098"/>
                  <a:gd name="T31" fmla="*/ 0 h 101"/>
                  <a:gd name="T32" fmla="*/ 1257 w 2098"/>
                  <a:gd name="T33" fmla="*/ 21 h 101"/>
                  <a:gd name="T34" fmla="*/ 1260 w 2098"/>
                  <a:gd name="T35" fmla="*/ 4 h 101"/>
                  <a:gd name="T36" fmla="*/ 1352 w 2098"/>
                  <a:gd name="T37" fmla="*/ 0 h 101"/>
                  <a:gd name="T38" fmla="*/ 1362 w 2098"/>
                  <a:gd name="T39" fmla="*/ 4 h 101"/>
                  <a:gd name="T40" fmla="*/ 1446 w 2098"/>
                  <a:gd name="T41" fmla="*/ 0 h 101"/>
                  <a:gd name="T42" fmla="*/ 1446 w 2098"/>
                  <a:gd name="T43" fmla="*/ 11 h 101"/>
                  <a:gd name="T44" fmla="*/ 1477 w 2098"/>
                  <a:gd name="T45" fmla="*/ 21 h 101"/>
                  <a:gd name="T46" fmla="*/ 1478 w 2098"/>
                  <a:gd name="T47" fmla="*/ 0 h 101"/>
                  <a:gd name="T48" fmla="*/ 1582 w 2098"/>
                  <a:gd name="T49" fmla="*/ 21 h 101"/>
                  <a:gd name="T50" fmla="*/ 1610 w 2098"/>
                  <a:gd name="T51" fmla="*/ 0 h 101"/>
                  <a:gd name="T52" fmla="*/ 1783 w 2098"/>
                  <a:gd name="T53" fmla="*/ 21 h 101"/>
                  <a:gd name="T54" fmla="*/ 1792 w 2098"/>
                  <a:gd name="T55" fmla="*/ 0 h 101"/>
                  <a:gd name="T56" fmla="*/ 1884 w 2098"/>
                  <a:gd name="T57" fmla="*/ 4 h 101"/>
                  <a:gd name="T58" fmla="*/ 1903 w 2098"/>
                  <a:gd name="T59" fmla="*/ 11 h 101"/>
                  <a:gd name="T60" fmla="*/ 1928 w 2098"/>
                  <a:gd name="T61" fmla="*/ 0 h 101"/>
                  <a:gd name="T62" fmla="*/ 2029 w 2098"/>
                  <a:gd name="T63" fmla="*/ 11 h 101"/>
                  <a:gd name="T64" fmla="*/ 2037 w 2098"/>
                  <a:gd name="T65" fmla="*/ 19 h 101"/>
                  <a:gd name="T66" fmla="*/ 2046 w 2098"/>
                  <a:gd name="T67" fmla="*/ 4 h 101"/>
                  <a:gd name="T68" fmla="*/ 2081 w 2098"/>
                  <a:gd name="T69" fmla="*/ 19 h 101"/>
                  <a:gd name="T70" fmla="*/ 2087 w 2098"/>
                  <a:gd name="T71" fmla="*/ 21 h 101"/>
                  <a:gd name="T72" fmla="*/ 2098 w 2098"/>
                  <a:gd name="T73" fmla="*/ 57 h 101"/>
                  <a:gd name="T74" fmla="*/ 2098 w 2098"/>
                  <a:gd name="T75" fmla="*/ 101 h 101"/>
                  <a:gd name="T76" fmla="*/ 0 w 2098"/>
                  <a:gd name="T77" fmla="*/ 101 h 101"/>
                  <a:gd name="T78" fmla="*/ 0 w 2098"/>
                  <a:gd name="T79" fmla="*/ 57 h 101"/>
                  <a:gd name="T80" fmla="*/ 4 w 2098"/>
                  <a:gd name="T81" fmla="*/ 21 h 101"/>
                  <a:gd name="T82" fmla="*/ 132 w 2098"/>
                  <a:gd name="T83" fmla="*/ 0 h 1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098" h="101">
                    <a:moveTo>
                      <a:pt x="132" y="0"/>
                    </a:moveTo>
                    <a:lnTo>
                      <a:pt x="132" y="21"/>
                    </a:lnTo>
                    <a:lnTo>
                      <a:pt x="138" y="21"/>
                    </a:lnTo>
                    <a:lnTo>
                      <a:pt x="138" y="0"/>
                    </a:lnTo>
                    <a:lnTo>
                      <a:pt x="281" y="0"/>
                    </a:lnTo>
                    <a:lnTo>
                      <a:pt x="281" y="21"/>
                    </a:lnTo>
                    <a:lnTo>
                      <a:pt x="289" y="21"/>
                    </a:lnTo>
                    <a:lnTo>
                      <a:pt x="289" y="0"/>
                    </a:lnTo>
                    <a:lnTo>
                      <a:pt x="675" y="0"/>
                    </a:lnTo>
                    <a:lnTo>
                      <a:pt x="675" y="21"/>
                    </a:lnTo>
                    <a:lnTo>
                      <a:pt x="685" y="21"/>
                    </a:lnTo>
                    <a:lnTo>
                      <a:pt x="685" y="0"/>
                    </a:lnTo>
                    <a:lnTo>
                      <a:pt x="706" y="0"/>
                    </a:lnTo>
                    <a:lnTo>
                      <a:pt x="706" y="21"/>
                    </a:lnTo>
                    <a:lnTo>
                      <a:pt x="710" y="21"/>
                    </a:lnTo>
                    <a:lnTo>
                      <a:pt x="710" y="0"/>
                    </a:lnTo>
                    <a:lnTo>
                      <a:pt x="819" y="0"/>
                    </a:lnTo>
                    <a:lnTo>
                      <a:pt x="819" y="21"/>
                    </a:lnTo>
                    <a:lnTo>
                      <a:pt x="824" y="21"/>
                    </a:lnTo>
                    <a:lnTo>
                      <a:pt x="824" y="0"/>
                    </a:lnTo>
                    <a:lnTo>
                      <a:pt x="889" y="0"/>
                    </a:lnTo>
                    <a:lnTo>
                      <a:pt x="889" y="21"/>
                    </a:lnTo>
                    <a:lnTo>
                      <a:pt x="895" y="21"/>
                    </a:lnTo>
                    <a:lnTo>
                      <a:pt x="895" y="0"/>
                    </a:lnTo>
                    <a:lnTo>
                      <a:pt x="979" y="0"/>
                    </a:lnTo>
                    <a:lnTo>
                      <a:pt x="979" y="21"/>
                    </a:lnTo>
                    <a:lnTo>
                      <a:pt x="987" y="21"/>
                    </a:lnTo>
                    <a:lnTo>
                      <a:pt x="987" y="0"/>
                    </a:lnTo>
                    <a:lnTo>
                      <a:pt x="1222" y="0"/>
                    </a:lnTo>
                    <a:lnTo>
                      <a:pt x="1222" y="21"/>
                    </a:lnTo>
                    <a:lnTo>
                      <a:pt x="1228" y="21"/>
                    </a:lnTo>
                    <a:lnTo>
                      <a:pt x="1228" y="0"/>
                    </a:lnTo>
                    <a:lnTo>
                      <a:pt x="1257" y="0"/>
                    </a:lnTo>
                    <a:lnTo>
                      <a:pt x="1257" y="21"/>
                    </a:lnTo>
                    <a:lnTo>
                      <a:pt x="1260" y="21"/>
                    </a:lnTo>
                    <a:lnTo>
                      <a:pt x="1260" y="4"/>
                    </a:lnTo>
                    <a:lnTo>
                      <a:pt x="1260" y="0"/>
                    </a:lnTo>
                    <a:lnTo>
                      <a:pt x="1352" y="0"/>
                    </a:lnTo>
                    <a:lnTo>
                      <a:pt x="1352" y="4"/>
                    </a:lnTo>
                    <a:lnTo>
                      <a:pt x="1362" y="4"/>
                    </a:lnTo>
                    <a:lnTo>
                      <a:pt x="1362" y="0"/>
                    </a:lnTo>
                    <a:lnTo>
                      <a:pt x="1446" y="0"/>
                    </a:lnTo>
                    <a:lnTo>
                      <a:pt x="1446" y="4"/>
                    </a:lnTo>
                    <a:lnTo>
                      <a:pt x="1446" y="11"/>
                    </a:lnTo>
                    <a:lnTo>
                      <a:pt x="1477" y="11"/>
                    </a:lnTo>
                    <a:lnTo>
                      <a:pt x="1477" y="21"/>
                    </a:lnTo>
                    <a:lnTo>
                      <a:pt x="1478" y="21"/>
                    </a:lnTo>
                    <a:lnTo>
                      <a:pt x="1478" y="0"/>
                    </a:lnTo>
                    <a:lnTo>
                      <a:pt x="1582" y="0"/>
                    </a:lnTo>
                    <a:lnTo>
                      <a:pt x="1582" y="21"/>
                    </a:lnTo>
                    <a:lnTo>
                      <a:pt x="1610" y="21"/>
                    </a:lnTo>
                    <a:lnTo>
                      <a:pt x="1610" y="0"/>
                    </a:lnTo>
                    <a:lnTo>
                      <a:pt x="1783" y="0"/>
                    </a:lnTo>
                    <a:lnTo>
                      <a:pt x="1783" y="21"/>
                    </a:lnTo>
                    <a:lnTo>
                      <a:pt x="1792" y="21"/>
                    </a:lnTo>
                    <a:lnTo>
                      <a:pt x="1792" y="0"/>
                    </a:lnTo>
                    <a:lnTo>
                      <a:pt x="1884" y="0"/>
                    </a:lnTo>
                    <a:lnTo>
                      <a:pt x="1884" y="4"/>
                    </a:lnTo>
                    <a:lnTo>
                      <a:pt x="1903" y="4"/>
                    </a:lnTo>
                    <a:lnTo>
                      <a:pt x="1903" y="11"/>
                    </a:lnTo>
                    <a:lnTo>
                      <a:pt x="1928" y="11"/>
                    </a:lnTo>
                    <a:lnTo>
                      <a:pt x="1928" y="0"/>
                    </a:lnTo>
                    <a:lnTo>
                      <a:pt x="2029" y="0"/>
                    </a:lnTo>
                    <a:lnTo>
                      <a:pt x="2029" y="11"/>
                    </a:lnTo>
                    <a:lnTo>
                      <a:pt x="2037" y="11"/>
                    </a:lnTo>
                    <a:lnTo>
                      <a:pt x="2037" y="19"/>
                    </a:lnTo>
                    <a:lnTo>
                      <a:pt x="2046" y="19"/>
                    </a:lnTo>
                    <a:lnTo>
                      <a:pt x="2046" y="4"/>
                    </a:lnTo>
                    <a:lnTo>
                      <a:pt x="2081" y="4"/>
                    </a:lnTo>
                    <a:lnTo>
                      <a:pt x="2081" y="19"/>
                    </a:lnTo>
                    <a:lnTo>
                      <a:pt x="2087" y="19"/>
                    </a:lnTo>
                    <a:lnTo>
                      <a:pt x="2087" y="21"/>
                    </a:lnTo>
                    <a:lnTo>
                      <a:pt x="2098" y="21"/>
                    </a:lnTo>
                    <a:lnTo>
                      <a:pt x="2098" y="57"/>
                    </a:lnTo>
                    <a:lnTo>
                      <a:pt x="2098" y="57"/>
                    </a:lnTo>
                    <a:lnTo>
                      <a:pt x="2098" y="101"/>
                    </a:lnTo>
                    <a:lnTo>
                      <a:pt x="2098" y="101"/>
                    </a:lnTo>
                    <a:lnTo>
                      <a:pt x="0" y="101"/>
                    </a:lnTo>
                    <a:lnTo>
                      <a:pt x="0" y="57"/>
                    </a:lnTo>
                    <a:lnTo>
                      <a:pt x="0" y="57"/>
                    </a:lnTo>
                    <a:lnTo>
                      <a:pt x="0" y="21"/>
                    </a:lnTo>
                    <a:lnTo>
                      <a:pt x="4" y="21"/>
                    </a:lnTo>
                    <a:lnTo>
                      <a:pt x="4" y="0"/>
                    </a:lnTo>
                    <a:lnTo>
                      <a:pt x="132" y="0"/>
                    </a:lnTo>
                    <a:lnTo>
                      <a:pt x="13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8" name="任意多边形: 形状 57">
                <a:extLst>
                  <a:ext uri="{FF2B5EF4-FFF2-40B4-BE49-F238E27FC236}">
                    <a16:creationId xmlns:a16="http://schemas.microsoft.com/office/drawing/2014/main" id="{58B47AC6-B2B7-45D5-9221-ABFC8AC4A0F0}"/>
                  </a:ext>
                </a:extLst>
              </p:cNvPr>
              <p:cNvSpPr/>
              <p:nvPr/>
            </p:nvSpPr>
            <p:spPr bwMode="auto">
              <a:xfrm>
                <a:off x="6503219" y="4891127"/>
                <a:ext cx="306789" cy="1162261"/>
              </a:xfrm>
              <a:custGeom>
                <a:avLst/>
                <a:gdLst>
                  <a:gd name="T0" fmla="*/ 42 w 105"/>
                  <a:gd name="T1" fmla="*/ 17 h 394"/>
                  <a:gd name="T2" fmla="*/ 92 w 105"/>
                  <a:gd name="T3" fmla="*/ 0 h 394"/>
                  <a:gd name="T4" fmla="*/ 102 w 105"/>
                  <a:gd name="T5" fmla="*/ 0 h 394"/>
                  <a:gd name="T6" fmla="*/ 102 w 105"/>
                  <a:gd name="T7" fmla="*/ 29 h 394"/>
                  <a:gd name="T8" fmla="*/ 105 w 105"/>
                  <a:gd name="T9" fmla="*/ 29 h 394"/>
                  <a:gd name="T10" fmla="*/ 105 w 105"/>
                  <a:gd name="T11" fmla="*/ 122 h 394"/>
                  <a:gd name="T12" fmla="*/ 105 w 105"/>
                  <a:gd name="T13" fmla="*/ 155 h 394"/>
                  <a:gd name="T14" fmla="*/ 105 w 105"/>
                  <a:gd name="T15" fmla="*/ 205 h 394"/>
                  <a:gd name="T16" fmla="*/ 105 w 105"/>
                  <a:gd name="T17" fmla="*/ 218 h 394"/>
                  <a:gd name="T18" fmla="*/ 105 w 105"/>
                  <a:gd name="T19" fmla="*/ 298 h 394"/>
                  <a:gd name="T20" fmla="*/ 105 w 105"/>
                  <a:gd name="T21" fmla="*/ 331 h 394"/>
                  <a:gd name="T22" fmla="*/ 105 w 105"/>
                  <a:gd name="T23" fmla="*/ 394 h 394"/>
                  <a:gd name="T24" fmla="*/ 0 w 105"/>
                  <a:gd name="T25" fmla="*/ 394 h 394"/>
                  <a:gd name="T26" fmla="*/ 0 w 105"/>
                  <a:gd name="T27" fmla="*/ 218 h 394"/>
                  <a:gd name="T28" fmla="*/ 10 w 105"/>
                  <a:gd name="T29" fmla="*/ 218 h 394"/>
                  <a:gd name="T30" fmla="*/ 10 w 105"/>
                  <a:gd name="T31" fmla="*/ 155 h 394"/>
                  <a:gd name="T32" fmla="*/ 21 w 105"/>
                  <a:gd name="T33" fmla="*/ 155 h 394"/>
                  <a:gd name="T34" fmla="*/ 21 w 105"/>
                  <a:gd name="T35" fmla="*/ 122 h 394"/>
                  <a:gd name="T36" fmla="*/ 39 w 105"/>
                  <a:gd name="T37" fmla="*/ 122 h 394"/>
                  <a:gd name="T38" fmla="*/ 39 w 105"/>
                  <a:gd name="T39" fmla="*/ 29 h 394"/>
                  <a:gd name="T40" fmla="*/ 42 w 105"/>
                  <a:gd name="T41" fmla="*/ 29 h 394"/>
                  <a:gd name="T42" fmla="*/ 42 w 105"/>
                  <a:gd name="T43" fmla="*/ 17 h 394"/>
                  <a:gd name="T44" fmla="*/ 42 w 105"/>
                  <a:gd name="T45" fmla="*/ 17 h 3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05" h="394">
                    <a:moveTo>
                      <a:pt x="42" y="17"/>
                    </a:moveTo>
                    <a:lnTo>
                      <a:pt x="92" y="0"/>
                    </a:lnTo>
                    <a:lnTo>
                      <a:pt x="102" y="0"/>
                    </a:lnTo>
                    <a:lnTo>
                      <a:pt x="102" y="29"/>
                    </a:lnTo>
                    <a:lnTo>
                      <a:pt x="105" y="29"/>
                    </a:lnTo>
                    <a:lnTo>
                      <a:pt x="105" y="122"/>
                    </a:lnTo>
                    <a:lnTo>
                      <a:pt x="105" y="155"/>
                    </a:lnTo>
                    <a:lnTo>
                      <a:pt x="105" y="205"/>
                    </a:lnTo>
                    <a:lnTo>
                      <a:pt x="105" y="218"/>
                    </a:lnTo>
                    <a:lnTo>
                      <a:pt x="105" y="298"/>
                    </a:lnTo>
                    <a:lnTo>
                      <a:pt x="105" y="331"/>
                    </a:lnTo>
                    <a:lnTo>
                      <a:pt x="105" y="394"/>
                    </a:lnTo>
                    <a:lnTo>
                      <a:pt x="0" y="394"/>
                    </a:lnTo>
                    <a:lnTo>
                      <a:pt x="0" y="218"/>
                    </a:lnTo>
                    <a:lnTo>
                      <a:pt x="10" y="218"/>
                    </a:lnTo>
                    <a:lnTo>
                      <a:pt x="10" y="155"/>
                    </a:lnTo>
                    <a:lnTo>
                      <a:pt x="21" y="155"/>
                    </a:lnTo>
                    <a:lnTo>
                      <a:pt x="21" y="122"/>
                    </a:lnTo>
                    <a:lnTo>
                      <a:pt x="39" y="122"/>
                    </a:lnTo>
                    <a:lnTo>
                      <a:pt x="39" y="29"/>
                    </a:lnTo>
                    <a:lnTo>
                      <a:pt x="42" y="29"/>
                    </a:lnTo>
                    <a:lnTo>
                      <a:pt x="42" y="17"/>
                    </a:lnTo>
                    <a:lnTo>
                      <a:pt x="42" y="1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59" name="任意多边形: 形状 58">
                <a:extLst>
                  <a:ext uri="{FF2B5EF4-FFF2-40B4-BE49-F238E27FC236}">
                    <a16:creationId xmlns:a16="http://schemas.microsoft.com/office/drawing/2014/main" id="{3AFCD8FB-5A38-44D2-B3BD-851980520F1B}"/>
                  </a:ext>
                </a:extLst>
              </p:cNvPr>
              <p:cNvSpPr/>
              <p:nvPr/>
            </p:nvSpPr>
            <p:spPr bwMode="auto">
              <a:xfrm>
                <a:off x="6981101" y="5251015"/>
                <a:ext cx="1103260" cy="802372"/>
              </a:xfrm>
              <a:custGeom>
                <a:avLst/>
                <a:gdLst>
                  <a:gd name="T0" fmla="*/ 109 w 375"/>
                  <a:gd name="T1" fmla="*/ 163 h 272"/>
                  <a:gd name="T2" fmla="*/ 138 w 375"/>
                  <a:gd name="T3" fmla="*/ 151 h 272"/>
                  <a:gd name="T4" fmla="*/ 145 w 375"/>
                  <a:gd name="T5" fmla="*/ 140 h 272"/>
                  <a:gd name="T6" fmla="*/ 147 w 375"/>
                  <a:gd name="T7" fmla="*/ 140 h 272"/>
                  <a:gd name="T8" fmla="*/ 155 w 375"/>
                  <a:gd name="T9" fmla="*/ 151 h 272"/>
                  <a:gd name="T10" fmla="*/ 183 w 375"/>
                  <a:gd name="T11" fmla="*/ 163 h 272"/>
                  <a:gd name="T12" fmla="*/ 183 w 375"/>
                  <a:gd name="T13" fmla="*/ 169 h 272"/>
                  <a:gd name="T14" fmla="*/ 178 w 375"/>
                  <a:gd name="T15" fmla="*/ 169 h 272"/>
                  <a:gd name="T16" fmla="*/ 178 w 375"/>
                  <a:gd name="T17" fmla="*/ 190 h 272"/>
                  <a:gd name="T18" fmla="*/ 358 w 375"/>
                  <a:gd name="T19" fmla="*/ 190 h 272"/>
                  <a:gd name="T20" fmla="*/ 358 w 375"/>
                  <a:gd name="T21" fmla="*/ 199 h 272"/>
                  <a:gd name="T22" fmla="*/ 375 w 375"/>
                  <a:gd name="T23" fmla="*/ 199 h 272"/>
                  <a:gd name="T24" fmla="*/ 375 w 375"/>
                  <a:gd name="T25" fmla="*/ 272 h 272"/>
                  <a:gd name="T26" fmla="*/ 0 w 375"/>
                  <a:gd name="T27" fmla="*/ 272 h 272"/>
                  <a:gd name="T28" fmla="*/ 0 w 375"/>
                  <a:gd name="T29" fmla="*/ 199 h 272"/>
                  <a:gd name="T30" fmla="*/ 17 w 375"/>
                  <a:gd name="T31" fmla="*/ 199 h 272"/>
                  <a:gd name="T32" fmla="*/ 17 w 375"/>
                  <a:gd name="T33" fmla="*/ 190 h 272"/>
                  <a:gd name="T34" fmla="*/ 27 w 375"/>
                  <a:gd name="T35" fmla="*/ 190 h 272"/>
                  <a:gd name="T36" fmla="*/ 27 w 375"/>
                  <a:gd name="T37" fmla="*/ 71 h 272"/>
                  <a:gd name="T38" fmla="*/ 30 w 375"/>
                  <a:gd name="T39" fmla="*/ 71 h 272"/>
                  <a:gd name="T40" fmla="*/ 30 w 375"/>
                  <a:gd name="T41" fmla="*/ 50 h 272"/>
                  <a:gd name="T42" fmla="*/ 34 w 375"/>
                  <a:gd name="T43" fmla="*/ 50 h 272"/>
                  <a:gd name="T44" fmla="*/ 34 w 375"/>
                  <a:gd name="T45" fmla="*/ 27 h 272"/>
                  <a:gd name="T46" fmla="*/ 38 w 375"/>
                  <a:gd name="T47" fmla="*/ 27 h 272"/>
                  <a:gd name="T48" fmla="*/ 38 w 375"/>
                  <a:gd name="T49" fmla="*/ 18 h 272"/>
                  <a:gd name="T50" fmla="*/ 42 w 375"/>
                  <a:gd name="T51" fmla="*/ 18 h 272"/>
                  <a:gd name="T52" fmla="*/ 51 w 375"/>
                  <a:gd name="T53" fmla="*/ 0 h 272"/>
                  <a:gd name="T54" fmla="*/ 55 w 375"/>
                  <a:gd name="T55" fmla="*/ 0 h 272"/>
                  <a:gd name="T56" fmla="*/ 65 w 375"/>
                  <a:gd name="T57" fmla="*/ 18 h 272"/>
                  <a:gd name="T58" fmla="*/ 69 w 375"/>
                  <a:gd name="T59" fmla="*/ 18 h 272"/>
                  <a:gd name="T60" fmla="*/ 69 w 375"/>
                  <a:gd name="T61" fmla="*/ 27 h 272"/>
                  <a:gd name="T62" fmla="*/ 73 w 375"/>
                  <a:gd name="T63" fmla="*/ 27 h 272"/>
                  <a:gd name="T64" fmla="*/ 73 w 375"/>
                  <a:gd name="T65" fmla="*/ 50 h 272"/>
                  <a:gd name="T66" fmla="*/ 76 w 375"/>
                  <a:gd name="T67" fmla="*/ 50 h 272"/>
                  <a:gd name="T68" fmla="*/ 76 w 375"/>
                  <a:gd name="T69" fmla="*/ 71 h 272"/>
                  <a:gd name="T70" fmla="*/ 80 w 375"/>
                  <a:gd name="T71" fmla="*/ 71 h 272"/>
                  <a:gd name="T72" fmla="*/ 80 w 375"/>
                  <a:gd name="T73" fmla="*/ 190 h 272"/>
                  <a:gd name="T74" fmla="*/ 115 w 375"/>
                  <a:gd name="T75" fmla="*/ 190 h 272"/>
                  <a:gd name="T76" fmla="*/ 115 w 375"/>
                  <a:gd name="T77" fmla="*/ 169 h 272"/>
                  <a:gd name="T78" fmla="*/ 109 w 375"/>
                  <a:gd name="T79" fmla="*/ 169 h 272"/>
                  <a:gd name="T80" fmla="*/ 109 w 375"/>
                  <a:gd name="T81" fmla="*/ 163 h 272"/>
                  <a:gd name="T82" fmla="*/ 109 w 375"/>
                  <a:gd name="T83" fmla="*/ 163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375" h="272">
                    <a:moveTo>
                      <a:pt x="109" y="163"/>
                    </a:moveTo>
                    <a:lnTo>
                      <a:pt x="138" y="151"/>
                    </a:lnTo>
                    <a:lnTo>
                      <a:pt x="145" y="140"/>
                    </a:lnTo>
                    <a:lnTo>
                      <a:pt x="147" y="140"/>
                    </a:lnTo>
                    <a:lnTo>
                      <a:pt x="155" y="151"/>
                    </a:lnTo>
                    <a:lnTo>
                      <a:pt x="183" y="163"/>
                    </a:lnTo>
                    <a:lnTo>
                      <a:pt x="183" y="169"/>
                    </a:lnTo>
                    <a:lnTo>
                      <a:pt x="178" y="169"/>
                    </a:lnTo>
                    <a:lnTo>
                      <a:pt x="178" y="190"/>
                    </a:lnTo>
                    <a:lnTo>
                      <a:pt x="358" y="190"/>
                    </a:lnTo>
                    <a:lnTo>
                      <a:pt x="358" y="199"/>
                    </a:lnTo>
                    <a:lnTo>
                      <a:pt x="375" y="199"/>
                    </a:lnTo>
                    <a:lnTo>
                      <a:pt x="375" y="272"/>
                    </a:lnTo>
                    <a:lnTo>
                      <a:pt x="0" y="272"/>
                    </a:lnTo>
                    <a:lnTo>
                      <a:pt x="0" y="199"/>
                    </a:lnTo>
                    <a:lnTo>
                      <a:pt x="17" y="199"/>
                    </a:lnTo>
                    <a:lnTo>
                      <a:pt x="17" y="190"/>
                    </a:lnTo>
                    <a:lnTo>
                      <a:pt x="27" y="190"/>
                    </a:lnTo>
                    <a:lnTo>
                      <a:pt x="27" y="71"/>
                    </a:lnTo>
                    <a:lnTo>
                      <a:pt x="30" y="71"/>
                    </a:lnTo>
                    <a:lnTo>
                      <a:pt x="30" y="50"/>
                    </a:lnTo>
                    <a:lnTo>
                      <a:pt x="34" y="50"/>
                    </a:lnTo>
                    <a:lnTo>
                      <a:pt x="34" y="27"/>
                    </a:lnTo>
                    <a:lnTo>
                      <a:pt x="38" y="27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51" y="0"/>
                    </a:lnTo>
                    <a:lnTo>
                      <a:pt x="55" y="0"/>
                    </a:lnTo>
                    <a:lnTo>
                      <a:pt x="65" y="18"/>
                    </a:lnTo>
                    <a:lnTo>
                      <a:pt x="69" y="18"/>
                    </a:lnTo>
                    <a:lnTo>
                      <a:pt x="69" y="27"/>
                    </a:lnTo>
                    <a:lnTo>
                      <a:pt x="73" y="27"/>
                    </a:lnTo>
                    <a:lnTo>
                      <a:pt x="73" y="50"/>
                    </a:lnTo>
                    <a:lnTo>
                      <a:pt x="76" y="50"/>
                    </a:lnTo>
                    <a:lnTo>
                      <a:pt x="76" y="71"/>
                    </a:lnTo>
                    <a:lnTo>
                      <a:pt x="80" y="71"/>
                    </a:lnTo>
                    <a:lnTo>
                      <a:pt x="80" y="190"/>
                    </a:lnTo>
                    <a:lnTo>
                      <a:pt x="115" y="190"/>
                    </a:lnTo>
                    <a:lnTo>
                      <a:pt x="115" y="169"/>
                    </a:lnTo>
                    <a:lnTo>
                      <a:pt x="109" y="169"/>
                    </a:lnTo>
                    <a:lnTo>
                      <a:pt x="109" y="163"/>
                    </a:lnTo>
                    <a:lnTo>
                      <a:pt x="109" y="163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0" name="任意多边形: 形状 59">
                <a:extLst>
                  <a:ext uri="{FF2B5EF4-FFF2-40B4-BE49-F238E27FC236}">
                    <a16:creationId xmlns:a16="http://schemas.microsoft.com/office/drawing/2014/main" id="{8DB25BDB-4DE4-4489-94B0-EA726B4A9FA9}"/>
                  </a:ext>
                </a:extLst>
              </p:cNvPr>
              <p:cNvSpPr/>
              <p:nvPr/>
            </p:nvSpPr>
            <p:spPr bwMode="auto">
              <a:xfrm>
                <a:off x="8113861" y="5852794"/>
                <a:ext cx="106196" cy="200593"/>
              </a:xfrm>
              <a:custGeom>
                <a:avLst/>
                <a:gdLst>
                  <a:gd name="T0" fmla="*/ 0 w 37"/>
                  <a:gd name="T1" fmla="*/ 0 h 67"/>
                  <a:gd name="T2" fmla="*/ 37 w 37"/>
                  <a:gd name="T3" fmla="*/ 0 h 67"/>
                  <a:gd name="T4" fmla="*/ 37 w 37"/>
                  <a:gd name="T5" fmla="*/ 67 h 67"/>
                  <a:gd name="T6" fmla="*/ 0 w 37"/>
                  <a:gd name="T7" fmla="*/ 67 h 67"/>
                  <a:gd name="T8" fmla="*/ 0 w 37"/>
                  <a:gd name="T9" fmla="*/ 0 h 67"/>
                  <a:gd name="T10" fmla="*/ 0 w 37"/>
                  <a:gd name="T11" fmla="*/ 0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7" h="67">
                    <a:moveTo>
                      <a:pt x="0" y="0"/>
                    </a:moveTo>
                    <a:lnTo>
                      <a:pt x="37" y="0"/>
                    </a:lnTo>
                    <a:lnTo>
                      <a:pt x="37" y="67"/>
                    </a:lnTo>
                    <a:lnTo>
                      <a:pt x="0" y="67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77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1" name="任意多边形: 形状 60">
                <a:extLst>
                  <a:ext uri="{FF2B5EF4-FFF2-40B4-BE49-F238E27FC236}">
                    <a16:creationId xmlns:a16="http://schemas.microsoft.com/office/drawing/2014/main" id="{4B9A2FD2-FF29-44A3-AAD7-5B192F64865B}"/>
                  </a:ext>
                </a:extLst>
              </p:cNvPr>
              <p:cNvSpPr/>
              <p:nvPr/>
            </p:nvSpPr>
            <p:spPr bwMode="auto">
              <a:xfrm>
                <a:off x="8190561" y="5905891"/>
                <a:ext cx="318589" cy="147496"/>
              </a:xfrm>
              <a:custGeom>
                <a:avLst/>
                <a:gdLst>
                  <a:gd name="T0" fmla="*/ 63 w 109"/>
                  <a:gd name="T1" fmla="*/ 0 h 50"/>
                  <a:gd name="T2" fmla="*/ 109 w 109"/>
                  <a:gd name="T3" fmla="*/ 0 h 50"/>
                  <a:gd name="T4" fmla="*/ 109 w 109"/>
                  <a:gd name="T5" fmla="*/ 25 h 50"/>
                  <a:gd name="T6" fmla="*/ 109 w 109"/>
                  <a:gd name="T7" fmla="*/ 50 h 50"/>
                  <a:gd name="T8" fmla="*/ 63 w 109"/>
                  <a:gd name="T9" fmla="*/ 50 h 50"/>
                  <a:gd name="T10" fmla="*/ 0 w 109"/>
                  <a:gd name="T11" fmla="*/ 50 h 50"/>
                  <a:gd name="T12" fmla="*/ 0 w 109"/>
                  <a:gd name="T13" fmla="*/ 25 h 50"/>
                  <a:gd name="T14" fmla="*/ 63 w 109"/>
                  <a:gd name="T15" fmla="*/ 25 h 50"/>
                  <a:gd name="T16" fmla="*/ 63 w 109"/>
                  <a:gd name="T17" fmla="*/ 0 h 50"/>
                  <a:gd name="T18" fmla="*/ 63 w 109"/>
                  <a:gd name="T19" fmla="*/ 0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09" h="50">
                    <a:moveTo>
                      <a:pt x="63" y="0"/>
                    </a:moveTo>
                    <a:lnTo>
                      <a:pt x="109" y="0"/>
                    </a:lnTo>
                    <a:lnTo>
                      <a:pt x="109" y="25"/>
                    </a:lnTo>
                    <a:lnTo>
                      <a:pt x="109" y="50"/>
                    </a:lnTo>
                    <a:lnTo>
                      <a:pt x="63" y="50"/>
                    </a:lnTo>
                    <a:lnTo>
                      <a:pt x="0" y="50"/>
                    </a:lnTo>
                    <a:lnTo>
                      <a:pt x="0" y="25"/>
                    </a:lnTo>
                    <a:lnTo>
                      <a:pt x="63" y="25"/>
                    </a:lnTo>
                    <a:lnTo>
                      <a:pt x="63" y="0"/>
                    </a:lnTo>
                    <a:lnTo>
                      <a:pt x="63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400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2" name="任意多边形: 形状 61">
                <a:extLst>
                  <a:ext uri="{FF2B5EF4-FFF2-40B4-BE49-F238E27FC236}">
                    <a16:creationId xmlns:a16="http://schemas.microsoft.com/office/drawing/2014/main" id="{1EF18ABC-F47A-4CCE-A8C7-8D1C5FD508D3}"/>
                  </a:ext>
                </a:extLst>
              </p:cNvPr>
              <p:cNvSpPr/>
              <p:nvPr/>
            </p:nvSpPr>
            <p:spPr bwMode="auto">
              <a:xfrm>
                <a:off x="8420651" y="5522406"/>
                <a:ext cx="277288" cy="530981"/>
              </a:xfrm>
              <a:custGeom>
                <a:avLst/>
                <a:gdLst>
                  <a:gd name="T0" fmla="*/ 30 w 93"/>
                  <a:gd name="T1" fmla="*/ 27 h 180"/>
                  <a:gd name="T2" fmla="*/ 44 w 93"/>
                  <a:gd name="T3" fmla="*/ 0 h 180"/>
                  <a:gd name="T4" fmla="*/ 49 w 93"/>
                  <a:gd name="T5" fmla="*/ 0 h 180"/>
                  <a:gd name="T6" fmla="*/ 63 w 93"/>
                  <a:gd name="T7" fmla="*/ 27 h 180"/>
                  <a:gd name="T8" fmla="*/ 68 w 93"/>
                  <a:gd name="T9" fmla="*/ 27 h 180"/>
                  <a:gd name="T10" fmla="*/ 68 w 93"/>
                  <a:gd name="T11" fmla="*/ 59 h 180"/>
                  <a:gd name="T12" fmla="*/ 93 w 93"/>
                  <a:gd name="T13" fmla="*/ 59 h 180"/>
                  <a:gd name="T14" fmla="*/ 93 w 93"/>
                  <a:gd name="T15" fmla="*/ 180 h 180"/>
                  <a:gd name="T16" fmla="*/ 0 w 93"/>
                  <a:gd name="T17" fmla="*/ 180 h 180"/>
                  <a:gd name="T18" fmla="*/ 0 w 93"/>
                  <a:gd name="T19" fmla="*/ 59 h 180"/>
                  <a:gd name="T20" fmla="*/ 24 w 93"/>
                  <a:gd name="T21" fmla="*/ 59 h 180"/>
                  <a:gd name="T22" fmla="*/ 24 w 93"/>
                  <a:gd name="T23" fmla="*/ 27 h 180"/>
                  <a:gd name="T24" fmla="*/ 30 w 93"/>
                  <a:gd name="T25" fmla="*/ 27 h 180"/>
                  <a:gd name="T26" fmla="*/ 30 w 93"/>
                  <a:gd name="T27" fmla="*/ 27 h 1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3" h="180">
                    <a:moveTo>
                      <a:pt x="30" y="27"/>
                    </a:moveTo>
                    <a:lnTo>
                      <a:pt x="44" y="0"/>
                    </a:lnTo>
                    <a:lnTo>
                      <a:pt x="49" y="0"/>
                    </a:lnTo>
                    <a:lnTo>
                      <a:pt x="63" y="27"/>
                    </a:lnTo>
                    <a:lnTo>
                      <a:pt x="68" y="27"/>
                    </a:lnTo>
                    <a:lnTo>
                      <a:pt x="68" y="59"/>
                    </a:lnTo>
                    <a:lnTo>
                      <a:pt x="93" y="59"/>
                    </a:lnTo>
                    <a:lnTo>
                      <a:pt x="93" y="180"/>
                    </a:lnTo>
                    <a:lnTo>
                      <a:pt x="0" y="180"/>
                    </a:lnTo>
                    <a:lnTo>
                      <a:pt x="0" y="59"/>
                    </a:lnTo>
                    <a:lnTo>
                      <a:pt x="24" y="59"/>
                    </a:lnTo>
                    <a:lnTo>
                      <a:pt x="24" y="27"/>
                    </a:lnTo>
                    <a:lnTo>
                      <a:pt x="30" y="27"/>
                    </a:lnTo>
                    <a:lnTo>
                      <a:pt x="30" y="27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3" name="任意多边形: 形状 62">
                <a:extLst>
                  <a:ext uri="{FF2B5EF4-FFF2-40B4-BE49-F238E27FC236}">
                    <a16:creationId xmlns:a16="http://schemas.microsoft.com/office/drawing/2014/main" id="{05E39540-7671-4CF5-832E-1BDF91EB3903}"/>
                  </a:ext>
                </a:extLst>
              </p:cNvPr>
              <p:cNvSpPr/>
              <p:nvPr/>
            </p:nvSpPr>
            <p:spPr bwMode="auto">
              <a:xfrm>
                <a:off x="8733341" y="5882292"/>
                <a:ext cx="117995" cy="171096"/>
              </a:xfrm>
              <a:custGeom>
                <a:avLst/>
                <a:gdLst>
                  <a:gd name="T0" fmla="*/ 0 w 40"/>
                  <a:gd name="T1" fmla="*/ 0 h 58"/>
                  <a:gd name="T2" fmla="*/ 40 w 40"/>
                  <a:gd name="T3" fmla="*/ 0 h 58"/>
                  <a:gd name="T4" fmla="*/ 40 w 40"/>
                  <a:gd name="T5" fmla="*/ 58 h 58"/>
                  <a:gd name="T6" fmla="*/ 0 w 40"/>
                  <a:gd name="T7" fmla="*/ 58 h 58"/>
                  <a:gd name="T8" fmla="*/ 0 w 40"/>
                  <a:gd name="T9" fmla="*/ 0 h 58"/>
                  <a:gd name="T10" fmla="*/ 0 w 40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" h="58">
                    <a:moveTo>
                      <a:pt x="0" y="0"/>
                    </a:moveTo>
                    <a:lnTo>
                      <a:pt x="40" y="0"/>
                    </a:lnTo>
                    <a:lnTo>
                      <a:pt x="40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4" name="任意多边形: 形状 63">
                <a:extLst>
                  <a:ext uri="{FF2B5EF4-FFF2-40B4-BE49-F238E27FC236}">
                    <a16:creationId xmlns:a16="http://schemas.microsoft.com/office/drawing/2014/main" id="{35DE0234-6A1F-4E04-B0D8-1D2DB9718F2D}"/>
                  </a:ext>
                </a:extLst>
              </p:cNvPr>
              <p:cNvSpPr/>
              <p:nvPr/>
            </p:nvSpPr>
            <p:spPr bwMode="auto">
              <a:xfrm>
                <a:off x="8869035" y="5823294"/>
                <a:ext cx="112094" cy="230094"/>
              </a:xfrm>
              <a:custGeom>
                <a:avLst/>
                <a:gdLst>
                  <a:gd name="T0" fmla="*/ 0 w 38"/>
                  <a:gd name="T1" fmla="*/ 0 h 79"/>
                  <a:gd name="T2" fmla="*/ 38 w 38"/>
                  <a:gd name="T3" fmla="*/ 0 h 79"/>
                  <a:gd name="T4" fmla="*/ 38 w 38"/>
                  <a:gd name="T5" fmla="*/ 79 h 79"/>
                  <a:gd name="T6" fmla="*/ 0 w 38"/>
                  <a:gd name="T7" fmla="*/ 79 h 79"/>
                  <a:gd name="T8" fmla="*/ 0 w 38"/>
                  <a:gd name="T9" fmla="*/ 0 h 79"/>
                  <a:gd name="T10" fmla="*/ 0 w 38"/>
                  <a:gd name="T11" fmla="*/ 0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8" h="79">
                    <a:moveTo>
                      <a:pt x="0" y="0"/>
                    </a:moveTo>
                    <a:lnTo>
                      <a:pt x="38" y="0"/>
                    </a:lnTo>
                    <a:lnTo>
                      <a:pt x="38" y="79"/>
                    </a:lnTo>
                    <a:lnTo>
                      <a:pt x="0" y="79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9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5" name="任意多边形: 形状 64">
                <a:extLst>
                  <a:ext uri="{FF2B5EF4-FFF2-40B4-BE49-F238E27FC236}">
                    <a16:creationId xmlns:a16="http://schemas.microsoft.com/office/drawing/2014/main" id="{4906770B-39C8-42FB-B4DE-8E57A9E2A2C5}"/>
                  </a:ext>
                </a:extLst>
              </p:cNvPr>
              <p:cNvSpPr/>
              <p:nvPr/>
            </p:nvSpPr>
            <p:spPr bwMode="auto">
              <a:xfrm>
                <a:off x="6107932" y="5882292"/>
                <a:ext cx="377587" cy="171096"/>
              </a:xfrm>
              <a:custGeom>
                <a:avLst/>
                <a:gdLst>
                  <a:gd name="T0" fmla="*/ 0 w 129"/>
                  <a:gd name="T1" fmla="*/ 0 h 58"/>
                  <a:gd name="T2" fmla="*/ 129 w 129"/>
                  <a:gd name="T3" fmla="*/ 0 h 58"/>
                  <a:gd name="T4" fmla="*/ 129 w 129"/>
                  <a:gd name="T5" fmla="*/ 58 h 58"/>
                  <a:gd name="T6" fmla="*/ 0 w 129"/>
                  <a:gd name="T7" fmla="*/ 58 h 58"/>
                  <a:gd name="T8" fmla="*/ 0 w 129"/>
                  <a:gd name="T9" fmla="*/ 0 h 58"/>
                  <a:gd name="T10" fmla="*/ 0 w 129"/>
                  <a:gd name="T11" fmla="*/ 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29" h="58">
                    <a:moveTo>
                      <a:pt x="0" y="0"/>
                    </a:moveTo>
                    <a:lnTo>
                      <a:pt x="129" y="0"/>
                    </a:lnTo>
                    <a:lnTo>
                      <a:pt x="129" y="58"/>
                    </a:lnTo>
                    <a:lnTo>
                      <a:pt x="0" y="58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 fontScale="62500" lnSpcReduction="20000"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6" name="任意多边形: 形状 65">
                <a:extLst>
                  <a:ext uri="{FF2B5EF4-FFF2-40B4-BE49-F238E27FC236}">
                    <a16:creationId xmlns:a16="http://schemas.microsoft.com/office/drawing/2014/main" id="{72DC41F0-195D-4B40-B955-23001673C281}"/>
                  </a:ext>
                </a:extLst>
              </p:cNvPr>
              <p:cNvSpPr/>
              <p:nvPr/>
            </p:nvSpPr>
            <p:spPr bwMode="auto">
              <a:xfrm>
                <a:off x="8454305" y="4466341"/>
                <a:ext cx="595877" cy="1587046"/>
              </a:xfrm>
              <a:custGeom>
                <a:avLst/>
                <a:gdLst>
                  <a:gd name="T0" fmla="*/ 145 w 200"/>
                  <a:gd name="T1" fmla="*/ 446 h 538"/>
                  <a:gd name="T2" fmla="*/ 195 w 200"/>
                  <a:gd name="T3" fmla="*/ 446 h 538"/>
                  <a:gd name="T4" fmla="*/ 195 w 200"/>
                  <a:gd name="T5" fmla="*/ 456 h 538"/>
                  <a:gd name="T6" fmla="*/ 200 w 200"/>
                  <a:gd name="T7" fmla="*/ 456 h 538"/>
                  <a:gd name="T8" fmla="*/ 200 w 200"/>
                  <a:gd name="T9" fmla="*/ 538 h 538"/>
                  <a:gd name="T10" fmla="*/ 145 w 200"/>
                  <a:gd name="T11" fmla="*/ 538 h 538"/>
                  <a:gd name="T12" fmla="*/ 95 w 200"/>
                  <a:gd name="T13" fmla="*/ 538 h 538"/>
                  <a:gd name="T14" fmla="*/ 46 w 200"/>
                  <a:gd name="T15" fmla="*/ 538 h 538"/>
                  <a:gd name="T16" fmla="*/ 34 w 200"/>
                  <a:gd name="T17" fmla="*/ 538 h 538"/>
                  <a:gd name="T18" fmla="*/ 0 w 200"/>
                  <a:gd name="T19" fmla="*/ 538 h 538"/>
                  <a:gd name="T20" fmla="*/ 0 w 200"/>
                  <a:gd name="T21" fmla="*/ 482 h 538"/>
                  <a:gd name="T22" fmla="*/ 34 w 200"/>
                  <a:gd name="T23" fmla="*/ 482 h 538"/>
                  <a:gd name="T24" fmla="*/ 34 w 200"/>
                  <a:gd name="T25" fmla="*/ 287 h 538"/>
                  <a:gd name="T26" fmla="*/ 55 w 200"/>
                  <a:gd name="T27" fmla="*/ 287 h 538"/>
                  <a:gd name="T28" fmla="*/ 55 w 200"/>
                  <a:gd name="T29" fmla="*/ 152 h 538"/>
                  <a:gd name="T30" fmla="*/ 55 w 200"/>
                  <a:gd name="T31" fmla="*/ 146 h 538"/>
                  <a:gd name="T32" fmla="*/ 67 w 200"/>
                  <a:gd name="T33" fmla="*/ 146 h 538"/>
                  <a:gd name="T34" fmla="*/ 67 w 200"/>
                  <a:gd name="T35" fmla="*/ 64 h 538"/>
                  <a:gd name="T36" fmla="*/ 72 w 200"/>
                  <a:gd name="T37" fmla="*/ 64 h 538"/>
                  <a:gd name="T38" fmla="*/ 74 w 200"/>
                  <a:gd name="T39" fmla="*/ 31 h 538"/>
                  <a:gd name="T40" fmla="*/ 76 w 200"/>
                  <a:gd name="T41" fmla="*/ 64 h 538"/>
                  <a:gd name="T42" fmla="*/ 84 w 200"/>
                  <a:gd name="T43" fmla="*/ 64 h 538"/>
                  <a:gd name="T44" fmla="*/ 86 w 200"/>
                  <a:gd name="T45" fmla="*/ 0 h 538"/>
                  <a:gd name="T46" fmla="*/ 88 w 200"/>
                  <a:gd name="T47" fmla="*/ 64 h 538"/>
                  <a:gd name="T48" fmla="*/ 99 w 200"/>
                  <a:gd name="T49" fmla="*/ 64 h 538"/>
                  <a:gd name="T50" fmla="*/ 99 w 200"/>
                  <a:gd name="T51" fmla="*/ 64 h 538"/>
                  <a:gd name="T52" fmla="*/ 95 w 200"/>
                  <a:gd name="T53" fmla="*/ 64 h 538"/>
                  <a:gd name="T54" fmla="*/ 97 w 200"/>
                  <a:gd name="T55" fmla="*/ 23 h 538"/>
                  <a:gd name="T56" fmla="*/ 99 w 200"/>
                  <a:gd name="T57" fmla="*/ 60 h 538"/>
                  <a:gd name="T58" fmla="*/ 109 w 200"/>
                  <a:gd name="T59" fmla="*/ 60 h 538"/>
                  <a:gd name="T60" fmla="*/ 109 w 200"/>
                  <a:gd name="T61" fmla="*/ 52 h 538"/>
                  <a:gd name="T62" fmla="*/ 111 w 200"/>
                  <a:gd name="T63" fmla="*/ 64 h 538"/>
                  <a:gd name="T64" fmla="*/ 109 w 200"/>
                  <a:gd name="T65" fmla="*/ 64 h 538"/>
                  <a:gd name="T66" fmla="*/ 109 w 200"/>
                  <a:gd name="T67" fmla="*/ 64 h 538"/>
                  <a:gd name="T68" fmla="*/ 111 w 200"/>
                  <a:gd name="T69" fmla="*/ 64 h 538"/>
                  <a:gd name="T70" fmla="*/ 111 w 200"/>
                  <a:gd name="T71" fmla="*/ 146 h 538"/>
                  <a:gd name="T72" fmla="*/ 120 w 200"/>
                  <a:gd name="T73" fmla="*/ 146 h 538"/>
                  <a:gd name="T74" fmla="*/ 120 w 200"/>
                  <a:gd name="T75" fmla="*/ 152 h 538"/>
                  <a:gd name="T76" fmla="*/ 128 w 200"/>
                  <a:gd name="T77" fmla="*/ 152 h 538"/>
                  <a:gd name="T78" fmla="*/ 128 w 200"/>
                  <a:gd name="T79" fmla="*/ 287 h 538"/>
                  <a:gd name="T80" fmla="*/ 145 w 200"/>
                  <a:gd name="T81" fmla="*/ 287 h 538"/>
                  <a:gd name="T82" fmla="*/ 145 w 200"/>
                  <a:gd name="T83" fmla="*/ 446 h 538"/>
                  <a:gd name="T84" fmla="*/ 145 w 200"/>
                  <a:gd name="T85" fmla="*/ 446 h 5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00" h="538">
                    <a:moveTo>
                      <a:pt x="145" y="446"/>
                    </a:moveTo>
                    <a:lnTo>
                      <a:pt x="195" y="446"/>
                    </a:lnTo>
                    <a:lnTo>
                      <a:pt x="195" y="456"/>
                    </a:lnTo>
                    <a:lnTo>
                      <a:pt x="200" y="456"/>
                    </a:lnTo>
                    <a:lnTo>
                      <a:pt x="200" y="538"/>
                    </a:lnTo>
                    <a:lnTo>
                      <a:pt x="145" y="538"/>
                    </a:lnTo>
                    <a:lnTo>
                      <a:pt x="95" y="538"/>
                    </a:lnTo>
                    <a:lnTo>
                      <a:pt x="46" y="538"/>
                    </a:lnTo>
                    <a:lnTo>
                      <a:pt x="34" y="538"/>
                    </a:lnTo>
                    <a:lnTo>
                      <a:pt x="0" y="538"/>
                    </a:lnTo>
                    <a:lnTo>
                      <a:pt x="0" y="482"/>
                    </a:lnTo>
                    <a:lnTo>
                      <a:pt x="34" y="482"/>
                    </a:lnTo>
                    <a:lnTo>
                      <a:pt x="34" y="287"/>
                    </a:lnTo>
                    <a:lnTo>
                      <a:pt x="55" y="287"/>
                    </a:lnTo>
                    <a:lnTo>
                      <a:pt x="55" y="152"/>
                    </a:lnTo>
                    <a:lnTo>
                      <a:pt x="55" y="146"/>
                    </a:lnTo>
                    <a:lnTo>
                      <a:pt x="67" y="146"/>
                    </a:lnTo>
                    <a:lnTo>
                      <a:pt x="67" y="64"/>
                    </a:lnTo>
                    <a:lnTo>
                      <a:pt x="72" y="64"/>
                    </a:lnTo>
                    <a:lnTo>
                      <a:pt x="74" y="31"/>
                    </a:lnTo>
                    <a:lnTo>
                      <a:pt x="76" y="64"/>
                    </a:lnTo>
                    <a:lnTo>
                      <a:pt x="84" y="64"/>
                    </a:lnTo>
                    <a:lnTo>
                      <a:pt x="86" y="0"/>
                    </a:lnTo>
                    <a:lnTo>
                      <a:pt x="88" y="64"/>
                    </a:lnTo>
                    <a:lnTo>
                      <a:pt x="99" y="64"/>
                    </a:lnTo>
                    <a:lnTo>
                      <a:pt x="99" y="64"/>
                    </a:lnTo>
                    <a:lnTo>
                      <a:pt x="95" y="64"/>
                    </a:lnTo>
                    <a:lnTo>
                      <a:pt x="97" y="23"/>
                    </a:lnTo>
                    <a:lnTo>
                      <a:pt x="99" y="60"/>
                    </a:lnTo>
                    <a:lnTo>
                      <a:pt x="109" y="60"/>
                    </a:lnTo>
                    <a:lnTo>
                      <a:pt x="109" y="52"/>
                    </a:lnTo>
                    <a:lnTo>
                      <a:pt x="111" y="64"/>
                    </a:lnTo>
                    <a:lnTo>
                      <a:pt x="109" y="64"/>
                    </a:lnTo>
                    <a:lnTo>
                      <a:pt x="109" y="64"/>
                    </a:lnTo>
                    <a:lnTo>
                      <a:pt x="111" y="64"/>
                    </a:lnTo>
                    <a:lnTo>
                      <a:pt x="111" y="146"/>
                    </a:lnTo>
                    <a:lnTo>
                      <a:pt x="120" y="146"/>
                    </a:lnTo>
                    <a:lnTo>
                      <a:pt x="120" y="152"/>
                    </a:lnTo>
                    <a:lnTo>
                      <a:pt x="128" y="152"/>
                    </a:lnTo>
                    <a:lnTo>
                      <a:pt x="128" y="287"/>
                    </a:lnTo>
                    <a:lnTo>
                      <a:pt x="145" y="287"/>
                    </a:lnTo>
                    <a:lnTo>
                      <a:pt x="145" y="446"/>
                    </a:lnTo>
                    <a:lnTo>
                      <a:pt x="145" y="446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  <p:sp>
            <p:nvSpPr>
              <p:cNvPr id="67" name="任意多边形: 形状 66">
                <a:extLst>
                  <a:ext uri="{FF2B5EF4-FFF2-40B4-BE49-F238E27FC236}">
                    <a16:creationId xmlns:a16="http://schemas.microsoft.com/office/drawing/2014/main" id="{1D8000C7-D73A-41C6-A6B8-8DF1FB83C503}"/>
                  </a:ext>
                </a:extLst>
              </p:cNvPr>
              <p:cNvSpPr/>
              <p:nvPr/>
            </p:nvSpPr>
            <p:spPr bwMode="auto">
              <a:xfrm>
                <a:off x="3813013" y="5050424"/>
                <a:ext cx="5330987" cy="1020666"/>
              </a:xfrm>
              <a:custGeom>
                <a:avLst/>
                <a:gdLst>
                  <a:gd name="T0" fmla="*/ 2006 w 2031"/>
                  <a:gd name="T1" fmla="*/ 347 h 347"/>
                  <a:gd name="T2" fmla="*/ 2031 w 2031"/>
                  <a:gd name="T3" fmla="*/ 347 h 347"/>
                  <a:gd name="T4" fmla="*/ 2018 w 2031"/>
                  <a:gd name="T5" fmla="*/ 306 h 347"/>
                  <a:gd name="T6" fmla="*/ 2006 w 2031"/>
                  <a:gd name="T7" fmla="*/ 324 h 347"/>
                  <a:gd name="T8" fmla="*/ 1972 w 2031"/>
                  <a:gd name="T9" fmla="*/ 293 h 347"/>
                  <a:gd name="T10" fmla="*/ 1972 w 2031"/>
                  <a:gd name="T11" fmla="*/ 347 h 347"/>
                  <a:gd name="T12" fmla="*/ 13 w 2031"/>
                  <a:gd name="T13" fmla="*/ 176 h 347"/>
                  <a:gd name="T14" fmla="*/ 13 w 2031"/>
                  <a:gd name="T15" fmla="*/ 347 h 347"/>
                  <a:gd name="T16" fmla="*/ 73 w 2031"/>
                  <a:gd name="T17" fmla="*/ 176 h 347"/>
                  <a:gd name="T18" fmla="*/ 65 w 2031"/>
                  <a:gd name="T19" fmla="*/ 159 h 347"/>
                  <a:gd name="T20" fmla="*/ 8 w 2031"/>
                  <a:gd name="T21" fmla="*/ 159 h 347"/>
                  <a:gd name="T22" fmla="*/ 235 w 2031"/>
                  <a:gd name="T23" fmla="*/ 347 h 347"/>
                  <a:gd name="T24" fmla="*/ 174 w 2031"/>
                  <a:gd name="T25" fmla="*/ 347 h 347"/>
                  <a:gd name="T26" fmla="*/ 413 w 2031"/>
                  <a:gd name="T27" fmla="*/ 129 h 347"/>
                  <a:gd name="T28" fmla="*/ 388 w 2031"/>
                  <a:gd name="T29" fmla="*/ 134 h 347"/>
                  <a:gd name="T30" fmla="*/ 362 w 2031"/>
                  <a:gd name="T31" fmla="*/ 347 h 347"/>
                  <a:gd name="T32" fmla="*/ 442 w 2031"/>
                  <a:gd name="T33" fmla="*/ 347 h 347"/>
                  <a:gd name="T34" fmla="*/ 438 w 2031"/>
                  <a:gd name="T35" fmla="*/ 150 h 347"/>
                  <a:gd name="T36" fmla="*/ 413 w 2031"/>
                  <a:gd name="T37" fmla="*/ 134 h 347"/>
                  <a:gd name="T38" fmla="*/ 547 w 2031"/>
                  <a:gd name="T39" fmla="*/ 138 h 347"/>
                  <a:gd name="T40" fmla="*/ 484 w 2031"/>
                  <a:gd name="T41" fmla="*/ 347 h 347"/>
                  <a:gd name="T42" fmla="*/ 601 w 2031"/>
                  <a:gd name="T43" fmla="*/ 220 h 347"/>
                  <a:gd name="T44" fmla="*/ 559 w 2031"/>
                  <a:gd name="T45" fmla="*/ 205 h 347"/>
                  <a:gd name="T46" fmla="*/ 583 w 2031"/>
                  <a:gd name="T47" fmla="*/ 347 h 347"/>
                  <a:gd name="T48" fmla="*/ 666 w 2031"/>
                  <a:gd name="T49" fmla="*/ 347 h 347"/>
                  <a:gd name="T50" fmla="*/ 641 w 2031"/>
                  <a:gd name="T51" fmla="*/ 347 h 347"/>
                  <a:gd name="T52" fmla="*/ 719 w 2031"/>
                  <a:gd name="T53" fmla="*/ 347 h 347"/>
                  <a:gd name="T54" fmla="*/ 694 w 2031"/>
                  <a:gd name="T55" fmla="*/ 347 h 347"/>
                  <a:gd name="T56" fmla="*/ 763 w 2031"/>
                  <a:gd name="T57" fmla="*/ 347 h 347"/>
                  <a:gd name="T58" fmla="*/ 725 w 2031"/>
                  <a:gd name="T59" fmla="*/ 347 h 347"/>
                  <a:gd name="T60" fmla="*/ 876 w 2031"/>
                  <a:gd name="T61" fmla="*/ 347 h 347"/>
                  <a:gd name="T62" fmla="*/ 838 w 2031"/>
                  <a:gd name="T63" fmla="*/ 347 h 347"/>
                  <a:gd name="T64" fmla="*/ 972 w 2031"/>
                  <a:gd name="T65" fmla="*/ 347 h 347"/>
                  <a:gd name="T66" fmla="*/ 939 w 2031"/>
                  <a:gd name="T67" fmla="*/ 347 h 347"/>
                  <a:gd name="T68" fmla="*/ 1086 w 2031"/>
                  <a:gd name="T69" fmla="*/ 347 h 347"/>
                  <a:gd name="T70" fmla="*/ 1012 w 2031"/>
                  <a:gd name="T71" fmla="*/ 347 h 347"/>
                  <a:gd name="T72" fmla="*/ 1217 w 2031"/>
                  <a:gd name="T73" fmla="*/ 347 h 347"/>
                  <a:gd name="T74" fmla="*/ 1199 w 2031"/>
                  <a:gd name="T75" fmla="*/ 6 h 347"/>
                  <a:gd name="T76" fmla="*/ 1142 w 2031"/>
                  <a:gd name="T77" fmla="*/ 347 h 347"/>
                  <a:gd name="T78" fmla="*/ 1477 w 2031"/>
                  <a:gd name="T79" fmla="*/ 289 h 347"/>
                  <a:gd name="T80" fmla="*/ 1431 w 2031"/>
                  <a:gd name="T81" fmla="*/ 289 h 347"/>
                  <a:gd name="T82" fmla="*/ 1480 w 2031"/>
                  <a:gd name="T83" fmla="*/ 347 h 347"/>
                  <a:gd name="T84" fmla="*/ 1477 w 2031"/>
                  <a:gd name="T85" fmla="*/ 289 h 347"/>
                  <a:gd name="T86" fmla="*/ 1528 w 2031"/>
                  <a:gd name="T87" fmla="*/ 253 h 347"/>
                  <a:gd name="T88" fmla="*/ 1502 w 2031"/>
                  <a:gd name="T89" fmla="*/ 347 h 347"/>
                  <a:gd name="T90" fmla="*/ 1565 w 2031"/>
                  <a:gd name="T91" fmla="*/ 285 h 347"/>
                  <a:gd name="T92" fmla="*/ 1632 w 2031"/>
                  <a:gd name="T93" fmla="*/ 347 h 347"/>
                  <a:gd name="T94" fmla="*/ 1628 w 2031"/>
                  <a:gd name="T95" fmla="*/ 155 h 347"/>
                  <a:gd name="T96" fmla="*/ 1618 w 2031"/>
                  <a:gd name="T97" fmla="*/ 155 h 347"/>
                  <a:gd name="T98" fmla="*/ 1607 w 2031"/>
                  <a:gd name="T99" fmla="*/ 163 h 347"/>
                  <a:gd name="T100" fmla="*/ 1601 w 2031"/>
                  <a:gd name="T101" fmla="*/ 153 h 347"/>
                  <a:gd name="T102" fmla="*/ 1595 w 2031"/>
                  <a:gd name="T103" fmla="*/ 163 h 347"/>
                  <a:gd name="T104" fmla="*/ 1584 w 2031"/>
                  <a:gd name="T105" fmla="*/ 155 h 347"/>
                  <a:gd name="T106" fmla="*/ 1574 w 2031"/>
                  <a:gd name="T107" fmla="*/ 155 h 347"/>
                  <a:gd name="T108" fmla="*/ 1568 w 2031"/>
                  <a:gd name="T109" fmla="*/ 347 h 347"/>
                  <a:gd name="T110" fmla="*/ 1750 w 2031"/>
                  <a:gd name="T111" fmla="*/ 129 h 347"/>
                  <a:gd name="T112" fmla="*/ 1683 w 2031"/>
                  <a:gd name="T113" fmla="*/ 180 h 347"/>
                  <a:gd name="T114" fmla="*/ 1756 w 2031"/>
                  <a:gd name="T115" fmla="*/ 180 h 347"/>
                  <a:gd name="T116" fmla="*/ 1894 w 2031"/>
                  <a:gd name="T117" fmla="*/ 308 h 347"/>
                  <a:gd name="T118" fmla="*/ 1873 w 2031"/>
                  <a:gd name="T119" fmla="*/ 308 h 347"/>
                  <a:gd name="T120" fmla="*/ 1848 w 2031"/>
                  <a:gd name="T121" fmla="*/ 285 h 347"/>
                  <a:gd name="T122" fmla="*/ 1840 w 2031"/>
                  <a:gd name="T123" fmla="*/ 335 h 347"/>
                  <a:gd name="T124" fmla="*/ 1894 w 2031"/>
                  <a:gd name="T125" fmla="*/ 308 h 3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31" h="347">
                    <a:moveTo>
                      <a:pt x="1972" y="347"/>
                    </a:moveTo>
                    <a:lnTo>
                      <a:pt x="2001" y="347"/>
                    </a:lnTo>
                    <a:lnTo>
                      <a:pt x="2006" y="347"/>
                    </a:lnTo>
                    <a:lnTo>
                      <a:pt x="2018" y="347"/>
                    </a:lnTo>
                    <a:lnTo>
                      <a:pt x="2022" y="347"/>
                    </a:lnTo>
                    <a:lnTo>
                      <a:pt x="2031" y="347"/>
                    </a:lnTo>
                    <a:lnTo>
                      <a:pt x="2031" y="314"/>
                    </a:lnTo>
                    <a:lnTo>
                      <a:pt x="2018" y="314"/>
                    </a:lnTo>
                    <a:lnTo>
                      <a:pt x="2018" y="306"/>
                    </a:lnTo>
                    <a:lnTo>
                      <a:pt x="2006" y="306"/>
                    </a:lnTo>
                    <a:lnTo>
                      <a:pt x="2006" y="314"/>
                    </a:lnTo>
                    <a:lnTo>
                      <a:pt x="2006" y="324"/>
                    </a:lnTo>
                    <a:lnTo>
                      <a:pt x="2001" y="324"/>
                    </a:lnTo>
                    <a:lnTo>
                      <a:pt x="2001" y="293"/>
                    </a:lnTo>
                    <a:lnTo>
                      <a:pt x="1972" y="293"/>
                    </a:lnTo>
                    <a:lnTo>
                      <a:pt x="1972" y="324"/>
                    </a:lnTo>
                    <a:lnTo>
                      <a:pt x="1972" y="347"/>
                    </a:lnTo>
                    <a:lnTo>
                      <a:pt x="1972" y="347"/>
                    </a:lnTo>
                    <a:close/>
                    <a:moveTo>
                      <a:pt x="8" y="159"/>
                    </a:moveTo>
                    <a:lnTo>
                      <a:pt x="13" y="159"/>
                    </a:lnTo>
                    <a:lnTo>
                      <a:pt x="13" y="176"/>
                    </a:lnTo>
                    <a:lnTo>
                      <a:pt x="0" y="176"/>
                    </a:lnTo>
                    <a:lnTo>
                      <a:pt x="0" y="347"/>
                    </a:lnTo>
                    <a:lnTo>
                      <a:pt x="13" y="347"/>
                    </a:lnTo>
                    <a:lnTo>
                      <a:pt x="59" y="347"/>
                    </a:lnTo>
                    <a:lnTo>
                      <a:pt x="73" y="347"/>
                    </a:lnTo>
                    <a:lnTo>
                      <a:pt x="73" y="176"/>
                    </a:lnTo>
                    <a:lnTo>
                      <a:pt x="59" y="176"/>
                    </a:lnTo>
                    <a:lnTo>
                      <a:pt x="59" y="159"/>
                    </a:lnTo>
                    <a:lnTo>
                      <a:pt x="65" y="159"/>
                    </a:lnTo>
                    <a:lnTo>
                      <a:pt x="65" y="153"/>
                    </a:lnTo>
                    <a:lnTo>
                      <a:pt x="8" y="153"/>
                    </a:lnTo>
                    <a:lnTo>
                      <a:pt x="8" y="159"/>
                    </a:lnTo>
                    <a:lnTo>
                      <a:pt x="8" y="159"/>
                    </a:lnTo>
                    <a:close/>
                    <a:moveTo>
                      <a:pt x="174" y="347"/>
                    </a:moveTo>
                    <a:lnTo>
                      <a:pt x="235" y="347"/>
                    </a:lnTo>
                    <a:lnTo>
                      <a:pt x="235" y="79"/>
                    </a:lnTo>
                    <a:lnTo>
                      <a:pt x="174" y="79"/>
                    </a:lnTo>
                    <a:lnTo>
                      <a:pt x="174" y="347"/>
                    </a:lnTo>
                    <a:lnTo>
                      <a:pt x="174" y="347"/>
                    </a:lnTo>
                    <a:close/>
                    <a:moveTo>
                      <a:pt x="413" y="134"/>
                    </a:moveTo>
                    <a:lnTo>
                      <a:pt x="413" y="129"/>
                    </a:lnTo>
                    <a:lnTo>
                      <a:pt x="406" y="129"/>
                    </a:lnTo>
                    <a:lnTo>
                      <a:pt x="406" y="134"/>
                    </a:lnTo>
                    <a:lnTo>
                      <a:pt x="388" y="134"/>
                    </a:lnTo>
                    <a:lnTo>
                      <a:pt x="388" y="150"/>
                    </a:lnTo>
                    <a:lnTo>
                      <a:pt x="362" y="150"/>
                    </a:lnTo>
                    <a:lnTo>
                      <a:pt x="362" y="347"/>
                    </a:lnTo>
                    <a:lnTo>
                      <a:pt x="367" y="347"/>
                    </a:lnTo>
                    <a:lnTo>
                      <a:pt x="438" y="347"/>
                    </a:lnTo>
                    <a:lnTo>
                      <a:pt x="442" y="347"/>
                    </a:lnTo>
                    <a:lnTo>
                      <a:pt x="442" y="167"/>
                    </a:lnTo>
                    <a:lnTo>
                      <a:pt x="438" y="167"/>
                    </a:lnTo>
                    <a:lnTo>
                      <a:pt x="438" y="150"/>
                    </a:lnTo>
                    <a:lnTo>
                      <a:pt x="413" y="150"/>
                    </a:lnTo>
                    <a:lnTo>
                      <a:pt x="413" y="134"/>
                    </a:lnTo>
                    <a:lnTo>
                      <a:pt x="413" y="134"/>
                    </a:lnTo>
                    <a:close/>
                    <a:moveTo>
                      <a:pt x="484" y="347"/>
                    </a:moveTo>
                    <a:lnTo>
                      <a:pt x="547" y="347"/>
                    </a:lnTo>
                    <a:lnTo>
                      <a:pt x="547" y="138"/>
                    </a:lnTo>
                    <a:lnTo>
                      <a:pt x="484" y="138"/>
                    </a:lnTo>
                    <a:lnTo>
                      <a:pt x="484" y="347"/>
                    </a:lnTo>
                    <a:lnTo>
                      <a:pt x="484" y="347"/>
                    </a:lnTo>
                    <a:close/>
                    <a:moveTo>
                      <a:pt x="583" y="347"/>
                    </a:moveTo>
                    <a:lnTo>
                      <a:pt x="601" y="347"/>
                    </a:lnTo>
                    <a:lnTo>
                      <a:pt x="601" y="220"/>
                    </a:lnTo>
                    <a:lnTo>
                      <a:pt x="583" y="220"/>
                    </a:lnTo>
                    <a:lnTo>
                      <a:pt x="583" y="205"/>
                    </a:lnTo>
                    <a:lnTo>
                      <a:pt x="559" y="205"/>
                    </a:lnTo>
                    <a:lnTo>
                      <a:pt x="559" y="220"/>
                    </a:lnTo>
                    <a:lnTo>
                      <a:pt x="559" y="347"/>
                    </a:lnTo>
                    <a:lnTo>
                      <a:pt x="583" y="347"/>
                    </a:lnTo>
                    <a:lnTo>
                      <a:pt x="583" y="347"/>
                    </a:lnTo>
                    <a:close/>
                    <a:moveTo>
                      <a:pt x="641" y="347"/>
                    </a:moveTo>
                    <a:lnTo>
                      <a:pt x="666" y="347"/>
                    </a:lnTo>
                    <a:lnTo>
                      <a:pt x="666" y="236"/>
                    </a:lnTo>
                    <a:lnTo>
                      <a:pt x="641" y="236"/>
                    </a:lnTo>
                    <a:lnTo>
                      <a:pt x="641" y="347"/>
                    </a:lnTo>
                    <a:lnTo>
                      <a:pt x="641" y="347"/>
                    </a:lnTo>
                    <a:close/>
                    <a:moveTo>
                      <a:pt x="694" y="347"/>
                    </a:moveTo>
                    <a:lnTo>
                      <a:pt x="719" y="347"/>
                    </a:lnTo>
                    <a:lnTo>
                      <a:pt x="719" y="280"/>
                    </a:lnTo>
                    <a:lnTo>
                      <a:pt x="694" y="280"/>
                    </a:lnTo>
                    <a:lnTo>
                      <a:pt x="694" y="347"/>
                    </a:lnTo>
                    <a:lnTo>
                      <a:pt x="694" y="347"/>
                    </a:lnTo>
                    <a:close/>
                    <a:moveTo>
                      <a:pt x="725" y="347"/>
                    </a:moveTo>
                    <a:lnTo>
                      <a:pt x="763" y="347"/>
                    </a:lnTo>
                    <a:lnTo>
                      <a:pt x="763" y="92"/>
                    </a:lnTo>
                    <a:lnTo>
                      <a:pt x="725" y="92"/>
                    </a:lnTo>
                    <a:lnTo>
                      <a:pt x="725" y="347"/>
                    </a:lnTo>
                    <a:lnTo>
                      <a:pt x="725" y="347"/>
                    </a:lnTo>
                    <a:close/>
                    <a:moveTo>
                      <a:pt x="838" y="347"/>
                    </a:moveTo>
                    <a:lnTo>
                      <a:pt x="876" y="347"/>
                    </a:lnTo>
                    <a:lnTo>
                      <a:pt x="876" y="257"/>
                    </a:lnTo>
                    <a:lnTo>
                      <a:pt x="838" y="257"/>
                    </a:lnTo>
                    <a:lnTo>
                      <a:pt x="838" y="347"/>
                    </a:lnTo>
                    <a:lnTo>
                      <a:pt x="838" y="347"/>
                    </a:lnTo>
                    <a:close/>
                    <a:moveTo>
                      <a:pt x="939" y="347"/>
                    </a:moveTo>
                    <a:lnTo>
                      <a:pt x="972" y="347"/>
                    </a:lnTo>
                    <a:lnTo>
                      <a:pt x="972" y="236"/>
                    </a:lnTo>
                    <a:lnTo>
                      <a:pt x="939" y="236"/>
                    </a:lnTo>
                    <a:lnTo>
                      <a:pt x="939" y="347"/>
                    </a:lnTo>
                    <a:lnTo>
                      <a:pt x="939" y="347"/>
                    </a:lnTo>
                    <a:close/>
                    <a:moveTo>
                      <a:pt x="1012" y="347"/>
                    </a:moveTo>
                    <a:lnTo>
                      <a:pt x="1086" y="347"/>
                    </a:lnTo>
                    <a:lnTo>
                      <a:pt x="1086" y="0"/>
                    </a:lnTo>
                    <a:lnTo>
                      <a:pt x="1012" y="0"/>
                    </a:lnTo>
                    <a:lnTo>
                      <a:pt x="1012" y="347"/>
                    </a:lnTo>
                    <a:lnTo>
                      <a:pt x="1012" y="347"/>
                    </a:lnTo>
                    <a:close/>
                    <a:moveTo>
                      <a:pt x="1199" y="347"/>
                    </a:moveTo>
                    <a:lnTo>
                      <a:pt x="1217" y="347"/>
                    </a:lnTo>
                    <a:lnTo>
                      <a:pt x="1217" y="276"/>
                    </a:lnTo>
                    <a:lnTo>
                      <a:pt x="1199" y="276"/>
                    </a:lnTo>
                    <a:lnTo>
                      <a:pt x="1199" y="6"/>
                    </a:lnTo>
                    <a:lnTo>
                      <a:pt x="1125" y="6"/>
                    </a:lnTo>
                    <a:lnTo>
                      <a:pt x="1125" y="347"/>
                    </a:lnTo>
                    <a:lnTo>
                      <a:pt x="1142" y="347"/>
                    </a:lnTo>
                    <a:lnTo>
                      <a:pt x="1199" y="347"/>
                    </a:lnTo>
                    <a:lnTo>
                      <a:pt x="1199" y="347"/>
                    </a:lnTo>
                    <a:close/>
                    <a:moveTo>
                      <a:pt x="1477" y="289"/>
                    </a:moveTo>
                    <a:lnTo>
                      <a:pt x="1477" y="146"/>
                    </a:lnTo>
                    <a:lnTo>
                      <a:pt x="1431" y="146"/>
                    </a:lnTo>
                    <a:lnTo>
                      <a:pt x="1431" y="289"/>
                    </a:lnTo>
                    <a:lnTo>
                      <a:pt x="1417" y="289"/>
                    </a:lnTo>
                    <a:lnTo>
                      <a:pt x="1417" y="347"/>
                    </a:lnTo>
                    <a:lnTo>
                      <a:pt x="1480" y="347"/>
                    </a:lnTo>
                    <a:lnTo>
                      <a:pt x="1480" y="289"/>
                    </a:lnTo>
                    <a:lnTo>
                      <a:pt x="1477" y="289"/>
                    </a:lnTo>
                    <a:lnTo>
                      <a:pt x="1477" y="289"/>
                    </a:lnTo>
                    <a:close/>
                    <a:moveTo>
                      <a:pt x="1565" y="285"/>
                    </a:moveTo>
                    <a:lnTo>
                      <a:pt x="1565" y="253"/>
                    </a:lnTo>
                    <a:lnTo>
                      <a:pt x="1528" y="253"/>
                    </a:lnTo>
                    <a:lnTo>
                      <a:pt x="1528" y="285"/>
                    </a:lnTo>
                    <a:lnTo>
                      <a:pt x="1502" y="285"/>
                    </a:lnTo>
                    <a:lnTo>
                      <a:pt x="1502" y="347"/>
                    </a:lnTo>
                    <a:lnTo>
                      <a:pt x="1565" y="347"/>
                    </a:lnTo>
                    <a:lnTo>
                      <a:pt x="1565" y="314"/>
                    </a:lnTo>
                    <a:lnTo>
                      <a:pt x="1565" y="285"/>
                    </a:lnTo>
                    <a:lnTo>
                      <a:pt x="1565" y="285"/>
                    </a:lnTo>
                    <a:close/>
                    <a:moveTo>
                      <a:pt x="1568" y="347"/>
                    </a:moveTo>
                    <a:lnTo>
                      <a:pt x="1632" y="347"/>
                    </a:lnTo>
                    <a:lnTo>
                      <a:pt x="1632" y="163"/>
                    </a:lnTo>
                    <a:lnTo>
                      <a:pt x="1628" y="163"/>
                    </a:lnTo>
                    <a:lnTo>
                      <a:pt x="1628" y="155"/>
                    </a:lnTo>
                    <a:lnTo>
                      <a:pt x="1626" y="155"/>
                    </a:lnTo>
                    <a:lnTo>
                      <a:pt x="1622" y="153"/>
                    </a:lnTo>
                    <a:lnTo>
                      <a:pt x="1618" y="155"/>
                    </a:lnTo>
                    <a:lnTo>
                      <a:pt x="1616" y="155"/>
                    </a:lnTo>
                    <a:lnTo>
                      <a:pt x="1616" y="163"/>
                    </a:lnTo>
                    <a:lnTo>
                      <a:pt x="1607" y="163"/>
                    </a:lnTo>
                    <a:lnTo>
                      <a:pt x="1607" y="155"/>
                    </a:lnTo>
                    <a:lnTo>
                      <a:pt x="1605" y="155"/>
                    </a:lnTo>
                    <a:lnTo>
                      <a:pt x="1601" y="153"/>
                    </a:lnTo>
                    <a:lnTo>
                      <a:pt x="1597" y="155"/>
                    </a:lnTo>
                    <a:lnTo>
                      <a:pt x="1595" y="155"/>
                    </a:lnTo>
                    <a:lnTo>
                      <a:pt x="1595" y="163"/>
                    </a:lnTo>
                    <a:lnTo>
                      <a:pt x="1586" y="163"/>
                    </a:lnTo>
                    <a:lnTo>
                      <a:pt x="1586" y="155"/>
                    </a:lnTo>
                    <a:lnTo>
                      <a:pt x="1584" y="155"/>
                    </a:lnTo>
                    <a:lnTo>
                      <a:pt x="1580" y="153"/>
                    </a:lnTo>
                    <a:lnTo>
                      <a:pt x="1576" y="155"/>
                    </a:lnTo>
                    <a:lnTo>
                      <a:pt x="1574" y="155"/>
                    </a:lnTo>
                    <a:lnTo>
                      <a:pt x="1574" y="163"/>
                    </a:lnTo>
                    <a:lnTo>
                      <a:pt x="1568" y="163"/>
                    </a:lnTo>
                    <a:lnTo>
                      <a:pt x="1568" y="347"/>
                    </a:lnTo>
                    <a:lnTo>
                      <a:pt x="1568" y="347"/>
                    </a:lnTo>
                    <a:close/>
                    <a:moveTo>
                      <a:pt x="1750" y="180"/>
                    </a:moveTo>
                    <a:lnTo>
                      <a:pt x="1750" y="129"/>
                    </a:lnTo>
                    <a:lnTo>
                      <a:pt x="1704" y="129"/>
                    </a:lnTo>
                    <a:lnTo>
                      <a:pt x="1704" y="180"/>
                    </a:lnTo>
                    <a:lnTo>
                      <a:pt x="1683" y="180"/>
                    </a:lnTo>
                    <a:lnTo>
                      <a:pt x="1683" y="347"/>
                    </a:lnTo>
                    <a:lnTo>
                      <a:pt x="1756" y="347"/>
                    </a:lnTo>
                    <a:lnTo>
                      <a:pt x="1756" y="180"/>
                    </a:lnTo>
                    <a:lnTo>
                      <a:pt x="1750" y="180"/>
                    </a:lnTo>
                    <a:lnTo>
                      <a:pt x="1750" y="180"/>
                    </a:lnTo>
                    <a:close/>
                    <a:moveTo>
                      <a:pt x="1894" y="308"/>
                    </a:moveTo>
                    <a:lnTo>
                      <a:pt x="1894" y="278"/>
                    </a:lnTo>
                    <a:lnTo>
                      <a:pt x="1873" y="278"/>
                    </a:lnTo>
                    <a:lnTo>
                      <a:pt x="1873" y="308"/>
                    </a:lnTo>
                    <a:lnTo>
                      <a:pt x="1869" y="308"/>
                    </a:lnTo>
                    <a:lnTo>
                      <a:pt x="1869" y="285"/>
                    </a:lnTo>
                    <a:lnTo>
                      <a:pt x="1848" y="285"/>
                    </a:lnTo>
                    <a:lnTo>
                      <a:pt x="1848" y="308"/>
                    </a:lnTo>
                    <a:lnTo>
                      <a:pt x="1840" y="308"/>
                    </a:lnTo>
                    <a:lnTo>
                      <a:pt x="1840" y="335"/>
                    </a:lnTo>
                    <a:lnTo>
                      <a:pt x="1911" y="335"/>
                    </a:lnTo>
                    <a:lnTo>
                      <a:pt x="1911" y="308"/>
                    </a:lnTo>
                    <a:lnTo>
                      <a:pt x="1894" y="308"/>
                    </a:lnTo>
                    <a:lnTo>
                      <a:pt x="1894" y="308"/>
                    </a:lnTo>
                    <a:close/>
                  </a:path>
                </a:pathLst>
              </a:custGeom>
              <a:solidFill>
                <a:schemeClr val="bg1">
                  <a:lumMod val="85000"/>
                  <a:alpha val="19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rmAutofit/>
              </a:bodyPr>
              <a:lstStyle/>
              <a:p>
                <a:endParaRPr lang="en-US">
                  <a:cs typeface="+mn-ea"/>
                  <a:sym typeface="+mn-lt"/>
                </a:endParaRPr>
              </a:p>
            </p:txBody>
          </p:sp>
        </p:grp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0DAEC098-5EC3-4ABC-8B0F-729008089A94}"/>
                </a:ext>
              </a:extLst>
            </p:cNvPr>
            <p:cNvSpPr txBox="1"/>
            <p:nvPr/>
          </p:nvSpPr>
          <p:spPr>
            <a:xfrm>
              <a:off x="661530" y="1123950"/>
              <a:ext cx="3331148" cy="450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id-ID" b="1" dirty="0">
                <a:cs typeface="+mn-ea"/>
                <a:sym typeface="+mn-lt"/>
              </a:endParaRP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C567C7AC-4449-4C08-B297-05B174E7839E}"/>
                </a:ext>
              </a:extLst>
            </p:cNvPr>
            <p:cNvSpPr/>
            <p:nvPr/>
          </p:nvSpPr>
          <p:spPr bwMode="auto">
            <a:xfrm>
              <a:off x="664706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8501EE22-F1FC-4C4C-85DF-0E11026439AA}"/>
                </a:ext>
              </a:extLst>
            </p:cNvPr>
            <p:cNvGrpSpPr/>
            <p:nvPr/>
          </p:nvGrpSpPr>
          <p:grpSpPr>
            <a:xfrm>
              <a:off x="1089301" y="1858992"/>
              <a:ext cx="699354" cy="699354"/>
              <a:chOff x="1100871" y="3207878"/>
              <a:chExt cx="699354" cy="699354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D30B8163-FFD8-4FD0-8FF6-F70363C1683B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5ECA7800-EFFB-46E9-8BE2-40D3FDFC04F0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0B678170-06D7-41E7-9BE0-9A7208200DA1}"/>
                </a:ext>
              </a:extLst>
            </p:cNvPr>
            <p:cNvSpPr/>
            <p:nvPr/>
          </p:nvSpPr>
          <p:spPr bwMode="auto">
            <a:xfrm>
              <a:off x="2399787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D7DA043A-0008-4E31-BBF6-7DEC6A3D2129}"/>
                </a:ext>
              </a:extLst>
            </p:cNvPr>
            <p:cNvGrpSpPr/>
            <p:nvPr/>
          </p:nvGrpSpPr>
          <p:grpSpPr>
            <a:xfrm>
              <a:off x="2824382" y="1858992"/>
              <a:ext cx="699354" cy="699354"/>
              <a:chOff x="1100871" y="3207878"/>
              <a:chExt cx="699354" cy="699354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E7766DF8-76E4-4028-A7DD-63368825DFE6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9CD532C9-8D61-4F39-AAEC-950BA623C745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3DA8D1FA-219F-424A-805D-0AE8EF2F610B}"/>
                </a:ext>
              </a:extLst>
            </p:cNvPr>
            <p:cNvSpPr txBox="1"/>
            <p:nvPr/>
          </p:nvSpPr>
          <p:spPr>
            <a:xfrm>
              <a:off x="4430426" y="1123950"/>
              <a:ext cx="3331148" cy="450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id-ID" b="1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03255F-D58A-4450-AEE2-E62D8E31E613}"/>
                </a:ext>
              </a:extLst>
            </p:cNvPr>
            <p:cNvSpPr/>
            <p:nvPr/>
          </p:nvSpPr>
          <p:spPr bwMode="auto">
            <a:xfrm>
              <a:off x="4433602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6F0BE885-A04D-4E9C-8A0C-51A349DC1B29}"/>
                </a:ext>
              </a:extLst>
            </p:cNvPr>
            <p:cNvGrpSpPr/>
            <p:nvPr/>
          </p:nvGrpSpPr>
          <p:grpSpPr>
            <a:xfrm>
              <a:off x="4858197" y="1858992"/>
              <a:ext cx="699354" cy="699354"/>
              <a:chOff x="1100871" y="3207878"/>
              <a:chExt cx="699354" cy="699354"/>
            </a:xfrm>
          </p:grpSpPr>
          <p:sp>
            <p:nvSpPr>
              <p:cNvPr id="33" name="椭圆 32">
                <a:extLst>
                  <a:ext uri="{FF2B5EF4-FFF2-40B4-BE49-F238E27FC236}">
                    <a16:creationId xmlns:a16="http://schemas.microsoft.com/office/drawing/2014/main" id="{612F7FC7-42C2-4FA3-A0E9-037574679E17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4" name="任意多边形: 形状 33">
                <a:extLst>
                  <a:ext uri="{FF2B5EF4-FFF2-40B4-BE49-F238E27FC236}">
                    <a16:creationId xmlns:a16="http://schemas.microsoft.com/office/drawing/2014/main" id="{D39D6366-8F98-4BE2-BDF9-6330AF121EFD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240BE1EC-4D36-49C4-8F87-C3279270CEEE}"/>
                </a:ext>
              </a:extLst>
            </p:cNvPr>
            <p:cNvSpPr/>
            <p:nvPr/>
          </p:nvSpPr>
          <p:spPr bwMode="auto">
            <a:xfrm>
              <a:off x="6168683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561FAFF7-2939-4DDA-A902-CA8BCBB9F2FF}"/>
                </a:ext>
              </a:extLst>
            </p:cNvPr>
            <p:cNvGrpSpPr/>
            <p:nvPr/>
          </p:nvGrpSpPr>
          <p:grpSpPr>
            <a:xfrm>
              <a:off x="6593278" y="1858992"/>
              <a:ext cx="699354" cy="699354"/>
              <a:chOff x="1100871" y="3207878"/>
              <a:chExt cx="699354" cy="699354"/>
            </a:xfrm>
          </p:grpSpPr>
          <p:sp>
            <p:nvSpPr>
              <p:cNvPr id="31" name="椭圆 30">
                <a:extLst>
                  <a:ext uri="{FF2B5EF4-FFF2-40B4-BE49-F238E27FC236}">
                    <a16:creationId xmlns:a16="http://schemas.microsoft.com/office/drawing/2014/main" id="{1D3EDB09-20C5-4EA8-8A5B-9073A0D5A3BD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2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任意多边形: 形状 31">
                <a:extLst>
                  <a:ext uri="{FF2B5EF4-FFF2-40B4-BE49-F238E27FC236}">
                    <a16:creationId xmlns:a16="http://schemas.microsoft.com/office/drawing/2014/main" id="{F07143DB-D13F-4DDC-82ED-B4B8A9504361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58ABCDD9-6BA0-4CCC-9185-80B5B60D4692}"/>
                </a:ext>
              </a:extLst>
            </p:cNvPr>
            <p:cNvSpPr txBox="1"/>
            <p:nvPr/>
          </p:nvSpPr>
          <p:spPr>
            <a:xfrm>
              <a:off x="8199323" y="1123950"/>
              <a:ext cx="3331148" cy="450407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noFill/>
            </a:ln>
          </p:spPr>
          <p:txBody>
            <a:bodyPr wrap="square" lIns="91440" tIns="45720" rIns="91440" bIns="45720" rtlCol="0" anchor="ctr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/>
              <a:r>
                <a:rPr lang="en-US" altLang="zh-CN" b="1" dirty="0">
                  <a:cs typeface="+mn-ea"/>
                  <a:sym typeface="+mn-lt"/>
                </a:rPr>
                <a:t>Text here</a:t>
              </a:r>
              <a:endParaRPr lang="id-ID" b="1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C1F3DA3C-29CB-46E2-A5B7-8C03AE70D7D2}"/>
                </a:ext>
              </a:extLst>
            </p:cNvPr>
            <p:cNvSpPr/>
            <p:nvPr/>
          </p:nvSpPr>
          <p:spPr bwMode="auto">
            <a:xfrm>
              <a:off x="8202499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DD767822-E20E-4BE3-BF77-C2FBE5E4C13D}"/>
                </a:ext>
              </a:extLst>
            </p:cNvPr>
            <p:cNvGrpSpPr/>
            <p:nvPr/>
          </p:nvGrpSpPr>
          <p:grpSpPr>
            <a:xfrm>
              <a:off x="8627094" y="1858992"/>
              <a:ext cx="699354" cy="699354"/>
              <a:chOff x="1100871" y="3207878"/>
              <a:chExt cx="699354" cy="699354"/>
            </a:xfrm>
          </p:grpSpPr>
          <p:sp>
            <p:nvSpPr>
              <p:cNvPr id="29" name="椭圆 28">
                <a:extLst>
                  <a:ext uri="{FF2B5EF4-FFF2-40B4-BE49-F238E27FC236}">
                    <a16:creationId xmlns:a16="http://schemas.microsoft.com/office/drawing/2014/main" id="{D65043C8-A36C-46A8-8EF4-65C83537394D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87397BA5-E396-4FEA-8990-2D5C6CF4E704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72229CF7-6084-4380-BF68-68D201591332}"/>
                </a:ext>
              </a:extLst>
            </p:cNvPr>
            <p:cNvSpPr/>
            <p:nvPr/>
          </p:nvSpPr>
          <p:spPr bwMode="auto">
            <a:xfrm>
              <a:off x="9937580" y="2633281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66540AB8-263B-4E1F-8934-1F273D2CD9B2}"/>
                </a:ext>
              </a:extLst>
            </p:cNvPr>
            <p:cNvGrpSpPr/>
            <p:nvPr/>
          </p:nvGrpSpPr>
          <p:grpSpPr>
            <a:xfrm>
              <a:off x="10362175" y="1858992"/>
              <a:ext cx="699354" cy="699354"/>
              <a:chOff x="1100871" y="3207878"/>
              <a:chExt cx="699354" cy="699354"/>
            </a:xfrm>
          </p:grpSpPr>
          <p:sp>
            <p:nvSpPr>
              <p:cNvPr id="27" name="椭圆 26">
                <a:extLst>
                  <a:ext uri="{FF2B5EF4-FFF2-40B4-BE49-F238E27FC236}">
                    <a16:creationId xmlns:a16="http://schemas.microsoft.com/office/drawing/2014/main" id="{3E18BFFD-FCAF-4F1D-944D-DB06808098A4}"/>
                  </a:ext>
                </a:extLst>
              </p:cNvPr>
              <p:cNvSpPr/>
              <p:nvPr/>
            </p:nvSpPr>
            <p:spPr>
              <a:xfrm>
                <a:off x="1100871" y="3207878"/>
                <a:ext cx="699354" cy="699354"/>
              </a:xfrm>
              <a:prstGeom prst="ellipse">
                <a:avLst/>
              </a:prstGeom>
              <a:solidFill>
                <a:schemeClr val="bg1"/>
              </a:solidFill>
              <a:ln w="19050" cap="rnd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/>
              </a:bodyPr>
              <a:lstStyle/>
              <a:p>
                <a:pPr algn="ctr" defTabSz="914354"/>
                <a:endParaRPr lang="zh-CN" altLang="en-US" sz="1600" b="1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任意多边形: 形状 27">
                <a:extLst>
                  <a:ext uri="{FF2B5EF4-FFF2-40B4-BE49-F238E27FC236}">
                    <a16:creationId xmlns:a16="http://schemas.microsoft.com/office/drawing/2014/main" id="{D8D14F11-A4E5-4326-BC4C-3EBD824A801A}"/>
                  </a:ext>
                </a:extLst>
              </p:cNvPr>
              <p:cNvSpPr/>
              <p:nvPr/>
            </p:nvSpPr>
            <p:spPr>
              <a:xfrm>
                <a:off x="1286568" y="3378970"/>
                <a:ext cx="327960" cy="357170"/>
              </a:xfrm>
              <a:custGeom>
                <a:avLst/>
                <a:gdLst>
                  <a:gd name="connsiteX0" fmla="*/ 456215 w 557749"/>
                  <a:gd name="connsiteY0" fmla="*/ 404898 h 607428"/>
                  <a:gd name="connsiteX1" fmla="*/ 438248 w 557749"/>
                  <a:gd name="connsiteY1" fmla="*/ 412336 h 607428"/>
                  <a:gd name="connsiteX2" fmla="*/ 405471 w 557749"/>
                  <a:gd name="connsiteY2" fmla="*/ 445052 h 607428"/>
                  <a:gd name="connsiteX3" fmla="*/ 398043 w 557749"/>
                  <a:gd name="connsiteY3" fmla="*/ 437637 h 607428"/>
                  <a:gd name="connsiteX4" fmla="*/ 362109 w 557749"/>
                  <a:gd name="connsiteY4" fmla="*/ 437637 h 607428"/>
                  <a:gd name="connsiteX5" fmla="*/ 362109 w 557749"/>
                  <a:gd name="connsiteY5" fmla="*/ 473505 h 607428"/>
                  <a:gd name="connsiteX6" fmla="*/ 387550 w 557749"/>
                  <a:gd name="connsiteY6" fmla="*/ 498806 h 607428"/>
                  <a:gd name="connsiteX7" fmla="*/ 405471 w 557749"/>
                  <a:gd name="connsiteY7" fmla="*/ 506221 h 607428"/>
                  <a:gd name="connsiteX8" fmla="*/ 423391 w 557749"/>
                  <a:gd name="connsiteY8" fmla="*/ 498806 h 607428"/>
                  <a:gd name="connsiteX9" fmla="*/ 474182 w 557749"/>
                  <a:gd name="connsiteY9" fmla="*/ 448203 h 607428"/>
                  <a:gd name="connsiteX10" fmla="*/ 474182 w 557749"/>
                  <a:gd name="connsiteY10" fmla="*/ 412336 h 607428"/>
                  <a:gd name="connsiteX11" fmla="*/ 456215 w 557749"/>
                  <a:gd name="connsiteY11" fmla="*/ 404898 h 607428"/>
                  <a:gd name="connsiteX12" fmla="*/ 405564 w 557749"/>
                  <a:gd name="connsiteY12" fmla="*/ 303714 h 607428"/>
                  <a:gd name="connsiteX13" fmla="*/ 557749 w 557749"/>
                  <a:gd name="connsiteY13" fmla="*/ 455617 h 607428"/>
                  <a:gd name="connsiteX14" fmla="*/ 405564 w 557749"/>
                  <a:gd name="connsiteY14" fmla="*/ 607428 h 607428"/>
                  <a:gd name="connsiteX15" fmla="*/ 253471 w 557749"/>
                  <a:gd name="connsiteY15" fmla="*/ 455617 h 607428"/>
                  <a:gd name="connsiteX16" fmla="*/ 405564 w 557749"/>
                  <a:gd name="connsiteY16" fmla="*/ 303714 h 607428"/>
                  <a:gd name="connsiteX17" fmla="*/ 278818 w 557749"/>
                  <a:gd name="connsiteY17" fmla="*/ 177145 h 607428"/>
                  <a:gd name="connsiteX18" fmla="*/ 253471 w 557749"/>
                  <a:gd name="connsiteY18" fmla="*/ 202452 h 607428"/>
                  <a:gd name="connsiteX19" fmla="*/ 278818 w 557749"/>
                  <a:gd name="connsiteY19" fmla="*/ 227759 h 607428"/>
                  <a:gd name="connsiteX20" fmla="*/ 380207 w 557749"/>
                  <a:gd name="connsiteY20" fmla="*/ 227759 h 607428"/>
                  <a:gd name="connsiteX21" fmla="*/ 405554 w 557749"/>
                  <a:gd name="connsiteY21" fmla="*/ 202452 h 607428"/>
                  <a:gd name="connsiteX22" fmla="*/ 380207 w 557749"/>
                  <a:gd name="connsiteY22" fmla="*/ 177145 h 607428"/>
                  <a:gd name="connsiteX23" fmla="*/ 126643 w 557749"/>
                  <a:gd name="connsiteY23" fmla="*/ 177145 h 607428"/>
                  <a:gd name="connsiteX24" fmla="*/ 101296 w 557749"/>
                  <a:gd name="connsiteY24" fmla="*/ 202452 h 607428"/>
                  <a:gd name="connsiteX25" fmla="*/ 126643 w 557749"/>
                  <a:gd name="connsiteY25" fmla="*/ 227759 h 607428"/>
                  <a:gd name="connsiteX26" fmla="*/ 177430 w 557749"/>
                  <a:gd name="connsiteY26" fmla="*/ 227759 h 607428"/>
                  <a:gd name="connsiteX27" fmla="*/ 202777 w 557749"/>
                  <a:gd name="connsiteY27" fmla="*/ 202452 h 607428"/>
                  <a:gd name="connsiteX28" fmla="*/ 177430 w 557749"/>
                  <a:gd name="connsiteY28" fmla="*/ 177145 h 607428"/>
                  <a:gd name="connsiteX29" fmla="*/ 177430 w 557749"/>
                  <a:gd name="connsiteY29" fmla="*/ 50520 h 607428"/>
                  <a:gd name="connsiteX30" fmla="*/ 177430 w 557749"/>
                  <a:gd name="connsiteY30" fmla="*/ 101226 h 607428"/>
                  <a:gd name="connsiteX31" fmla="*/ 329605 w 557749"/>
                  <a:gd name="connsiteY31" fmla="*/ 101226 h 607428"/>
                  <a:gd name="connsiteX32" fmla="*/ 329605 w 557749"/>
                  <a:gd name="connsiteY32" fmla="*/ 50520 h 607428"/>
                  <a:gd name="connsiteX33" fmla="*/ 165267 w 557749"/>
                  <a:gd name="connsiteY33" fmla="*/ 0 h 607428"/>
                  <a:gd name="connsiteX34" fmla="*/ 341582 w 557749"/>
                  <a:gd name="connsiteY34" fmla="*/ 0 h 607428"/>
                  <a:gd name="connsiteX35" fmla="*/ 380207 w 557749"/>
                  <a:gd name="connsiteY35" fmla="*/ 38562 h 607428"/>
                  <a:gd name="connsiteX36" fmla="*/ 380207 w 557749"/>
                  <a:gd name="connsiteY36" fmla="*/ 50706 h 607428"/>
                  <a:gd name="connsiteX37" fmla="*/ 451606 w 557749"/>
                  <a:gd name="connsiteY37" fmla="*/ 50706 h 607428"/>
                  <a:gd name="connsiteX38" fmla="*/ 506942 w 557749"/>
                  <a:gd name="connsiteY38" fmla="*/ 105954 h 607428"/>
                  <a:gd name="connsiteX39" fmla="*/ 506942 w 557749"/>
                  <a:gd name="connsiteY39" fmla="*/ 280318 h 607428"/>
                  <a:gd name="connsiteX40" fmla="*/ 405554 w 557749"/>
                  <a:gd name="connsiteY40" fmla="*/ 252880 h 607428"/>
                  <a:gd name="connsiteX41" fmla="*/ 266934 w 557749"/>
                  <a:gd name="connsiteY41" fmla="*/ 308035 h 607428"/>
                  <a:gd name="connsiteX42" fmla="*/ 253471 w 557749"/>
                  <a:gd name="connsiteY42" fmla="*/ 303585 h 607428"/>
                  <a:gd name="connsiteX43" fmla="*/ 126643 w 557749"/>
                  <a:gd name="connsiteY43" fmla="*/ 303585 h 607428"/>
                  <a:gd name="connsiteX44" fmla="*/ 101296 w 557749"/>
                  <a:gd name="connsiteY44" fmla="*/ 328892 h 607428"/>
                  <a:gd name="connsiteX45" fmla="*/ 126643 w 557749"/>
                  <a:gd name="connsiteY45" fmla="*/ 354198 h 607428"/>
                  <a:gd name="connsiteX46" fmla="*/ 230167 w 557749"/>
                  <a:gd name="connsiteY46" fmla="*/ 354198 h 607428"/>
                  <a:gd name="connsiteX47" fmla="*/ 209090 w 557749"/>
                  <a:gd name="connsiteY47" fmla="*/ 406109 h 607428"/>
                  <a:gd name="connsiteX48" fmla="*/ 202777 w 557749"/>
                  <a:gd name="connsiteY48" fmla="*/ 404904 h 607428"/>
                  <a:gd name="connsiteX49" fmla="*/ 101388 w 557749"/>
                  <a:gd name="connsiteY49" fmla="*/ 404904 h 607428"/>
                  <a:gd name="connsiteX50" fmla="*/ 76041 w 557749"/>
                  <a:gd name="connsiteY50" fmla="*/ 430211 h 607428"/>
                  <a:gd name="connsiteX51" fmla="*/ 101388 w 557749"/>
                  <a:gd name="connsiteY51" fmla="*/ 455610 h 607428"/>
                  <a:gd name="connsiteX52" fmla="*/ 202777 w 557749"/>
                  <a:gd name="connsiteY52" fmla="*/ 455610 h 607428"/>
                  <a:gd name="connsiteX53" fmla="*/ 271855 w 557749"/>
                  <a:gd name="connsiteY53" fmla="*/ 607356 h 607428"/>
                  <a:gd name="connsiteX54" fmla="*/ 55337 w 557749"/>
                  <a:gd name="connsiteY54" fmla="*/ 607356 h 607428"/>
                  <a:gd name="connsiteX55" fmla="*/ 0 w 557749"/>
                  <a:gd name="connsiteY55" fmla="*/ 552108 h 607428"/>
                  <a:gd name="connsiteX56" fmla="*/ 0 w 557749"/>
                  <a:gd name="connsiteY56" fmla="*/ 105768 h 607428"/>
                  <a:gd name="connsiteX57" fmla="*/ 55337 w 557749"/>
                  <a:gd name="connsiteY57" fmla="*/ 50520 h 607428"/>
                  <a:gd name="connsiteX58" fmla="*/ 126643 w 557749"/>
                  <a:gd name="connsiteY58" fmla="*/ 50520 h 607428"/>
                  <a:gd name="connsiteX59" fmla="*/ 126643 w 557749"/>
                  <a:gd name="connsiteY59" fmla="*/ 38562 h 607428"/>
                  <a:gd name="connsiteX60" fmla="*/ 165267 w 557749"/>
                  <a:gd name="connsiteY60" fmla="*/ 0 h 60742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</a:cxnLst>
                <a:rect l="l" t="t" r="r" b="b"/>
                <a:pathLst>
                  <a:path w="557749" h="607428">
                    <a:moveTo>
                      <a:pt x="456215" y="404898"/>
                    </a:moveTo>
                    <a:cubicBezTo>
                      <a:pt x="449715" y="404898"/>
                      <a:pt x="443215" y="407377"/>
                      <a:pt x="438248" y="412336"/>
                    </a:cubicBezTo>
                    <a:lnTo>
                      <a:pt x="405471" y="445052"/>
                    </a:lnTo>
                    <a:lnTo>
                      <a:pt x="398043" y="437637"/>
                    </a:lnTo>
                    <a:cubicBezTo>
                      <a:pt x="388107" y="427813"/>
                      <a:pt x="372044" y="427813"/>
                      <a:pt x="362109" y="437637"/>
                    </a:cubicBezTo>
                    <a:cubicBezTo>
                      <a:pt x="352266" y="447554"/>
                      <a:pt x="352266" y="463588"/>
                      <a:pt x="362109" y="473505"/>
                    </a:cubicBezTo>
                    <a:lnTo>
                      <a:pt x="387550" y="498806"/>
                    </a:lnTo>
                    <a:cubicBezTo>
                      <a:pt x="392471" y="503811"/>
                      <a:pt x="399064" y="506221"/>
                      <a:pt x="405471" y="506221"/>
                    </a:cubicBezTo>
                    <a:cubicBezTo>
                      <a:pt x="412063" y="506221"/>
                      <a:pt x="418470" y="503811"/>
                      <a:pt x="423391" y="498806"/>
                    </a:cubicBezTo>
                    <a:lnTo>
                      <a:pt x="474182" y="448203"/>
                    </a:lnTo>
                    <a:cubicBezTo>
                      <a:pt x="484117" y="438286"/>
                      <a:pt x="484117" y="422345"/>
                      <a:pt x="474182" y="412336"/>
                    </a:cubicBezTo>
                    <a:cubicBezTo>
                      <a:pt x="469214" y="407377"/>
                      <a:pt x="462714" y="404898"/>
                      <a:pt x="456215" y="404898"/>
                    </a:cubicBezTo>
                    <a:close/>
                    <a:moveTo>
                      <a:pt x="405564" y="303714"/>
                    </a:moveTo>
                    <a:cubicBezTo>
                      <a:pt x="489502" y="303714"/>
                      <a:pt x="557749" y="371834"/>
                      <a:pt x="557749" y="455617"/>
                    </a:cubicBezTo>
                    <a:cubicBezTo>
                      <a:pt x="557749" y="539401"/>
                      <a:pt x="489502" y="607428"/>
                      <a:pt x="405564" y="607428"/>
                    </a:cubicBezTo>
                    <a:cubicBezTo>
                      <a:pt x="321625" y="607428"/>
                      <a:pt x="253471" y="539401"/>
                      <a:pt x="253471" y="455617"/>
                    </a:cubicBezTo>
                    <a:cubicBezTo>
                      <a:pt x="253471" y="371834"/>
                      <a:pt x="321625" y="303714"/>
                      <a:pt x="405564" y="303714"/>
                    </a:cubicBezTo>
                    <a:close/>
                    <a:moveTo>
                      <a:pt x="278818" y="177145"/>
                    </a:moveTo>
                    <a:cubicBezTo>
                      <a:pt x="264798" y="177145"/>
                      <a:pt x="253471" y="188455"/>
                      <a:pt x="253471" y="202452"/>
                    </a:cubicBezTo>
                    <a:cubicBezTo>
                      <a:pt x="253471" y="216449"/>
                      <a:pt x="264798" y="227759"/>
                      <a:pt x="278818" y="227759"/>
                    </a:cubicBezTo>
                    <a:lnTo>
                      <a:pt x="380207" y="227759"/>
                    </a:lnTo>
                    <a:cubicBezTo>
                      <a:pt x="394226" y="227759"/>
                      <a:pt x="405554" y="216449"/>
                      <a:pt x="405554" y="202452"/>
                    </a:cubicBezTo>
                    <a:cubicBezTo>
                      <a:pt x="405554" y="188455"/>
                      <a:pt x="394226" y="177145"/>
                      <a:pt x="380207" y="177145"/>
                    </a:cubicBezTo>
                    <a:close/>
                    <a:moveTo>
                      <a:pt x="126643" y="177145"/>
                    </a:moveTo>
                    <a:cubicBezTo>
                      <a:pt x="112716" y="177145"/>
                      <a:pt x="101296" y="188455"/>
                      <a:pt x="101296" y="202452"/>
                    </a:cubicBezTo>
                    <a:cubicBezTo>
                      <a:pt x="101296" y="216449"/>
                      <a:pt x="112716" y="227759"/>
                      <a:pt x="126643" y="227759"/>
                    </a:cubicBezTo>
                    <a:lnTo>
                      <a:pt x="177430" y="227759"/>
                    </a:lnTo>
                    <a:cubicBezTo>
                      <a:pt x="191450" y="227759"/>
                      <a:pt x="202777" y="216449"/>
                      <a:pt x="202777" y="202452"/>
                    </a:cubicBezTo>
                    <a:cubicBezTo>
                      <a:pt x="202777" y="188455"/>
                      <a:pt x="191450" y="177145"/>
                      <a:pt x="177430" y="177145"/>
                    </a:cubicBezTo>
                    <a:close/>
                    <a:moveTo>
                      <a:pt x="177430" y="50520"/>
                    </a:moveTo>
                    <a:lnTo>
                      <a:pt x="177430" y="101226"/>
                    </a:lnTo>
                    <a:lnTo>
                      <a:pt x="329605" y="101226"/>
                    </a:lnTo>
                    <a:lnTo>
                      <a:pt x="329605" y="50520"/>
                    </a:lnTo>
                    <a:close/>
                    <a:moveTo>
                      <a:pt x="165267" y="0"/>
                    </a:moveTo>
                    <a:lnTo>
                      <a:pt x="341582" y="0"/>
                    </a:lnTo>
                    <a:cubicBezTo>
                      <a:pt x="362844" y="0"/>
                      <a:pt x="380207" y="17334"/>
                      <a:pt x="380207" y="38562"/>
                    </a:cubicBezTo>
                    <a:lnTo>
                      <a:pt x="380207" y="50706"/>
                    </a:lnTo>
                    <a:lnTo>
                      <a:pt x="451606" y="50706"/>
                    </a:lnTo>
                    <a:cubicBezTo>
                      <a:pt x="482059" y="50706"/>
                      <a:pt x="506942" y="75363"/>
                      <a:pt x="506942" y="105954"/>
                    </a:cubicBezTo>
                    <a:lnTo>
                      <a:pt x="506942" y="280318"/>
                    </a:lnTo>
                    <a:cubicBezTo>
                      <a:pt x="477138" y="262984"/>
                      <a:pt x="442599" y="252880"/>
                      <a:pt x="405554" y="252880"/>
                    </a:cubicBezTo>
                    <a:cubicBezTo>
                      <a:pt x="351888" y="252880"/>
                      <a:pt x="303237" y="274015"/>
                      <a:pt x="266934" y="308035"/>
                    </a:cubicBezTo>
                    <a:cubicBezTo>
                      <a:pt x="262941" y="305439"/>
                      <a:pt x="258485" y="303585"/>
                      <a:pt x="253471" y="303585"/>
                    </a:cubicBezTo>
                    <a:lnTo>
                      <a:pt x="126643" y="303585"/>
                    </a:lnTo>
                    <a:cubicBezTo>
                      <a:pt x="112716" y="303585"/>
                      <a:pt x="101296" y="314894"/>
                      <a:pt x="101296" y="328892"/>
                    </a:cubicBezTo>
                    <a:cubicBezTo>
                      <a:pt x="101296" y="342889"/>
                      <a:pt x="112716" y="354198"/>
                      <a:pt x="126643" y="354198"/>
                    </a:cubicBezTo>
                    <a:lnTo>
                      <a:pt x="230167" y="354198"/>
                    </a:lnTo>
                    <a:cubicBezTo>
                      <a:pt x="220882" y="370328"/>
                      <a:pt x="213826" y="387755"/>
                      <a:pt x="209090" y="406109"/>
                    </a:cubicBezTo>
                    <a:cubicBezTo>
                      <a:pt x="207048" y="405646"/>
                      <a:pt x="205005" y="404904"/>
                      <a:pt x="202777" y="404904"/>
                    </a:cubicBezTo>
                    <a:lnTo>
                      <a:pt x="101388" y="404904"/>
                    </a:lnTo>
                    <a:cubicBezTo>
                      <a:pt x="87461" y="404904"/>
                      <a:pt x="76041" y="416306"/>
                      <a:pt x="76041" y="430211"/>
                    </a:cubicBezTo>
                    <a:cubicBezTo>
                      <a:pt x="76041" y="444208"/>
                      <a:pt x="87461" y="455610"/>
                      <a:pt x="101388" y="455610"/>
                    </a:cubicBezTo>
                    <a:lnTo>
                      <a:pt x="202777" y="455610"/>
                    </a:lnTo>
                    <a:cubicBezTo>
                      <a:pt x="202777" y="516141"/>
                      <a:pt x="229517" y="570370"/>
                      <a:pt x="271855" y="607356"/>
                    </a:cubicBezTo>
                    <a:lnTo>
                      <a:pt x="55337" y="607356"/>
                    </a:lnTo>
                    <a:cubicBezTo>
                      <a:pt x="24883" y="607356"/>
                      <a:pt x="0" y="582606"/>
                      <a:pt x="0" y="552108"/>
                    </a:cubicBezTo>
                    <a:lnTo>
                      <a:pt x="0" y="105768"/>
                    </a:lnTo>
                    <a:cubicBezTo>
                      <a:pt x="0" y="75363"/>
                      <a:pt x="24790" y="50520"/>
                      <a:pt x="55337" y="50520"/>
                    </a:cubicBezTo>
                    <a:lnTo>
                      <a:pt x="126643" y="50520"/>
                    </a:lnTo>
                    <a:lnTo>
                      <a:pt x="126643" y="38562"/>
                    </a:lnTo>
                    <a:cubicBezTo>
                      <a:pt x="126643" y="17334"/>
                      <a:pt x="144005" y="0"/>
                      <a:pt x="165267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12700" cap="rnd">
                <a:noFill/>
                <a:prstDash val="solid"/>
                <a:round/>
                <a:headEnd/>
                <a:tailEnd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rmAutofit fontScale="92500" lnSpcReduction="1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 defTabSz="914354"/>
                <a:endParaRPr lang="zh-CN" altLang="en-US" sz="2000" b="1" dirty="0">
                  <a:solidFill>
                    <a:schemeClr val="bg1"/>
                  </a:solidFill>
                  <a:cs typeface="+mn-ea"/>
                  <a:sym typeface="+mn-lt"/>
                </a:endParaRPr>
              </a:p>
            </p:txBody>
          </p:sp>
        </p:grpSp>
        <p:cxnSp>
          <p:nvCxnSpPr>
            <p:cNvPr id="22" name="直接连接符 21">
              <a:extLst>
                <a:ext uri="{FF2B5EF4-FFF2-40B4-BE49-F238E27FC236}">
                  <a16:creationId xmlns:a16="http://schemas.microsoft.com/office/drawing/2014/main" id="{09B2409D-A973-45D4-B1F8-FF070284F64E}"/>
                </a:ext>
              </a:extLst>
            </p:cNvPr>
            <p:cNvCxnSpPr/>
            <p:nvPr/>
          </p:nvCxnSpPr>
          <p:spPr>
            <a:xfrm>
              <a:off x="4205007" y="1123950"/>
              <a:ext cx="0" cy="41630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直接连接符 22">
              <a:extLst>
                <a:ext uri="{FF2B5EF4-FFF2-40B4-BE49-F238E27FC236}">
                  <a16:creationId xmlns:a16="http://schemas.microsoft.com/office/drawing/2014/main" id="{ACE3A37F-54B1-464A-8CF0-B7E890E42CFE}"/>
                </a:ext>
              </a:extLst>
            </p:cNvPr>
            <p:cNvCxnSpPr/>
            <p:nvPr/>
          </p:nvCxnSpPr>
          <p:spPr>
            <a:xfrm>
              <a:off x="7976907" y="1123950"/>
              <a:ext cx="0" cy="4163077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prstDash val="dash"/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F5F91BB8-6AD3-421D-BA29-5846DEDFE90C}"/>
                </a:ext>
              </a:extLst>
            </p:cNvPr>
            <p:cNvSpPr/>
            <p:nvPr/>
          </p:nvSpPr>
          <p:spPr bwMode="auto">
            <a:xfrm>
              <a:off x="664706" y="3528626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76B30303-81C7-449A-9DC8-FC0368D750A9}"/>
                </a:ext>
              </a:extLst>
            </p:cNvPr>
            <p:cNvSpPr/>
            <p:nvPr/>
          </p:nvSpPr>
          <p:spPr bwMode="auto">
            <a:xfrm>
              <a:off x="4433602" y="3528626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CFEA618D-EC57-4F99-8D04-44C8FC4703B7}"/>
                </a:ext>
              </a:extLst>
            </p:cNvPr>
            <p:cNvSpPr/>
            <p:nvPr/>
          </p:nvSpPr>
          <p:spPr bwMode="auto">
            <a:xfrm>
              <a:off x="8202499" y="3528626"/>
              <a:ext cx="1557990" cy="9592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40" tIns="45720" rIns="91440" bIns="45720" anchor="t" anchorCtr="0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Supporting text </a:t>
              </a:r>
              <a:r>
                <a:rPr lang="en-US" altLang="zh-CN" sz="1100">
                  <a:cs typeface="+mn-ea"/>
                  <a:sym typeface="+mn-lt"/>
                </a:rPr>
                <a:t>here.</a:t>
              </a:r>
              <a:endParaRPr lang="en-US" altLang="zh-CN" sz="1100" dirty="0">
                <a:cs typeface="+mn-ea"/>
                <a:sym typeface="+mn-lt"/>
              </a:endParaRPr>
            </a:p>
            <a:p>
              <a:pPr algn="ctr">
                <a:lnSpc>
                  <a:spcPct val="150000"/>
                </a:lnSpc>
                <a:spcBef>
                  <a:spcPct val="0"/>
                </a:spcBef>
              </a:pPr>
              <a:r>
                <a:rPr lang="en-US" altLang="zh-CN" sz="1100" dirty="0">
                  <a:cs typeface="+mn-ea"/>
                  <a:sym typeface="+mn-lt"/>
                </a:rPr>
                <a:t>……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226453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1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37159738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4E17AF7-916C-4787-A178-98AA813EAA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BAAC88EE-0411-478E-A216-5912AE44B75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1F9EBEE-6C7A-496A-BB60-BDD23B547D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0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15946214-5895-4E81-AB74-DA6F0C746D5F}"/>
              </a:ext>
            </a:extLst>
          </p:cNvPr>
          <p:cNvGrpSpPr>
            <a:grpSpLocks noChangeAspect="1"/>
          </p:cNvGrpSpPr>
          <p:nvPr/>
        </p:nvGrpSpPr>
        <p:grpSpPr>
          <a:xfrm>
            <a:off x="669925" y="1997700"/>
            <a:ext cx="10850563" cy="3281700"/>
            <a:chOff x="669925" y="1997700"/>
            <a:chExt cx="10850563" cy="3281700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CE642368-8B48-46E7-8C11-1BCF5F7DA1AD}"/>
                </a:ext>
              </a:extLst>
            </p:cNvPr>
            <p:cNvGrpSpPr/>
            <p:nvPr/>
          </p:nvGrpSpPr>
          <p:grpSpPr>
            <a:xfrm>
              <a:off x="3501735" y="1997700"/>
              <a:ext cx="5217460" cy="3281700"/>
              <a:chOff x="3487270" y="1997700"/>
              <a:chExt cx="5217460" cy="3281700"/>
            </a:xfrm>
          </p:grpSpPr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30A5FB9A-1A89-4F3B-B0B9-285D97E2325E}"/>
                  </a:ext>
                </a:extLst>
              </p:cNvPr>
              <p:cNvSpPr/>
              <p:nvPr/>
            </p:nvSpPr>
            <p:spPr bwMode="auto">
              <a:xfrm rot="5400000">
                <a:off x="4445420" y="2928837"/>
                <a:ext cx="3243305" cy="1389172"/>
              </a:xfrm>
              <a:custGeom>
                <a:avLst/>
                <a:gdLst>
                  <a:gd name="T0" fmla="*/ 4048 w 18951"/>
                  <a:gd name="T1" fmla="*/ 8073 h 8108"/>
                  <a:gd name="T2" fmla="*/ 6858 w 18951"/>
                  <a:gd name="T3" fmla="*/ 6827 h 8108"/>
                  <a:gd name="T4" fmla="*/ 9502 w 18951"/>
                  <a:gd name="T5" fmla="*/ 5678 h 8108"/>
                  <a:gd name="T6" fmla="*/ 12204 w 18951"/>
                  <a:gd name="T7" fmla="*/ 6729 h 8108"/>
                  <a:gd name="T8" fmla="*/ 15058 w 18951"/>
                  <a:gd name="T9" fmla="*/ 7889 h 8108"/>
                  <a:gd name="T10" fmla="*/ 18903 w 18951"/>
                  <a:gd name="T11" fmla="*/ 3896 h 8108"/>
                  <a:gd name="T12" fmla="*/ 14903 w 18951"/>
                  <a:gd name="T13" fmla="*/ 44 h 8108"/>
                  <a:gd name="T14" fmla="*/ 12093 w 18951"/>
                  <a:gd name="T15" fmla="*/ 1290 h 8108"/>
                  <a:gd name="T16" fmla="*/ 9440 w 18951"/>
                  <a:gd name="T17" fmla="*/ 2430 h 8108"/>
                  <a:gd name="T18" fmla="*/ 6757 w 18951"/>
                  <a:gd name="T19" fmla="*/ 1379 h 8108"/>
                  <a:gd name="T20" fmla="*/ 3903 w 18951"/>
                  <a:gd name="T21" fmla="*/ 219 h 8108"/>
                  <a:gd name="T22" fmla="*/ 39 w 18951"/>
                  <a:gd name="T23" fmla="*/ 4212 h 8108"/>
                  <a:gd name="T24" fmla="*/ 4048 w 18951"/>
                  <a:gd name="T25" fmla="*/ 8073 h 8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951" h="8108">
                    <a:moveTo>
                      <a:pt x="4048" y="8073"/>
                    </a:moveTo>
                    <a:cubicBezTo>
                      <a:pt x="5162" y="8060"/>
                      <a:pt x="6154" y="7581"/>
                      <a:pt x="6858" y="6827"/>
                    </a:cubicBezTo>
                    <a:cubicBezTo>
                      <a:pt x="7527" y="6130"/>
                      <a:pt x="8454" y="5699"/>
                      <a:pt x="9502" y="5678"/>
                    </a:cubicBezTo>
                    <a:cubicBezTo>
                      <a:pt x="10551" y="5657"/>
                      <a:pt x="11496" y="6069"/>
                      <a:pt x="12204" y="6729"/>
                    </a:cubicBezTo>
                    <a:cubicBezTo>
                      <a:pt x="12932" y="7463"/>
                      <a:pt x="13944" y="7902"/>
                      <a:pt x="15058" y="7889"/>
                    </a:cubicBezTo>
                    <a:cubicBezTo>
                      <a:pt x="17220" y="7854"/>
                      <a:pt x="18951" y="6068"/>
                      <a:pt x="18903" y="3896"/>
                    </a:cubicBezTo>
                    <a:cubicBezTo>
                      <a:pt x="18865" y="1734"/>
                      <a:pt x="17075" y="0"/>
                      <a:pt x="14903" y="44"/>
                    </a:cubicBezTo>
                    <a:cubicBezTo>
                      <a:pt x="13789" y="57"/>
                      <a:pt x="12788" y="527"/>
                      <a:pt x="12093" y="1290"/>
                    </a:cubicBezTo>
                    <a:cubicBezTo>
                      <a:pt x="11425" y="1987"/>
                      <a:pt x="10479" y="2418"/>
                      <a:pt x="9440" y="2430"/>
                    </a:cubicBezTo>
                    <a:cubicBezTo>
                      <a:pt x="8410" y="2451"/>
                      <a:pt x="7455" y="2048"/>
                      <a:pt x="6757" y="1379"/>
                    </a:cubicBezTo>
                    <a:cubicBezTo>
                      <a:pt x="6029" y="644"/>
                      <a:pt x="5017" y="206"/>
                      <a:pt x="3903" y="219"/>
                    </a:cubicBezTo>
                    <a:cubicBezTo>
                      <a:pt x="1731" y="263"/>
                      <a:pt x="0" y="2049"/>
                      <a:pt x="39" y="4212"/>
                    </a:cubicBezTo>
                    <a:cubicBezTo>
                      <a:pt x="87" y="6383"/>
                      <a:pt x="1867" y="8108"/>
                      <a:pt x="4048" y="8073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wrap="square" lIns="91440" tIns="45720" rIns="91440" bIns="45720" rtlCol="0" anchor="b">
                <a:normAutofit/>
              </a:bodyPr>
              <a:lstStyle/>
              <a:p>
                <a:pPr algn="ctr" defTabSz="1219170"/>
                <a:endParaRPr lang="zh-CN" altLang="en-US" sz="2000" kern="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0" name="任意多边形: 形状 29">
                <a:extLst>
                  <a:ext uri="{FF2B5EF4-FFF2-40B4-BE49-F238E27FC236}">
                    <a16:creationId xmlns:a16="http://schemas.microsoft.com/office/drawing/2014/main" id="{66BD1059-A71F-4770-A8A4-4C78A5CAE734}"/>
                  </a:ext>
                </a:extLst>
              </p:cNvPr>
              <p:cNvSpPr/>
              <p:nvPr/>
            </p:nvSpPr>
            <p:spPr bwMode="auto">
              <a:xfrm>
                <a:off x="5461425" y="3890228"/>
                <a:ext cx="3243305" cy="1389172"/>
              </a:xfrm>
              <a:custGeom>
                <a:avLst/>
                <a:gdLst>
                  <a:gd name="T0" fmla="*/ 4048 w 18951"/>
                  <a:gd name="T1" fmla="*/ 8073 h 8108"/>
                  <a:gd name="T2" fmla="*/ 6858 w 18951"/>
                  <a:gd name="T3" fmla="*/ 6827 h 8108"/>
                  <a:gd name="T4" fmla="*/ 9502 w 18951"/>
                  <a:gd name="T5" fmla="*/ 5678 h 8108"/>
                  <a:gd name="T6" fmla="*/ 12204 w 18951"/>
                  <a:gd name="T7" fmla="*/ 6729 h 8108"/>
                  <a:gd name="T8" fmla="*/ 15058 w 18951"/>
                  <a:gd name="T9" fmla="*/ 7889 h 8108"/>
                  <a:gd name="T10" fmla="*/ 18903 w 18951"/>
                  <a:gd name="T11" fmla="*/ 3896 h 8108"/>
                  <a:gd name="T12" fmla="*/ 14903 w 18951"/>
                  <a:gd name="T13" fmla="*/ 44 h 8108"/>
                  <a:gd name="T14" fmla="*/ 12093 w 18951"/>
                  <a:gd name="T15" fmla="*/ 1290 h 8108"/>
                  <a:gd name="T16" fmla="*/ 9440 w 18951"/>
                  <a:gd name="T17" fmla="*/ 2430 h 8108"/>
                  <a:gd name="T18" fmla="*/ 6757 w 18951"/>
                  <a:gd name="T19" fmla="*/ 1379 h 8108"/>
                  <a:gd name="T20" fmla="*/ 3903 w 18951"/>
                  <a:gd name="T21" fmla="*/ 219 h 8108"/>
                  <a:gd name="T22" fmla="*/ 39 w 18951"/>
                  <a:gd name="T23" fmla="*/ 4212 h 8108"/>
                  <a:gd name="T24" fmla="*/ 4048 w 18951"/>
                  <a:gd name="T25" fmla="*/ 8073 h 8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951" h="8108">
                    <a:moveTo>
                      <a:pt x="4048" y="8073"/>
                    </a:moveTo>
                    <a:cubicBezTo>
                      <a:pt x="5162" y="8060"/>
                      <a:pt x="6154" y="7581"/>
                      <a:pt x="6858" y="6827"/>
                    </a:cubicBezTo>
                    <a:cubicBezTo>
                      <a:pt x="7527" y="6130"/>
                      <a:pt x="8454" y="5699"/>
                      <a:pt x="9502" y="5678"/>
                    </a:cubicBezTo>
                    <a:cubicBezTo>
                      <a:pt x="10551" y="5657"/>
                      <a:pt x="11496" y="6069"/>
                      <a:pt x="12204" y="6729"/>
                    </a:cubicBezTo>
                    <a:cubicBezTo>
                      <a:pt x="12932" y="7463"/>
                      <a:pt x="13944" y="7902"/>
                      <a:pt x="15058" y="7889"/>
                    </a:cubicBezTo>
                    <a:cubicBezTo>
                      <a:pt x="17220" y="7854"/>
                      <a:pt x="18951" y="6068"/>
                      <a:pt x="18903" y="3896"/>
                    </a:cubicBezTo>
                    <a:cubicBezTo>
                      <a:pt x="18865" y="1734"/>
                      <a:pt x="17075" y="0"/>
                      <a:pt x="14903" y="44"/>
                    </a:cubicBezTo>
                    <a:cubicBezTo>
                      <a:pt x="13789" y="57"/>
                      <a:pt x="12788" y="527"/>
                      <a:pt x="12093" y="1290"/>
                    </a:cubicBezTo>
                    <a:cubicBezTo>
                      <a:pt x="11425" y="1987"/>
                      <a:pt x="10479" y="2418"/>
                      <a:pt x="9440" y="2430"/>
                    </a:cubicBezTo>
                    <a:cubicBezTo>
                      <a:pt x="8410" y="2451"/>
                      <a:pt x="7455" y="2048"/>
                      <a:pt x="6757" y="1379"/>
                    </a:cubicBezTo>
                    <a:cubicBezTo>
                      <a:pt x="6029" y="644"/>
                      <a:pt x="5017" y="206"/>
                      <a:pt x="3903" y="219"/>
                    </a:cubicBezTo>
                    <a:cubicBezTo>
                      <a:pt x="1731" y="263"/>
                      <a:pt x="0" y="2049"/>
                      <a:pt x="39" y="4212"/>
                    </a:cubicBezTo>
                    <a:cubicBezTo>
                      <a:pt x="87" y="6383"/>
                      <a:pt x="1867" y="8108"/>
                      <a:pt x="4048" y="8073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wrap="square" lIns="91440" tIns="45720" rIns="91440" bIns="45720" rtlCol="0" anchor="b">
                <a:normAutofit/>
              </a:bodyPr>
              <a:lstStyle/>
              <a:p>
                <a:pPr algn="ctr" defTabSz="1219170"/>
                <a:endParaRPr lang="zh-CN" altLang="en-US" sz="2000" kern="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72ABA90B-BCB5-416E-A1D9-A0B0C159AED7}"/>
                  </a:ext>
                </a:extLst>
              </p:cNvPr>
              <p:cNvSpPr/>
              <p:nvPr/>
            </p:nvSpPr>
            <p:spPr bwMode="auto">
              <a:xfrm>
                <a:off x="3487270" y="1997700"/>
                <a:ext cx="3243305" cy="1389172"/>
              </a:xfrm>
              <a:custGeom>
                <a:avLst/>
                <a:gdLst>
                  <a:gd name="T0" fmla="*/ 4048 w 18951"/>
                  <a:gd name="T1" fmla="*/ 8073 h 8108"/>
                  <a:gd name="T2" fmla="*/ 6858 w 18951"/>
                  <a:gd name="T3" fmla="*/ 6827 h 8108"/>
                  <a:gd name="T4" fmla="*/ 9502 w 18951"/>
                  <a:gd name="T5" fmla="*/ 5678 h 8108"/>
                  <a:gd name="T6" fmla="*/ 12204 w 18951"/>
                  <a:gd name="T7" fmla="*/ 6729 h 8108"/>
                  <a:gd name="T8" fmla="*/ 15058 w 18951"/>
                  <a:gd name="T9" fmla="*/ 7889 h 8108"/>
                  <a:gd name="T10" fmla="*/ 18903 w 18951"/>
                  <a:gd name="T11" fmla="*/ 3896 h 8108"/>
                  <a:gd name="T12" fmla="*/ 14903 w 18951"/>
                  <a:gd name="T13" fmla="*/ 44 h 8108"/>
                  <a:gd name="T14" fmla="*/ 12093 w 18951"/>
                  <a:gd name="T15" fmla="*/ 1290 h 8108"/>
                  <a:gd name="T16" fmla="*/ 9440 w 18951"/>
                  <a:gd name="T17" fmla="*/ 2430 h 8108"/>
                  <a:gd name="T18" fmla="*/ 6757 w 18951"/>
                  <a:gd name="T19" fmla="*/ 1379 h 8108"/>
                  <a:gd name="T20" fmla="*/ 3903 w 18951"/>
                  <a:gd name="T21" fmla="*/ 219 h 8108"/>
                  <a:gd name="T22" fmla="*/ 39 w 18951"/>
                  <a:gd name="T23" fmla="*/ 4212 h 8108"/>
                  <a:gd name="T24" fmla="*/ 4048 w 18951"/>
                  <a:gd name="T25" fmla="*/ 8073 h 8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8951" h="8108">
                    <a:moveTo>
                      <a:pt x="4048" y="8073"/>
                    </a:moveTo>
                    <a:cubicBezTo>
                      <a:pt x="5162" y="8060"/>
                      <a:pt x="6154" y="7581"/>
                      <a:pt x="6858" y="6827"/>
                    </a:cubicBezTo>
                    <a:cubicBezTo>
                      <a:pt x="7527" y="6130"/>
                      <a:pt x="8454" y="5699"/>
                      <a:pt x="9502" y="5678"/>
                    </a:cubicBezTo>
                    <a:cubicBezTo>
                      <a:pt x="10551" y="5657"/>
                      <a:pt x="11496" y="6069"/>
                      <a:pt x="12204" y="6729"/>
                    </a:cubicBezTo>
                    <a:cubicBezTo>
                      <a:pt x="12932" y="7463"/>
                      <a:pt x="13944" y="7902"/>
                      <a:pt x="15058" y="7889"/>
                    </a:cubicBezTo>
                    <a:cubicBezTo>
                      <a:pt x="17220" y="7854"/>
                      <a:pt x="18951" y="6068"/>
                      <a:pt x="18903" y="3896"/>
                    </a:cubicBezTo>
                    <a:cubicBezTo>
                      <a:pt x="18865" y="1734"/>
                      <a:pt x="17075" y="0"/>
                      <a:pt x="14903" y="44"/>
                    </a:cubicBezTo>
                    <a:cubicBezTo>
                      <a:pt x="13789" y="57"/>
                      <a:pt x="12788" y="527"/>
                      <a:pt x="12093" y="1290"/>
                    </a:cubicBezTo>
                    <a:cubicBezTo>
                      <a:pt x="11425" y="1987"/>
                      <a:pt x="10479" y="2418"/>
                      <a:pt x="9440" y="2430"/>
                    </a:cubicBezTo>
                    <a:cubicBezTo>
                      <a:pt x="8410" y="2451"/>
                      <a:pt x="7455" y="2048"/>
                      <a:pt x="6757" y="1379"/>
                    </a:cubicBezTo>
                    <a:cubicBezTo>
                      <a:pt x="6029" y="644"/>
                      <a:pt x="5017" y="206"/>
                      <a:pt x="3903" y="219"/>
                    </a:cubicBezTo>
                    <a:cubicBezTo>
                      <a:pt x="1731" y="263"/>
                      <a:pt x="0" y="2049"/>
                      <a:pt x="39" y="4212"/>
                    </a:cubicBezTo>
                    <a:cubicBezTo>
                      <a:pt x="87" y="6383"/>
                      <a:pt x="1867" y="8108"/>
                      <a:pt x="4048" y="8073"/>
                    </a:cubicBezTo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12700" cap="flat" cmpd="sng" algn="ctr">
                <a:noFill/>
                <a:prstDash val="solid"/>
              </a:ln>
              <a:effectLst/>
            </p:spPr>
            <p:txBody>
              <a:bodyPr wrap="square" lIns="91440" tIns="45720" rIns="91440" bIns="45720" rtlCol="0" anchor="b">
                <a:normAutofit/>
              </a:bodyPr>
              <a:lstStyle/>
              <a:p>
                <a:pPr algn="ctr" defTabSz="1219170"/>
                <a:endParaRPr lang="zh-CN" altLang="en-US" sz="2000" kern="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grpSp>
            <p:nvGrpSpPr>
              <p:cNvPr id="32" name="组合 31">
                <a:extLst>
                  <a:ext uri="{FF2B5EF4-FFF2-40B4-BE49-F238E27FC236}">
                    <a16:creationId xmlns:a16="http://schemas.microsoft.com/office/drawing/2014/main" id="{0EF1612F-2929-41F1-8DBD-6F4A9B92EA3E}"/>
                  </a:ext>
                </a:extLst>
              </p:cNvPr>
              <p:cNvGrpSpPr/>
              <p:nvPr/>
            </p:nvGrpSpPr>
            <p:grpSpPr>
              <a:xfrm>
                <a:off x="3528743" y="2061589"/>
                <a:ext cx="1261393" cy="1261393"/>
                <a:chOff x="3222096" y="1909333"/>
                <a:chExt cx="1404000" cy="1404000"/>
              </a:xfrm>
            </p:grpSpPr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8B271CB3-BAB5-4755-922E-156087ED57C4}"/>
                    </a:ext>
                  </a:extLst>
                </p:cNvPr>
                <p:cNvSpPr/>
                <p:nvPr/>
              </p:nvSpPr>
              <p:spPr bwMode="auto">
                <a:xfrm>
                  <a:off x="3222096" y="1909333"/>
                  <a:ext cx="1404000" cy="1404000"/>
                </a:xfrm>
                <a:custGeom>
                  <a:avLst/>
                  <a:gdLst>
                    <a:gd name="T0" fmla="*/ 99 w 562"/>
                    <a:gd name="T1" fmla="*/ 461 h 562"/>
                    <a:gd name="T2" fmla="*/ 100 w 562"/>
                    <a:gd name="T3" fmla="*/ 99 h 562"/>
                    <a:gd name="T4" fmla="*/ 462 w 562"/>
                    <a:gd name="T5" fmla="*/ 101 h 562"/>
                    <a:gd name="T6" fmla="*/ 461 w 562"/>
                    <a:gd name="T7" fmla="*/ 462 h 562"/>
                    <a:gd name="T8" fmla="*/ 99 w 562"/>
                    <a:gd name="T9" fmla="*/ 461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2" h="562">
                      <a:moveTo>
                        <a:pt x="99" y="461"/>
                      </a:moveTo>
                      <a:cubicBezTo>
                        <a:pt x="0" y="361"/>
                        <a:pt x="0" y="199"/>
                        <a:pt x="100" y="99"/>
                      </a:cubicBezTo>
                      <a:cubicBezTo>
                        <a:pt x="200" y="0"/>
                        <a:pt x="362" y="0"/>
                        <a:pt x="462" y="101"/>
                      </a:cubicBezTo>
                      <a:cubicBezTo>
                        <a:pt x="562" y="201"/>
                        <a:pt x="561" y="363"/>
                        <a:pt x="461" y="462"/>
                      </a:cubicBezTo>
                      <a:cubicBezTo>
                        <a:pt x="361" y="562"/>
                        <a:pt x="199" y="561"/>
                        <a:pt x="99" y="4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en-US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任意多边形: 形状 42">
                  <a:extLst>
                    <a:ext uri="{FF2B5EF4-FFF2-40B4-BE49-F238E27FC236}">
                      <a16:creationId xmlns:a16="http://schemas.microsoft.com/office/drawing/2014/main" id="{065C0367-069A-4397-9F7D-70BF4B6DCD22}"/>
                    </a:ext>
                  </a:extLst>
                </p:cNvPr>
                <p:cNvSpPr/>
                <p:nvPr/>
              </p:nvSpPr>
              <p:spPr bwMode="auto">
                <a:xfrm>
                  <a:off x="3698792" y="2364287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/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3" name="组合 32">
                <a:extLst>
                  <a:ext uri="{FF2B5EF4-FFF2-40B4-BE49-F238E27FC236}">
                    <a16:creationId xmlns:a16="http://schemas.microsoft.com/office/drawing/2014/main" id="{F09211F0-7B99-4415-803F-52946041069C}"/>
                  </a:ext>
                </a:extLst>
              </p:cNvPr>
              <p:cNvGrpSpPr/>
              <p:nvPr/>
            </p:nvGrpSpPr>
            <p:grpSpPr>
              <a:xfrm>
                <a:off x="5436375" y="2061589"/>
                <a:ext cx="1261393" cy="1261393"/>
                <a:chOff x="5335492" y="1864674"/>
                <a:chExt cx="1404000" cy="1404000"/>
              </a:xfrm>
            </p:grpSpPr>
            <p:sp>
              <p:nvSpPr>
                <p:cNvPr id="40" name="任意多边形: 形状 39">
                  <a:extLst>
                    <a:ext uri="{FF2B5EF4-FFF2-40B4-BE49-F238E27FC236}">
                      <a16:creationId xmlns:a16="http://schemas.microsoft.com/office/drawing/2014/main" id="{FD7AB1E6-AB75-417B-BB2E-53C5E736F461}"/>
                    </a:ext>
                  </a:extLst>
                </p:cNvPr>
                <p:cNvSpPr/>
                <p:nvPr/>
              </p:nvSpPr>
              <p:spPr bwMode="auto">
                <a:xfrm>
                  <a:off x="5335492" y="1864674"/>
                  <a:ext cx="1404000" cy="1404000"/>
                </a:xfrm>
                <a:custGeom>
                  <a:avLst/>
                  <a:gdLst>
                    <a:gd name="T0" fmla="*/ 100 w 562"/>
                    <a:gd name="T1" fmla="*/ 100 h 561"/>
                    <a:gd name="T2" fmla="*/ 461 w 562"/>
                    <a:gd name="T3" fmla="*/ 100 h 561"/>
                    <a:gd name="T4" fmla="*/ 462 w 562"/>
                    <a:gd name="T5" fmla="*/ 461 h 561"/>
                    <a:gd name="T6" fmla="*/ 101 w 562"/>
                    <a:gd name="T7" fmla="*/ 462 h 561"/>
                    <a:gd name="T8" fmla="*/ 100 w 562"/>
                    <a:gd name="T9" fmla="*/ 100 h 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2" h="561">
                      <a:moveTo>
                        <a:pt x="100" y="100"/>
                      </a:moveTo>
                      <a:cubicBezTo>
                        <a:pt x="199" y="1"/>
                        <a:pt x="361" y="0"/>
                        <a:pt x="461" y="100"/>
                      </a:cubicBezTo>
                      <a:cubicBezTo>
                        <a:pt x="561" y="199"/>
                        <a:pt x="562" y="361"/>
                        <a:pt x="462" y="461"/>
                      </a:cubicBezTo>
                      <a:cubicBezTo>
                        <a:pt x="363" y="561"/>
                        <a:pt x="201" y="561"/>
                        <a:pt x="101" y="462"/>
                      </a:cubicBezTo>
                      <a:cubicBezTo>
                        <a:pt x="1" y="362"/>
                        <a:pt x="0" y="200"/>
                        <a:pt x="100" y="1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en-US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153DB773-669A-4E67-A037-4CA6F0D0165A}"/>
                    </a:ext>
                  </a:extLst>
                </p:cNvPr>
                <p:cNvSpPr/>
                <p:nvPr/>
              </p:nvSpPr>
              <p:spPr bwMode="auto">
                <a:xfrm>
                  <a:off x="5812188" y="2319628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4" name="组合 33">
                <a:extLst>
                  <a:ext uri="{FF2B5EF4-FFF2-40B4-BE49-F238E27FC236}">
                    <a16:creationId xmlns:a16="http://schemas.microsoft.com/office/drawing/2014/main" id="{2B25A055-422A-4EEA-B9AE-F9CD6F56F184}"/>
                  </a:ext>
                </a:extLst>
              </p:cNvPr>
              <p:cNvGrpSpPr/>
              <p:nvPr/>
            </p:nvGrpSpPr>
            <p:grpSpPr>
              <a:xfrm>
                <a:off x="5506778" y="3954117"/>
                <a:ext cx="1261393" cy="1261393"/>
                <a:chOff x="5275427" y="3960562"/>
                <a:chExt cx="1404000" cy="1404000"/>
              </a:xfrm>
            </p:grpSpPr>
            <p:sp>
              <p:nvSpPr>
                <p:cNvPr id="38" name="任意多边形: 形状 37">
                  <a:extLst>
                    <a:ext uri="{FF2B5EF4-FFF2-40B4-BE49-F238E27FC236}">
                      <a16:creationId xmlns:a16="http://schemas.microsoft.com/office/drawing/2014/main" id="{A3A5F7CD-F2DA-4EF7-9E14-108DB2465517}"/>
                    </a:ext>
                  </a:extLst>
                </p:cNvPr>
                <p:cNvSpPr/>
                <p:nvPr/>
              </p:nvSpPr>
              <p:spPr bwMode="auto">
                <a:xfrm>
                  <a:off x="5275427" y="3960562"/>
                  <a:ext cx="1404000" cy="1404000"/>
                </a:xfrm>
                <a:custGeom>
                  <a:avLst/>
                  <a:gdLst>
                    <a:gd name="T0" fmla="*/ 99 w 562"/>
                    <a:gd name="T1" fmla="*/ 461 h 562"/>
                    <a:gd name="T2" fmla="*/ 100 w 562"/>
                    <a:gd name="T3" fmla="*/ 99 h 562"/>
                    <a:gd name="T4" fmla="*/ 462 w 562"/>
                    <a:gd name="T5" fmla="*/ 101 h 562"/>
                    <a:gd name="T6" fmla="*/ 461 w 562"/>
                    <a:gd name="T7" fmla="*/ 462 h 562"/>
                    <a:gd name="T8" fmla="*/ 99 w 562"/>
                    <a:gd name="T9" fmla="*/ 461 h 5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2" h="562">
                      <a:moveTo>
                        <a:pt x="99" y="461"/>
                      </a:moveTo>
                      <a:cubicBezTo>
                        <a:pt x="0" y="361"/>
                        <a:pt x="0" y="199"/>
                        <a:pt x="100" y="99"/>
                      </a:cubicBezTo>
                      <a:cubicBezTo>
                        <a:pt x="200" y="0"/>
                        <a:pt x="362" y="0"/>
                        <a:pt x="462" y="101"/>
                      </a:cubicBezTo>
                      <a:cubicBezTo>
                        <a:pt x="562" y="201"/>
                        <a:pt x="561" y="363"/>
                        <a:pt x="461" y="462"/>
                      </a:cubicBezTo>
                      <a:cubicBezTo>
                        <a:pt x="361" y="562"/>
                        <a:pt x="199" y="561"/>
                        <a:pt x="99" y="461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en-US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9" name="任意多边形: 形状 38">
                  <a:extLst>
                    <a:ext uri="{FF2B5EF4-FFF2-40B4-BE49-F238E27FC236}">
                      <a16:creationId xmlns:a16="http://schemas.microsoft.com/office/drawing/2014/main" id="{D874702A-C6BD-45BA-BB56-FCBBF445BF5C}"/>
                    </a:ext>
                  </a:extLst>
                </p:cNvPr>
                <p:cNvSpPr/>
                <p:nvPr/>
              </p:nvSpPr>
              <p:spPr bwMode="auto">
                <a:xfrm>
                  <a:off x="5752123" y="4415516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  <p:grpSp>
            <p:nvGrpSpPr>
              <p:cNvPr id="35" name="组合 34">
                <a:extLst>
                  <a:ext uri="{FF2B5EF4-FFF2-40B4-BE49-F238E27FC236}">
                    <a16:creationId xmlns:a16="http://schemas.microsoft.com/office/drawing/2014/main" id="{F23D3786-232F-48E4-82AF-9B931E71AAB4}"/>
                  </a:ext>
                </a:extLst>
              </p:cNvPr>
              <p:cNvGrpSpPr/>
              <p:nvPr/>
            </p:nvGrpSpPr>
            <p:grpSpPr>
              <a:xfrm>
                <a:off x="7385481" y="3954117"/>
                <a:ext cx="1261393" cy="1261393"/>
                <a:chOff x="7375316" y="4004526"/>
                <a:chExt cx="1404000" cy="1404000"/>
              </a:xfrm>
            </p:grpSpPr>
            <p:sp>
              <p:nvSpPr>
                <p:cNvPr id="36" name="任意多边形: 形状 35">
                  <a:extLst>
                    <a:ext uri="{FF2B5EF4-FFF2-40B4-BE49-F238E27FC236}">
                      <a16:creationId xmlns:a16="http://schemas.microsoft.com/office/drawing/2014/main" id="{81FBB96A-BDB3-4A58-BBAB-2044D10E1E0B}"/>
                    </a:ext>
                  </a:extLst>
                </p:cNvPr>
                <p:cNvSpPr/>
                <p:nvPr/>
              </p:nvSpPr>
              <p:spPr bwMode="auto">
                <a:xfrm>
                  <a:off x="7375316" y="4004526"/>
                  <a:ext cx="1404000" cy="1404000"/>
                </a:xfrm>
                <a:custGeom>
                  <a:avLst/>
                  <a:gdLst>
                    <a:gd name="T0" fmla="*/ 99 w 561"/>
                    <a:gd name="T1" fmla="*/ 100 h 561"/>
                    <a:gd name="T2" fmla="*/ 460 w 561"/>
                    <a:gd name="T3" fmla="*/ 100 h 561"/>
                    <a:gd name="T4" fmla="*/ 461 w 561"/>
                    <a:gd name="T5" fmla="*/ 461 h 561"/>
                    <a:gd name="T6" fmla="*/ 100 w 561"/>
                    <a:gd name="T7" fmla="*/ 461 h 561"/>
                    <a:gd name="T8" fmla="*/ 99 w 561"/>
                    <a:gd name="T9" fmla="*/ 100 h 56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61" h="561">
                      <a:moveTo>
                        <a:pt x="99" y="100"/>
                      </a:moveTo>
                      <a:cubicBezTo>
                        <a:pt x="199" y="0"/>
                        <a:pt x="360" y="0"/>
                        <a:pt x="460" y="100"/>
                      </a:cubicBezTo>
                      <a:cubicBezTo>
                        <a:pt x="560" y="199"/>
                        <a:pt x="561" y="361"/>
                        <a:pt x="461" y="461"/>
                      </a:cubicBezTo>
                      <a:cubicBezTo>
                        <a:pt x="362" y="561"/>
                        <a:pt x="200" y="561"/>
                        <a:pt x="100" y="461"/>
                      </a:cubicBezTo>
                      <a:cubicBezTo>
                        <a:pt x="0" y="362"/>
                        <a:pt x="0" y="200"/>
                        <a:pt x="99" y="1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15875" cap="flat">
                  <a:noFill/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ctr" anchorCtr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endParaRPr lang="ru-RU" sz="2800" dirty="0">
                    <a:solidFill>
                      <a:schemeClr val="bg1"/>
                    </a:solidFill>
                    <a:cs typeface="+mn-ea"/>
                    <a:sym typeface="+mn-lt"/>
                  </a:endParaRPr>
                </a:p>
              </p:txBody>
            </p:sp>
            <p:sp>
              <p:nvSpPr>
                <p:cNvPr id="37" name="任意多边形: 形状 36">
                  <a:extLst>
                    <a:ext uri="{FF2B5EF4-FFF2-40B4-BE49-F238E27FC236}">
                      <a16:creationId xmlns:a16="http://schemas.microsoft.com/office/drawing/2014/main" id="{6389AE64-064A-495C-803D-5838C6DAE203}"/>
                    </a:ext>
                  </a:extLst>
                </p:cNvPr>
                <p:cNvSpPr/>
                <p:nvPr/>
              </p:nvSpPr>
              <p:spPr bwMode="auto">
                <a:xfrm>
                  <a:off x="7852012" y="4459480"/>
                  <a:ext cx="450609" cy="494092"/>
                </a:xfrm>
                <a:custGeom>
                  <a:avLst/>
                  <a:gdLst>
                    <a:gd name="connsiteX0" fmla="*/ 130776 w 510187"/>
                    <a:gd name="connsiteY0" fmla="*/ 398252 h 559418"/>
                    <a:gd name="connsiteX1" fmla="*/ 180826 w 510187"/>
                    <a:gd name="connsiteY1" fmla="*/ 398252 h 559418"/>
                    <a:gd name="connsiteX2" fmla="*/ 195356 w 510187"/>
                    <a:gd name="connsiteY2" fmla="*/ 420815 h 559418"/>
                    <a:gd name="connsiteX3" fmla="*/ 140463 w 510187"/>
                    <a:gd name="connsiteY3" fmla="*/ 420815 h 559418"/>
                    <a:gd name="connsiteX4" fmla="*/ 48435 w 510187"/>
                    <a:gd name="connsiteY4" fmla="*/ 535243 h 559418"/>
                    <a:gd name="connsiteX5" fmla="*/ 461752 w 510187"/>
                    <a:gd name="connsiteY5" fmla="*/ 535243 h 559418"/>
                    <a:gd name="connsiteX6" fmla="*/ 369724 w 510187"/>
                    <a:gd name="connsiteY6" fmla="*/ 420815 h 559418"/>
                    <a:gd name="connsiteX7" fmla="*/ 316445 w 510187"/>
                    <a:gd name="connsiteY7" fmla="*/ 420815 h 559418"/>
                    <a:gd name="connsiteX8" fmla="*/ 329361 w 510187"/>
                    <a:gd name="connsiteY8" fmla="*/ 398252 h 559418"/>
                    <a:gd name="connsiteX9" fmla="*/ 381026 w 510187"/>
                    <a:gd name="connsiteY9" fmla="*/ 398252 h 559418"/>
                    <a:gd name="connsiteX10" fmla="*/ 510187 w 510187"/>
                    <a:gd name="connsiteY10" fmla="*/ 559418 h 559418"/>
                    <a:gd name="connsiteX11" fmla="*/ 0 w 510187"/>
                    <a:gd name="connsiteY11" fmla="*/ 559418 h 559418"/>
                    <a:gd name="connsiteX12" fmla="*/ 254964 w 510187"/>
                    <a:gd name="connsiteY12" fmla="*/ 79000 h 559418"/>
                    <a:gd name="connsiteX13" fmla="*/ 175836 w 510187"/>
                    <a:gd name="connsiteY13" fmla="*/ 159612 h 559418"/>
                    <a:gd name="connsiteX14" fmla="*/ 254964 w 510187"/>
                    <a:gd name="connsiteY14" fmla="*/ 238611 h 559418"/>
                    <a:gd name="connsiteX15" fmla="*/ 335706 w 510187"/>
                    <a:gd name="connsiteY15" fmla="*/ 159612 h 559418"/>
                    <a:gd name="connsiteX16" fmla="*/ 254964 w 510187"/>
                    <a:gd name="connsiteY16" fmla="*/ 79000 h 559418"/>
                    <a:gd name="connsiteX17" fmla="*/ 254964 w 510187"/>
                    <a:gd name="connsiteY17" fmla="*/ 0 h 559418"/>
                    <a:gd name="connsiteX18" fmla="*/ 414834 w 510187"/>
                    <a:gd name="connsiteY18" fmla="*/ 159612 h 559418"/>
                    <a:gd name="connsiteX19" fmla="*/ 254964 w 510187"/>
                    <a:gd name="connsiteY19" fmla="*/ 478835 h 559418"/>
                    <a:gd name="connsiteX20" fmla="*/ 95093 w 510187"/>
                    <a:gd name="connsiteY20" fmla="*/ 159612 h 559418"/>
                    <a:gd name="connsiteX21" fmla="*/ 254964 w 510187"/>
                    <a:gd name="connsiteY21" fmla="*/ 0 h 5594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510187" h="559418">
                      <a:moveTo>
                        <a:pt x="130776" y="398252"/>
                      </a:moveTo>
                      <a:lnTo>
                        <a:pt x="180826" y="398252"/>
                      </a:lnTo>
                      <a:cubicBezTo>
                        <a:pt x="185669" y="404699"/>
                        <a:pt x="190513" y="412757"/>
                        <a:pt x="195356" y="420815"/>
                      </a:cubicBezTo>
                      <a:lnTo>
                        <a:pt x="140463" y="420815"/>
                      </a:lnTo>
                      <a:lnTo>
                        <a:pt x="48435" y="535243"/>
                      </a:lnTo>
                      <a:lnTo>
                        <a:pt x="461752" y="535243"/>
                      </a:lnTo>
                      <a:lnTo>
                        <a:pt x="369724" y="420815"/>
                      </a:lnTo>
                      <a:lnTo>
                        <a:pt x="316445" y="420815"/>
                      </a:lnTo>
                      <a:cubicBezTo>
                        <a:pt x="319674" y="412757"/>
                        <a:pt x="324518" y="404699"/>
                        <a:pt x="329361" y="398252"/>
                      </a:cubicBezTo>
                      <a:lnTo>
                        <a:pt x="381026" y="398252"/>
                      </a:lnTo>
                      <a:lnTo>
                        <a:pt x="510187" y="559418"/>
                      </a:lnTo>
                      <a:lnTo>
                        <a:pt x="0" y="559418"/>
                      </a:lnTo>
                      <a:close/>
                      <a:moveTo>
                        <a:pt x="254964" y="79000"/>
                      </a:moveTo>
                      <a:cubicBezTo>
                        <a:pt x="211363" y="79000"/>
                        <a:pt x="175836" y="116081"/>
                        <a:pt x="175836" y="159612"/>
                      </a:cubicBezTo>
                      <a:cubicBezTo>
                        <a:pt x="175836" y="203142"/>
                        <a:pt x="211363" y="238611"/>
                        <a:pt x="254964" y="238611"/>
                      </a:cubicBezTo>
                      <a:cubicBezTo>
                        <a:pt x="300179" y="238611"/>
                        <a:pt x="335706" y="203142"/>
                        <a:pt x="335706" y="159612"/>
                      </a:cubicBezTo>
                      <a:cubicBezTo>
                        <a:pt x="335706" y="116081"/>
                        <a:pt x="300179" y="79000"/>
                        <a:pt x="254964" y="79000"/>
                      </a:cubicBezTo>
                      <a:close/>
                      <a:moveTo>
                        <a:pt x="254964" y="0"/>
                      </a:moveTo>
                      <a:cubicBezTo>
                        <a:pt x="343781" y="0"/>
                        <a:pt x="414834" y="70939"/>
                        <a:pt x="414834" y="159612"/>
                      </a:cubicBezTo>
                      <a:cubicBezTo>
                        <a:pt x="414834" y="246673"/>
                        <a:pt x="254964" y="478835"/>
                        <a:pt x="254964" y="478835"/>
                      </a:cubicBezTo>
                      <a:cubicBezTo>
                        <a:pt x="254964" y="478835"/>
                        <a:pt x="95093" y="246673"/>
                        <a:pt x="95093" y="159612"/>
                      </a:cubicBezTo>
                      <a:cubicBezTo>
                        <a:pt x="95093" y="70939"/>
                        <a:pt x="167761" y="0"/>
                        <a:pt x="254964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wrap="square" lIns="91440" tIns="45720" rIns="91440" bIns="4572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endParaRPr lang="zh-CN" altLang="en-US">
                    <a:cs typeface="+mn-ea"/>
                    <a:sym typeface="+mn-lt"/>
                  </a:endParaRPr>
                </a:p>
              </p:txBody>
            </p:sp>
          </p:grpSp>
        </p:grp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1618638" y="2326876"/>
              <a:ext cx="1684618" cy="1005914"/>
              <a:chOff x="9672575" y="1647223"/>
              <a:chExt cx="1846325" cy="1005914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文本框 27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3596673" y="4187613"/>
              <a:ext cx="1684618" cy="1005914"/>
              <a:chOff x="9672575" y="1647223"/>
              <a:chExt cx="1846325" cy="1005914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6939638" y="2189328"/>
              <a:ext cx="1684618" cy="1005914"/>
              <a:chOff x="9672575" y="1647223"/>
              <a:chExt cx="1846325" cy="1005914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4" name="文本框 23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8888744" y="4143471"/>
              <a:ext cx="1684618" cy="1005914"/>
              <a:chOff x="9672575" y="1647223"/>
              <a:chExt cx="1846325" cy="1005914"/>
            </a:xfrm>
          </p:grpSpPr>
          <p:sp>
            <p:nvSpPr>
              <p:cNvPr id="21" name="矩形 20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2" name="文本框 21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cxnSp>
          <p:nvCxnSpPr>
            <p:cNvPr id="11" name="直接连接符 10">
              <a:extLst>
                <a:ext uri="{FF2B5EF4-FFF2-40B4-BE49-F238E27FC236}">
                  <a16:creationId xmlns:a16="http://schemas.microsoft.com/office/drawing/2014/main" id="{F02AEE98-DA7A-47E4-ACAE-EB29CA0218E7}"/>
                </a:ext>
              </a:extLst>
            </p:cNvPr>
            <p:cNvCxnSpPr>
              <a:stCxn id="29" idx="10"/>
            </p:cNvCxnSpPr>
            <p:nvPr/>
          </p:nvCxnSpPr>
          <p:spPr>
            <a:xfrm flipV="1">
              <a:off x="6738602" y="2599516"/>
              <a:ext cx="4781886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11">
              <a:extLst>
                <a:ext uri="{FF2B5EF4-FFF2-40B4-BE49-F238E27FC236}">
                  <a16:creationId xmlns:a16="http://schemas.microsoft.com/office/drawing/2014/main" id="{65B0D39F-5ECF-43BC-8938-3D78DF7CE863}"/>
                </a:ext>
              </a:extLst>
            </p:cNvPr>
            <p:cNvCxnSpPr>
              <a:stCxn id="31" idx="11"/>
            </p:cNvCxnSpPr>
            <p:nvPr/>
          </p:nvCxnSpPr>
          <p:spPr>
            <a:xfrm flipH="1">
              <a:off x="669925" y="2719357"/>
              <a:ext cx="2838485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4EA060C5-016A-43B0-9695-150FDAF4BA1B}"/>
                </a:ext>
              </a:extLst>
            </p:cNvPr>
            <p:cNvCxnSpPr>
              <a:stCxn id="30" idx="5"/>
            </p:cNvCxnSpPr>
            <p:nvPr/>
          </p:nvCxnSpPr>
          <p:spPr>
            <a:xfrm>
              <a:off x="8710980" y="4557743"/>
              <a:ext cx="2809508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22E1DB42-CF99-41B1-B02D-6CAE4023DDA4}"/>
                </a:ext>
              </a:extLst>
            </p:cNvPr>
            <p:cNvCxnSpPr>
              <a:stCxn id="29" idx="4"/>
            </p:cNvCxnSpPr>
            <p:nvPr/>
          </p:nvCxnSpPr>
          <p:spPr>
            <a:xfrm flipH="1" flipV="1">
              <a:off x="669925" y="4563035"/>
              <a:ext cx="4754549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1618638" y="4187613"/>
              <a:ext cx="1684618" cy="1005914"/>
              <a:chOff x="9672575" y="1647223"/>
              <a:chExt cx="1846325" cy="1005914"/>
            </a:xfrm>
          </p:grpSpPr>
          <p:sp>
            <p:nvSpPr>
              <p:cNvPr id="19" name="矩形 18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0" name="文本框 19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 algn="r"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980FD87-86F8-4A8B-B4CE-A91C9D530B23}"/>
                </a:ext>
              </a:extLst>
            </p:cNvPr>
            <p:cNvGrpSpPr/>
            <p:nvPr/>
          </p:nvGrpSpPr>
          <p:grpSpPr>
            <a:xfrm>
              <a:off x="8888744" y="2189328"/>
              <a:ext cx="1684618" cy="1005914"/>
              <a:chOff x="9672575" y="1647223"/>
              <a:chExt cx="1846325" cy="1005914"/>
            </a:xfrm>
          </p:grpSpPr>
          <p:sp>
            <p:nvSpPr>
              <p:cNvPr id="17" name="矩形 16">
                <a:extLst>
                  <a:ext uri="{FF2B5EF4-FFF2-40B4-BE49-F238E27FC236}">
                    <a16:creationId xmlns:a16="http://schemas.microsoft.com/office/drawing/2014/main" id="{A7080648-3EB5-4B3E-8FF4-5AE8463C8157}"/>
                  </a:ext>
                </a:extLst>
              </p:cNvPr>
              <p:cNvSpPr/>
              <p:nvPr/>
            </p:nvSpPr>
            <p:spPr>
              <a:xfrm>
                <a:off x="9672578" y="1647223"/>
                <a:ext cx="1846322" cy="410188"/>
              </a:xfrm>
              <a:prstGeom prst="rect">
                <a:avLst/>
              </a:prstGeom>
              <a:noFill/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20000"/>
                  </a:lnSpc>
                </a:pPr>
                <a:r>
                  <a:rPr lang="en-US" altLang="zh-CN" sz="1400" b="1" dirty="0">
                    <a:solidFill>
                      <a:schemeClr val="tx1"/>
                    </a:solidFill>
                    <a:cs typeface="+mn-ea"/>
                    <a:sym typeface="+mn-lt"/>
                  </a:rPr>
                  <a:t>Text here</a:t>
                </a:r>
                <a:endParaRPr lang="zh-CN" altLang="en-US" sz="1400" b="1" dirty="0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18" name="文本框 17">
                <a:extLst>
                  <a:ext uri="{FF2B5EF4-FFF2-40B4-BE49-F238E27FC236}">
                    <a16:creationId xmlns:a16="http://schemas.microsoft.com/office/drawing/2014/main" id="{4AE8D787-1F7C-4EB6-A95F-4130D574386E}"/>
                  </a:ext>
                </a:extLst>
              </p:cNvPr>
              <p:cNvSpPr txBox="1"/>
              <p:nvPr/>
            </p:nvSpPr>
            <p:spPr>
              <a:xfrm>
                <a:off x="9672575" y="2057412"/>
                <a:ext cx="1846324" cy="59572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lIns="91440" tIns="45720" rIns="91440" bIns="45720" anchor="t" anchorCtr="0">
                <a:norm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  <a:p>
                <a:pPr>
                  <a:lnSpc>
                    <a:spcPct val="150000"/>
                  </a:lnSpc>
                  <a:spcBef>
                    <a:spcPct val="0"/>
                  </a:spcBef>
                </a:pPr>
                <a:r>
                  <a:rPr lang="en-US" altLang="zh-CN" sz="1000" dirty="0">
                    <a:cs typeface="+mn-ea"/>
                    <a:sym typeface="+mn-lt"/>
                  </a:rPr>
                  <a:t>Supporting text here.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276079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6A46B79-DE78-4EFE-92B9-2BA49F64E2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6FA932F5-51E2-42B9-B071-F707AEF79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9CBD5D14-0A93-474A-AFBE-1F4853DB6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31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0CE370F-20EF-4E4F-B502-AE24EE5BDC16}"/>
              </a:ext>
            </a:extLst>
          </p:cNvPr>
          <p:cNvGrpSpPr>
            <a:grpSpLocks noChangeAspect="1"/>
          </p:cNvGrpSpPr>
          <p:nvPr/>
        </p:nvGrpSpPr>
        <p:grpSpPr>
          <a:xfrm>
            <a:off x="1771122" y="1130300"/>
            <a:ext cx="8814512" cy="5016500"/>
            <a:chOff x="1771122" y="1130300"/>
            <a:chExt cx="8814512" cy="50165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9A7BC9E4-DAF3-4A1B-9366-6FE8AEAE9FC7}"/>
                </a:ext>
              </a:extLst>
            </p:cNvPr>
            <p:cNvSpPr/>
            <p:nvPr/>
          </p:nvSpPr>
          <p:spPr>
            <a:xfrm>
              <a:off x="4244788" y="1343026"/>
              <a:ext cx="3702424" cy="4591050"/>
            </a:xfrm>
            <a:prstGeom prst="rect">
              <a:avLst/>
            </a:prstGeom>
            <a:pattFill prst="dkDn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cxnSp>
          <p:nvCxnSpPr>
            <p:cNvPr id="7" name="直接箭头连接符 6">
              <a:extLst>
                <a:ext uri="{FF2B5EF4-FFF2-40B4-BE49-F238E27FC236}">
                  <a16:creationId xmlns:a16="http://schemas.microsoft.com/office/drawing/2014/main" id="{DE239EF5-3321-4990-BD5E-6278D8B90945}"/>
                </a:ext>
              </a:extLst>
            </p:cNvPr>
            <p:cNvCxnSpPr>
              <a:stCxn id="18" idx="2"/>
              <a:endCxn id="15" idx="0"/>
            </p:cNvCxnSpPr>
            <p:nvPr/>
          </p:nvCxnSpPr>
          <p:spPr>
            <a:xfrm>
              <a:off x="6096000" y="1561284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接箭头连接符 7">
              <a:extLst>
                <a:ext uri="{FF2B5EF4-FFF2-40B4-BE49-F238E27FC236}">
                  <a16:creationId xmlns:a16="http://schemas.microsoft.com/office/drawing/2014/main" id="{CE908EAD-D40F-4E76-80A3-AD1523F7BADC}"/>
                </a:ext>
              </a:extLst>
            </p:cNvPr>
            <p:cNvCxnSpPr>
              <a:endCxn id="14" idx="0"/>
            </p:cNvCxnSpPr>
            <p:nvPr/>
          </p:nvCxnSpPr>
          <p:spPr>
            <a:xfrm>
              <a:off x="6096000" y="2478387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接箭头连接符 8">
              <a:extLst>
                <a:ext uri="{FF2B5EF4-FFF2-40B4-BE49-F238E27FC236}">
                  <a16:creationId xmlns:a16="http://schemas.microsoft.com/office/drawing/2014/main" id="{258490ED-C38C-4ED7-9E60-9CC353C77F93}"/>
                </a:ext>
              </a:extLst>
            </p:cNvPr>
            <p:cNvCxnSpPr>
              <a:stCxn id="14" idx="2"/>
              <a:endCxn id="13" idx="0"/>
            </p:cNvCxnSpPr>
            <p:nvPr/>
          </p:nvCxnSpPr>
          <p:spPr>
            <a:xfrm>
              <a:off x="6096000" y="3395490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接箭头连接符 9">
              <a:extLst>
                <a:ext uri="{FF2B5EF4-FFF2-40B4-BE49-F238E27FC236}">
                  <a16:creationId xmlns:a16="http://schemas.microsoft.com/office/drawing/2014/main" id="{8B0C0645-F8F8-46FE-9C87-BC8D48494E8E}"/>
                </a:ext>
              </a:extLst>
            </p:cNvPr>
            <p:cNvCxnSpPr>
              <a:stCxn id="13" idx="2"/>
              <a:endCxn id="12" idx="0"/>
            </p:cNvCxnSpPr>
            <p:nvPr/>
          </p:nvCxnSpPr>
          <p:spPr>
            <a:xfrm>
              <a:off x="6096000" y="4312593"/>
              <a:ext cx="0" cy="486119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直接箭头连接符 10">
              <a:extLst>
                <a:ext uri="{FF2B5EF4-FFF2-40B4-BE49-F238E27FC236}">
                  <a16:creationId xmlns:a16="http://schemas.microsoft.com/office/drawing/2014/main" id="{194032DF-2AFF-4606-84EE-FACD1281E9F6}"/>
                </a:ext>
              </a:extLst>
            </p:cNvPr>
            <p:cNvCxnSpPr>
              <a:stCxn id="12" idx="2"/>
              <a:endCxn id="21" idx="0"/>
            </p:cNvCxnSpPr>
            <p:nvPr/>
          </p:nvCxnSpPr>
          <p:spPr>
            <a:xfrm>
              <a:off x="6096000" y="5229696"/>
              <a:ext cx="0" cy="486120"/>
            </a:xfrm>
            <a:prstGeom prst="straightConnector1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E2BEAC48-0076-48C4-BB17-A706E4BF39BF}"/>
                </a:ext>
              </a:extLst>
            </p:cNvPr>
            <p:cNvSpPr txBox="1"/>
            <p:nvPr/>
          </p:nvSpPr>
          <p:spPr bwMode="auto">
            <a:xfrm>
              <a:off x="5220854" y="4798712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3" name="文本框 12">
              <a:extLst>
                <a:ext uri="{FF2B5EF4-FFF2-40B4-BE49-F238E27FC236}">
                  <a16:creationId xmlns:a16="http://schemas.microsoft.com/office/drawing/2014/main" id="{CF440986-67E2-42D0-AEC6-3E1B759303D5}"/>
                </a:ext>
              </a:extLst>
            </p:cNvPr>
            <p:cNvSpPr txBox="1"/>
            <p:nvPr/>
          </p:nvSpPr>
          <p:spPr bwMode="auto">
            <a:xfrm>
              <a:off x="5220854" y="3881609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4" name="文本框 13">
              <a:extLst>
                <a:ext uri="{FF2B5EF4-FFF2-40B4-BE49-F238E27FC236}">
                  <a16:creationId xmlns:a16="http://schemas.microsoft.com/office/drawing/2014/main" id="{87AA539A-D69E-4741-A1C5-52AA44AD9D79}"/>
                </a:ext>
              </a:extLst>
            </p:cNvPr>
            <p:cNvSpPr txBox="1"/>
            <p:nvPr/>
          </p:nvSpPr>
          <p:spPr bwMode="auto">
            <a:xfrm>
              <a:off x="5220854" y="2964506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sp>
          <p:nvSpPr>
            <p:cNvPr id="15" name="文本框 14">
              <a:extLst>
                <a:ext uri="{FF2B5EF4-FFF2-40B4-BE49-F238E27FC236}">
                  <a16:creationId xmlns:a16="http://schemas.microsoft.com/office/drawing/2014/main" id="{0F28D82F-559A-47E0-AB0A-745115ABC86F}"/>
                </a:ext>
              </a:extLst>
            </p:cNvPr>
            <p:cNvSpPr txBox="1"/>
            <p:nvPr/>
          </p:nvSpPr>
          <p:spPr bwMode="auto">
            <a:xfrm>
              <a:off x="5220854" y="2047403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</a:p>
          </p:txBody>
        </p:sp>
        <p:cxnSp>
          <p:nvCxnSpPr>
            <p:cNvPr id="16" name="连接符: 肘形 15">
              <a:extLst>
                <a:ext uri="{FF2B5EF4-FFF2-40B4-BE49-F238E27FC236}">
                  <a16:creationId xmlns:a16="http://schemas.microsoft.com/office/drawing/2014/main" id="{1C6B1CF8-AF82-44C2-81C9-C28512638242}"/>
                </a:ext>
              </a:extLst>
            </p:cNvPr>
            <p:cNvCxnSpPr>
              <a:stCxn id="32" idx="0"/>
              <a:endCxn id="18" idx="1"/>
            </p:cNvCxnSpPr>
            <p:nvPr/>
          </p:nvCxnSpPr>
          <p:spPr>
            <a:xfrm rot="5400000" flipH="1" flipV="1">
              <a:off x="3816722" y="1773857"/>
              <a:ext cx="1832196" cy="976067"/>
            </a:xfrm>
            <a:prstGeom prst="bentConnector2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3784224" y="3177988"/>
              <a:ext cx="921126" cy="921126"/>
              <a:chOff x="5019675" y="2562224"/>
              <a:chExt cx="660150" cy="660150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sp>
          <p:nvSpPr>
            <p:cNvPr id="18" name="文本框 17">
              <a:extLst>
                <a:ext uri="{FF2B5EF4-FFF2-40B4-BE49-F238E27FC236}">
                  <a16:creationId xmlns:a16="http://schemas.microsoft.com/office/drawing/2014/main" id="{D98D9192-6453-4281-A3E1-37ED853DEF6E}"/>
                </a:ext>
              </a:extLst>
            </p:cNvPr>
            <p:cNvSpPr txBox="1"/>
            <p:nvPr/>
          </p:nvSpPr>
          <p:spPr bwMode="auto">
            <a:xfrm>
              <a:off x="5220854" y="1130300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cs typeface="+mn-ea"/>
                  <a:sym typeface="+mn-lt"/>
                </a:rPr>
                <a:t>Text here</a:t>
              </a:r>
            </a:p>
          </p:txBody>
        </p:sp>
        <p:cxnSp>
          <p:nvCxnSpPr>
            <p:cNvPr id="19" name="连接符: 肘形 18">
              <a:extLst>
                <a:ext uri="{FF2B5EF4-FFF2-40B4-BE49-F238E27FC236}">
                  <a16:creationId xmlns:a16="http://schemas.microsoft.com/office/drawing/2014/main" id="{5212FF3E-9B92-4897-ADB9-76D3BA7CEB55}"/>
                </a:ext>
              </a:extLst>
            </p:cNvPr>
            <p:cNvCxnSpPr>
              <a:stCxn id="21" idx="3"/>
              <a:endCxn id="30" idx="4"/>
            </p:cNvCxnSpPr>
            <p:nvPr/>
          </p:nvCxnSpPr>
          <p:spPr>
            <a:xfrm flipV="1">
              <a:off x="6971145" y="4099114"/>
              <a:ext cx="976066" cy="1832194"/>
            </a:xfrm>
            <a:prstGeom prst="bentConnector2">
              <a:avLst/>
            </a:prstGeom>
            <a:ln w="38100" cap="rnd">
              <a:solidFill>
                <a:schemeClr val="accent2"/>
              </a:solidFill>
              <a:round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B81BA2E6-43B1-4741-914D-329113FB7832}"/>
                </a:ext>
              </a:extLst>
            </p:cNvPr>
            <p:cNvGrpSpPr/>
            <p:nvPr/>
          </p:nvGrpSpPr>
          <p:grpSpPr>
            <a:xfrm>
              <a:off x="7486648" y="3177988"/>
              <a:ext cx="921126" cy="921126"/>
              <a:chOff x="5019675" y="2562224"/>
              <a:chExt cx="660150" cy="660150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FAC7BDBF-3E95-4E63-81A3-4047A0958E5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chemeClr val="accent2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CC13D89-BC5E-47D7-8C69-684048FA5C8D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80CA9455-3133-4C06-A2ED-F34FA0BE6523}"/>
                </a:ext>
              </a:extLst>
            </p:cNvPr>
            <p:cNvSpPr txBox="1"/>
            <p:nvPr/>
          </p:nvSpPr>
          <p:spPr bwMode="auto">
            <a:xfrm>
              <a:off x="5220854" y="5715816"/>
              <a:ext cx="1750291" cy="430984"/>
            </a:xfrm>
            <a:prstGeom prst="roundRect">
              <a:avLst>
                <a:gd name="adj" fmla="val 50000"/>
              </a:avLst>
            </a:prstGeom>
            <a:solidFill>
              <a:schemeClr val="accent1"/>
            </a:solidFill>
            <a:ln>
              <a:noFill/>
            </a:ln>
          </p:spPr>
          <p:txBody>
            <a:bodyPr wrap="square" lIns="91440" tIns="45720" rIns="91440" bIns="45720" anchor="ctr" anchorCtr="0">
              <a:normAutofit lnSpcReduction="10000"/>
            </a:bodyPr>
            <a:lstStyle>
              <a:defPPr>
                <a:defRPr lang="zh-CN"/>
              </a:defPPr>
              <a:lvl1pPr algn="ctr">
                <a:spcBef>
                  <a:spcPct val="0"/>
                </a:spcBef>
                <a:defRPr sz="1400" b="1">
                  <a:solidFill>
                    <a:schemeClr val="bg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r>
                <a:rPr lang="en-US" altLang="zh-CN" dirty="0">
                  <a:cs typeface="+mn-ea"/>
                  <a:sym typeface="+mn-lt"/>
                </a:rPr>
                <a:t>Text here</a:t>
              </a:r>
            </a:p>
          </p:txBody>
        </p: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383C98F8-640A-45DB-B1FE-A2CEFB7D010C}"/>
                </a:ext>
              </a:extLst>
            </p:cNvPr>
            <p:cNvGrpSpPr/>
            <p:nvPr/>
          </p:nvGrpSpPr>
          <p:grpSpPr>
            <a:xfrm>
              <a:off x="1771122" y="2702679"/>
              <a:ext cx="1763279" cy="1871740"/>
              <a:chOff x="1771122" y="2993089"/>
              <a:chExt cx="1763279" cy="1871740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1C52BD27-6C6C-4F3E-A3BE-AA26E987A30A}"/>
                  </a:ext>
                </a:extLst>
              </p:cNvPr>
              <p:cNvSpPr/>
              <p:nvPr/>
            </p:nvSpPr>
            <p:spPr bwMode="auto">
              <a:xfrm>
                <a:off x="1771122" y="2993089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F2C25AF9-7DFF-4DB5-81E1-08458DB6DB72}"/>
                  </a:ext>
                </a:extLst>
              </p:cNvPr>
              <p:cNvSpPr/>
              <p:nvPr/>
            </p:nvSpPr>
            <p:spPr>
              <a:xfrm>
                <a:off x="1771122" y="3515550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4F59CFC6-DEDA-4B86-B31D-875685C35DEA}"/>
                  </a:ext>
                </a:extLst>
              </p:cNvPr>
              <p:cNvSpPr/>
              <p:nvPr/>
            </p:nvSpPr>
            <p:spPr>
              <a:xfrm>
                <a:off x="1771122" y="4226718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E9816832-83A0-4E9A-A4DE-4C4535EE1447}"/>
                </a:ext>
              </a:extLst>
            </p:cNvPr>
            <p:cNvGrpSpPr/>
            <p:nvPr/>
          </p:nvGrpSpPr>
          <p:grpSpPr>
            <a:xfrm>
              <a:off x="8822355" y="2702679"/>
              <a:ext cx="1763279" cy="1871740"/>
              <a:chOff x="1771122" y="2993089"/>
              <a:chExt cx="1763279" cy="1871740"/>
            </a:xfrm>
          </p:grpSpPr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698E6602-8BEC-45F7-BE9D-F71B6D4C3EA3}"/>
                  </a:ext>
                </a:extLst>
              </p:cNvPr>
              <p:cNvSpPr/>
              <p:nvPr/>
            </p:nvSpPr>
            <p:spPr bwMode="auto">
              <a:xfrm>
                <a:off x="1771122" y="2993089"/>
                <a:ext cx="1763279" cy="39211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A1F86F39-251F-4601-AC8B-0126F9478D2E}"/>
                  </a:ext>
                </a:extLst>
              </p:cNvPr>
              <p:cNvSpPr/>
              <p:nvPr/>
            </p:nvSpPr>
            <p:spPr>
              <a:xfrm>
                <a:off x="1771122" y="3515550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75AADD5C-4C44-4ADD-A795-E09C7964193D}"/>
                  </a:ext>
                </a:extLst>
              </p:cNvPr>
              <p:cNvSpPr/>
              <p:nvPr/>
            </p:nvSpPr>
            <p:spPr>
              <a:xfrm>
                <a:off x="1771122" y="4226718"/>
                <a:ext cx="1763279" cy="638111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109457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A6A819F1-33AF-45D7-8BF6-2B0A9769CAD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96986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3" name="" hidden="1">
                        <a:extLst>
                          <a:ext uri="{FF2B5EF4-FFF2-40B4-BE49-F238E27FC236}">
                            <a16:creationId xmlns:a16="http://schemas.microsoft.com/office/drawing/2014/main" id="{A6A819F1-33AF-45D7-8BF6-2B0A9769CA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矩形 1" hidden="1">
            <a:extLst>
              <a:ext uri="{FF2B5EF4-FFF2-40B4-BE49-F238E27FC236}">
                <a16:creationId xmlns:a16="http://schemas.microsoft.com/office/drawing/2014/main" id="{FF51F16D-1BAD-46EE-A6F4-B8B94C9DF628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altLang="zh-CN" sz="2400" dirty="0">
              <a:cs typeface="+mn-ea"/>
              <a:sym typeface="+mn-lt"/>
            </a:endParaRPr>
          </a:p>
        </p:txBody>
      </p:sp>
      <p:sp>
        <p:nvSpPr>
          <p:cNvPr id="5" name="标题 4"/>
          <p:cNvSpPr>
            <a:spLocks noGrp="1"/>
          </p:cNvSpPr>
          <p:nvPr>
            <p:ph type="ctrTitle"/>
          </p:nvPr>
        </p:nvSpPr>
        <p:spPr>
          <a:xfrm>
            <a:off x="1425099" y="1438973"/>
            <a:ext cx="9341802" cy="2363597"/>
          </a:xfrm>
        </p:spPr>
        <p:txBody>
          <a:bodyPr>
            <a:noAutofit/>
          </a:bodyPr>
          <a:lstStyle/>
          <a:p>
            <a:pPr defTabSz="913765"/>
            <a:r>
              <a:rPr lang="en-US" altLang="zh-CN" sz="96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THANKS</a:t>
            </a:r>
            <a:br>
              <a:rPr lang="en-US" altLang="zh-CN" sz="4000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</a:br>
            <a:r>
              <a:rPr lang="en-US" altLang="zh-CN" dirty="0">
                <a:solidFill>
                  <a:srgbClr val="2816B6"/>
                </a:solidFill>
                <a:latin typeface="+mn-lt"/>
                <a:ea typeface="+mn-ea"/>
                <a:cs typeface="+mn-ea"/>
                <a:sym typeface="+mn-lt"/>
              </a:rPr>
              <a:t>AND YOUR SLOGAN HERE</a:t>
            </a:r>
            <a:endParaRPr lang="zh-CN" altLang="en-US" sz="4000" dirty="0">
              <a:solidFill>
                <a:srgbClr val="2816B6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7" name="文本占位符 6"/>
          <p:cNvSpPr>
            <a:spLocks noGrp="1"/>
          </p:cNvSpPr>
          <p:nvPr>
            <p:ph type="body" sz="quarter" idx="18"/>
          </p:nvPr>
        </p:nvSpPr>
        <p:spPr>
          <a:xfrm>
            <a:off x="1425099" y="4533499"/>
            <a:ext cx="9341802" cy="3108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OfficePLUS</a:t>
            </a:r>
            <a:endParaRPr lang="en-US" altLang="en-US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sz="quarter" idx="10"/>
          </p:nvPr>
        </p:nvSpPr>
        <p:spPr>
          <a:xfrm>
            <a:off x="1425099" y="4237228"/>
            <a:ext cx="9341802" cy="296271"/>
          </a:xfrm>
        </p:spPr>
        <p:txBody>
          <a:bodyPr/>
          <a:lstStyle/>
          <a:p>
            <a:r>
              <a:rPr lang="en-US" altLang="zh-CN" dirty="0">
                <a:solidFill>
                  <a:schemeClr val="accent2"/>
                </a:solidFill>
                <a:cs typeface="+mn-ea"/>
                <a:sym typeface="+mn-lt"/>
              </a:rPr>
              <a:t>Speaker name and title</a:t>
            </a:r>
          </a:p>
        </p:txBody>
      </p:sp>
    </p:spTree>
    <p:extLst>
      <p:ext uri="{BB962C8B-B14F-4D97-AF65-F5344CB8AC3E}">
        <p14:creationId xmlns:p14="http://schemas.microsoft.com/office/powerpoint/2010/main" val="12590430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05F5FF4-BD14-4DEB-B4A3-6001B197DD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157D2579-2A25-4795-A316-D64C845EB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27304427-1425-4E1F-B51E-8FA443C0ED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4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E2969B56-B164-4155-A77E-645678A9742A}"/>
              </a:ext>
            </a:extLst>
          </p:cNvPr>
          <p:cNvGrpSpPr>
            <a:grpSpLocks noChangeAspect="1"/>
          </p:cNvGrpSpPr>
          <p:nvPr/>
        </p:nvGrpSpPr>
        <p:grpSpPr>
          <a:xfrm>
            <a:off x="743846" y="1476080"/>
            <a:ext cx="10776642" cy="4117352"/>
            <a:chOff x="743846" y="1476080"/>
            <a:chExt cx="10776642" cy="4117352"/>
          </a:xfrm>
        </p:grpSpPr>
        <p:grpSp>
          <p:nvGrpSpPr>
            <p:cNvPr id="6" name="组合 5">
              <a:extLst>
                <a:ext uri="{FF2B5EF4-FFF2-40B4-BE49-F238E27FC236}">
                  <a16:creationId xmlns:a16="http://schemas.microsoft.com/office/drawing/2014/main" id="{94EF1E30-559F-4597-928E-AE344C2A0505}"/>
                </a:ext>
              </a:extLst>
            </p:cNvPr>
            <p:cNvGrpSpPr/>
            <p:nvPr/>
          </p:nvGrpSpPr>
          <p:grpSpPr>
            <a:xfrm>
              <a:off x="743846" y="2342642"/>
              <a:ext cx="4888724" cy="2453542"/>
              <a:chOff x="3651638" y="2342642"/>
              <a:chExt cx="4888724" cy="2453542"/>
            </a:xfrm>
          </p:grpSpPr>
          <p:grpSp>
            <p:nvGrpSpPr>
              <p:cNvPr id="38" name="组合 37">
                <a:extLst>
                  <a:ext uri="{FF2B5EF4-FFF2-40B4-BE49-F238E27FC236}">
                    <a16:creationId xmlns:a16="http://schemas.microsoft.com/office/drawing/2014/main" id="{A92955DE-BCD7-4D61-865A-56C553CB860C}"/>
                  </a:ext>
                </a:extLst>
              </p:cNvPr>
              <p:cNvGrpSpPr/>
              <p:nvPr/>
            </p:nvGrpSpPr>
            <p:grpSpPr>
              <a:xfrm>
                <a:off x="3651638" y="2342642"/>
                <a:ext cx="4888724" cy="2453542"/>
                <a:chOff x="3651638" y="2342642"/>
                <a:chExt cx="4888724" cy="2453542"/>
              </a:xfrm>
            </p:grpSpPr>
            <p:sp>
              <p:nvSpPr>
                <p:cNvPr id="41" name="任意多边形: 形状 40">
                  <a:extLst>
                    <a:ext uri="{FF2B5EF4-FFF2-40B4-BE49-F238E27FC236}">
                      <a16:creationId xmlns:a16="http://schemas.microsoft.com/office/drawing/2014/main" id="{5510AE46-8C41-4019-8871-3AEE88E12E27}"/>
                    </a:ext>
                  </a:extLst>
                </p:cNvPr>
                <p:cNvSpPr/>
                <p:nvPr/>
              </p:nvSpPr>
              <p:spPr bwMode="auto">
                <a:xfrm>
                  <a:off x="5335148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2" name="任意多边形: 形状 41">
                  <a:extLst>
                    <a:ext uri="{FF2B5EF4-FFF2-40B4-BE49-F238E27FC236}">
                      <a16:creationId xmlns:a16="http://schemas.microsoft.com/office/drawing/2014/main" id="{2DFD6861-4F60-4936-B9B8-D6C99F3EBB3A}"/>
                    </a:ext>
                  </a:extLst>
                </p:cNvPr>
                <p:cNvSpPr/>
                <p:nvPr/>
              </p:nvSpPr>
              <p:spPr bwMode="auto">
                <a:xfrm flipV="1">
                  <a:off x="5335148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3" name="菱形 42">
                  <a:extLst>
                    <a:ext uri="{FF2B5EF4-FFF2-40B4-BE49-F238E27FC236}">
                      <a16:creationId xmlns:a16="http://schemas.microsoft.com/office/drawing/2014/main" id="{AE33BCDE-22B8-4BEF-AA30-85C634A6A984}"/>
                    </a:ext>
                  </a:extLst>
                </p:cNvPr>
                <p:cNvSpPr/>
                <p:nvPr/>
              </p:nvSpPr>
              <p:spPr>
                <a:xfrm>
                  <a:off x="3651638" y="2342642"/>
                  <a:ext cx="2446113" cy="2453542"/>
                </a:xfrm>
                <a:prstGeom prst="diamond">
                  <a:avLst/>
                </a:prstGeom>
                <a:solidFill>
                  <a:schemeClr val="bg1"/>
                </a:solidFill>
                <a:ln w="38100">
                  <a:solidFill>
                    <a:schemeClr val="bg1">
                      <a:lumMod val="95000"/>
                    </a:schemeClr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4" name="任意多边形: 形状 43">
                  <a:extLst>
                    <a:ext uri="{FF2B5EF4-FFF2-40B4-BE49-F238E27FC236}">
                      <a16:creationId xmlns:a16="http://schemas.microsoft.com/office/drawing/2014/main" id="{1EE4AD42-80DE-48CF-92CC-4E16CB644F60}"/>
                    </a:ext>
                  </a:extLst>
                </p:cNvPr>
                <p:cNvSpPr/>
                <p:nvPr/>
              </p:nvSpPr>
              <p:spPr bwMode="auto">
                <a:xfrm>
                  <a:off x="6149352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5" name="任意多边形: 形状 44">
                  <a:extLst>
                    <a:ext uri="{FF2B5EF4-FFF2-40B4-BE49-F238E27FC236}">
                      <a16:creationId xmlns:a16="http://schemas.microsoft.com/office/drawing/2014/main" id="{65EF3504-72E1-44F3-AF28-32FC03920D5E}"/>
                    </a:ext>
                  </a:extLst>
                </p:cNvPr>
                <p:cNvSpPr/>
                <p:nvPr/>
              </p:nvSpPr>
              <p:spPr bwMode="auto">
                <a:xfrm flipV="1">
                  <a:off x="6149352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8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6" name="任意多边形: 形状 45">
                  <a:extLst>
                    <a:ext uri="{FF2B5EF4-FFF2-40B4-BE49-F238E27FC236}">
                      <a16:creationId xmlns:a16="http://schemas.microsoft.com/office/drawing/2014/main" id="{36E6E490-08B9-4CED-B921-9D3925BDC154}"/>
                    </a:ext>
                  </a:extLst>
                </p:cNvPr>
                <p:cNvSpPr/>
                <p:nvPr/>
              </p:nvSpPr>
              <p:spPr bwMode="auto">
                <a:xfrm>
                  <a:off x="6963555" y="2342642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accent1"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  <p:sp>
              <p:nvSpPr>
                <p:cNvPr id="47" name="任意多边形: 形状 46">
                  <a:extLst>
                    <a:ext uri="{FF2B5EF4-FFF2-40B4-BE49-F238E27FC236}">
                      <a16:creationId xmlns:a16="http://schemas.microsoft.com/office/drawing/2014/main" id="{695CD0CF-BFA3-4469-9D9A-F1F994F75F97}"/>
                    </a:ext>
                  </a:extLst>
                </p:cNvPr>
                <p:cNvSpPr/>
                <p:nvPr/>
              </p:nvSpPr>
              <p:spPr bwMode="auto">
                <a:xfrm flipV="1">
                  <a:off x="6963555" y="3569413"/>
                  <a:ext cx="1576807" cy="1226771"/>
                </a:xfrm>
                <a:custGeom>
                  <a:avLst/>
                  <a:gdLst>
                    <a:gd name="T0" fmla="*/ 0 w 955"/>
                    <a:gd name="T1" fmla="*/ 215 h 743"/>
                    <a:gd name="T2" fmla="*/ 215 w 955"/>
                    <a:gd name="T3" fmla="*/ 0 h 743"/>
                    <a:gd name="T4" fmla="*/ 955 w 955"/>
                    <a:gd name="T5" fmla="*/ 743 h 743"/>
                    <a:gd name="T6" fmla="*/ 526 w 955"/>
                    <a:gd name="T7" fmla="*/ 743 h 743"/>
                    <a:gd name="T8" fmla="*/ 0 w 955"/>
                    <a:gd name="T9" fmla="*/ 215 h 7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55" h="743">
                      <a:moveTo>
                        <a:pt x="0" y="215"/>
                      </a:moveTo>
                      <a:lnTo>
                        <a:pt x="215" y="0"/>
                      </a:lnTo>
                      <a:lnTo>
                        <a:pt x="955" y="743"/>
                      </a:lnTo>
                      <a:lnTo>
                        <a:pt x="526" y="743"/>
                      </a:lnTo>
                      <a:lnTo>
                        <a:pt x="0" y="215"/>
                      </a:lnTo>
                      <a:close/>
                    </a:path>
                  </a:pathLst>
                </a:custGeom>
                <a:solidFill>
                  <a:schemeClr val="tx2">
                    <a:lumMod val="60000"/>
                    <a:lumOff val="40000"/>
                    <a:alpha val="40000"/>
                  </a:schemeClr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/>
                  <a:endParaRPr sz="1600">
                    <a:cs typeface="+mn-ea"/>
                    <a:sym typeface="+mn-lt"/>
                  </a:endParaRPr>
                </a:p>
              </p:txBody>
            </p:sp>
          </p:grp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3B92AEB2-5FC7-4782-B45C-5E41AAA085A9}"/>
                  </a:ext>
                </a:extLst>
              </p:cNvPr>
              <p:cNvSpPr/>
              <p:nvPr/>
            </p:nvSpPr>
            <p:spPr bwMode="auto">
              <a:xfrm>
                <a:off x="4665324" y="3022550"/>
                <a:ext cx="418740" cy="418006"/>
              </a:xfrm>
              <a:custGeom>
                <a:avLst/>
                <a:gdLst>
                  <a:gd name="connsiteX0" fmla="*/ 494240 w 604110"/>
                  <a:gd name="connsiteY0" fmla="*/ 200547 h 603052"/>
                  <a:gd name="connsiteX1" fmla="*/ 591063 w 604110"/>
                  <a:gd name="connsiteY1" fmla="*/ 259888 h 603052"/>
                  <a:gd name="connsiteX2" fmla="*/ 604110 w 604110"/>
                  <a:gd name="connsiteY2" fmla="*/ 283323 h 603052"/>
                  <a:gd name="connsiteX3" fmla="*/ 604110 w 604110"/>
                  <a:gd name="connsiteY3" fmla="*/ 575643 h 603052"/>
                  <a:gd name="connsiteX4" fmla="*/ 576643 w 604110"/>
                  <a:gd name="connsiteY4" fmla="*/ 603052 h 603052"/>
                  <a:gd name="connsiteX5" fmla="*/ 494240 w 604110"/>
                  <a:gd name="connsiteY5" fmla="*/ 603052 h 603052"/>
                  <a:gd name="connsiteX6" fmla="*/ 109870 w 604110"/>
                  <a:gd name="connsiteY6" fmla="*/ 146282 h 603052"/>
                  <a:gd name="connsiteX7" fmla="*/ 109870 w 604110"/>
                  <a:gd name="connsiteY7" fmla="*/ 603052 h 603052"/>
                  <a:gd name="connsiteX8" fmla="*/ 27467 w 604110"/>
                  <a:gd name="connsiteY8" fmla="*/ 603052 h 603052"/>
                  <a:gd name="connsiteX9" fmla="*/ 0 w 604110"/>
                  <a:gd name="connsiteY9" fmla="*/ 575643 h 603052"/>
                  <a:gd name="connsiteX10" fmla="*/ 0 w 604110"/>
                  <a:gd name="connsiteY10" fmla="*/ 228509 h 603052"/>
                  <a:gd name="connsiteX11" fmla="*/ 12223 w 604110"/>
                  <a:gd name="connsiteY11" fmla="*/ 205622 h 603052"/>
                  <a:gd name="connsiteX12" fmla="*/ 94625 w 604110"/>
                  <a:gd name="connsiteY12" fmla="*/ 150804 h 603052"/>
                  <a:gd name="connsiteX13" fmla="*/ 109870 w 604110"/>
                  <a:gd name="connsiteY13" fmla="*/ 146282 h 603052"/>
                  <a:gd name="connsiteX14" fmla="*/ 302055 w 604110"/>
                  <a:gd name="connsiteY14" fmla="*/ 0 h 603052"/>
                  <a:gd name="connsiteX15" fmla="*/ 329512 w 604110"/>
                  <a:gd name="connsiteY15" fmla="*/ 27411 h 603052"/>
                  <a:gd name="connsiteX16" fmla="*/ 329512 w 604110"/>
                  <a:gd name="connsiteY16" fmla="*/ 73052 h 603052"/>
                  <a:gd name="connsiteX17" fmla="*/ 411883 w 604110"/>
                  <a:gd name="connsiteY17" fmla="*/ 73052 h 603052"/>
                  <a:gd name="connsiteX18" fmla="*/ 439340 w 604110"/>
                  <a:gd name="connsiteY18" fmla="*/ 100463 h 603052"/>
                  <a:gd name="connsiteX19" fmla="*/ 439340 w 604110"/>
                  <a:gd name="connsiteY19" fmla="*/ 111976 h 603052"/>
                  <a:gd name="connsiteX20" fmla="*/ 439340 w 604110"/>
                  <a:gd name="connsiteY20" fmla="*/ 166799 h 603052"/>
                  <a:gd name="connsiteX21" fmla="*/ 439340 w 604110"/>
                  <a:gd name="connsiteY21" fmla="*/ 603052 h 603052"/>
                  <a:gd name="connsiteX22" fmla="*/ 411883 w 604110"/>
                  <a:gd name="connsiteY22" fmla="*/ 603052 h 603052"/>
                  <a:gd name="connsiteX23" fmla="*/ 329512 w 604110"/>
                  <a:gd name="connsiteY23" fmla="*/ 603052 h 603052"/>
                  <a:gd name="connsiteX24" fmla="*/ 329512 w 604110"/>
                  <a:gd name="connsiteY24" fmla="*/ 548229 h 603052"/>
                  <a:gd name="connsiteX25" fmla="*/ 329512 w 604110"/>
                  <a:gd name="connsiteY25" fmla="*/ 520818 h 603052"/>
                  <a:gd name="connsiteX26" fmla="*/ 302055 w 604110"/>
                  <a:gd name="connsiteY26" fmla="*/ 493406 h 603052"/>
                  <a:gd name="connsiteX27" fmla="*/ 274598 w 604110"/>
                  <a:gd name="connsiteY27" fmla="*/ 520818 h 603052"/>
                  <a:gd name="connsiteX28" fmla="*/ 274598 w 604110"/>
                  <a:gd name="connsiteY28" fmla="*/ 548229 h 603052"/>
                  <a:gd name="connsiteX29" fmla="*/ 274598 w 604110"/>
                  <a:gd name="connsiteY29" fmla="*/ 603052 h 603052"/>
                  <a:gd name="connsiteX30" fmla="*/ 192227 w 604110"/>
                  <a:gd name="connsiteY30" fmla="*/ 603052 h 603052"/>
                  <a:gd name="connsiteX31" fmla="*/ 164770 w 604110"/>
                  <a:gd name="connsiteY31" fmla="*/ 603052 h 603052"/>
                  <a:gd name="connsiteX32" fmla="*/ 164770 w 604110"/>
                  <a:gd name="connsiteY32" fmla="*/ 177215 h 603052"/>
                  <a:gd name="connsiteX33" fmla="*/ 164770 w 604110"/>
                  <a:gd name="connsiteY33" fmla="*/ 100463 h 603052"/>
                  <a:gd name="connsiteX34" fmla="*/ 172870 w 604110"/>
                  <a:gd name="connsiteY34" fmla="*/ 81138 h 603052"/>
                  <a:gd name="connsiteX35" fmla="*/ 192227 w 604110"/>
                  <a:gd name="connsiteY35" fmla="*/ 73052 h 603052"/>
                  <a:gd name="connsiteX36" fmla="*/ 274598 w 604110"/>
                  <a:gd name="connsiteY36" fmla="*/ 73052 h 603052"/>
                  <a:gd name="connsiteX37" fmla="*/ 274598 w 604110"/>
                  <a:gd name="connsiteY37" fmla="*/ 27411 h 603052"/>
                  <a:gd name="connsiteX38" fmla="*/ 302055 w 604110"/>
                  <a:gd name="connsiteY38" fmla="*/ 0 h 6030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</a:cxnLst>
                <a:rect l="l" t="t" r="r" b="b"/>
                <a:pathLst>
                  <a:path w="604110" h="603052">
                    <a:moveTo>
                      <a:pt x="494240" y="200547"/>
                    </a:moveTo>
                    <a:lnTo>
                      <a:pt x="591063" y="259888"/>
                    </a:lnTo>
                    <a:cubicBezTo>
                      <a:pt x="599166" y="264959"/>
                      <a:pt x="604110" y="273730"/>
                      <a:pt x="604110" y="283323"/>
                    </a:cubicBezTo>
                    <a:lnTo>
                      <a:pt x="604110" y="575643"/>
                    </a:lnTo>
                    <a:cubicBezTo>
                      <a:pt x="604110" y="590718"/>
                      <a:pt x="591750" y="603052"/>
                      <a:pt x="576643" y="603052"/>
                    </a:cubicBezTo>
                    <a:lnTo>
                      <a:pt x="494240" y="603052"/>
                    </a:lnTo>
                    <a:close/>
                    <a:moveTo>
                      <a:pt x="109870" y="146282"/>
                    </a:moveTo>
                    <a:lnTo>
                      <a:pt x="109870" y="603052"/>
                    </a:lnTo>
                    <a:lnTo>
                      <a:pt x="27467" y="603052"/>
                    </a:lnTo>
                    <a:cubicBezTo>
                      <a:pt x="12360" y="603052"/>
                      <a:pt x="0" y="590718"/>
                      <a:pt x="0" y="575643"/>
                    </a:cubicBezTo>
                    <a:lnTo>
                      <a:pt x="0" y="228509"/>
                    </a:lnTo>
                    <a:cubicBezTo>
                      <a:pt x="0" y="219327"/>
                      <a:pt x="4532" y="210693"/>
                      <a:pt x="12223" y="205622"/>
                    </a:cubicBezTo>
                    <a:lnTo>
                      <a:pt x="94625" y="150804"/>
                    </a:lnTo>
                    <a:cubicBezTo>
                      <a:pt x="99295" y="147789"/>
                      <a:pt x="104514" y="146282"/>
                      <a:pt x="109870" y="146282"/>
                    </a:cubicBezTo>
                    <a:close/>
                    <a:moveTo>
                      <a:pt x="302055" y="0"/>
                    </a:moveTo>
                    <a:cubicBezTo>
                      <a:pt x="317156" y="0"/>
                      <a:pt x="329512" y="12335"/>
                      <a:pt x="329512" y="27411"/>
                    </a:cubicBezTo>
                    <a:lnTo>
                      <a:pt x="329512" y="73052"/>
                    </a:lnTo>
                    <a:lnTo>
                      <a:pt x="411883" y="73052"/>
                    </a:lnTo>
                    <a:cubicBezTo>
                      <a:pt x="426984" y="73052"/>
                      <a:pt x="439340" y="85387"/>
                      <a:pt x="439340" y="100463"/>
                    </a:cubicBezTo>
                    <a:lnTo>
                      <a:pt x="439340" y="111976"/>
                    </a:lnTo>
                    <a:lnTo>
                      <a:pt x="439340" y="166799"/>
                    </a:lnTo>
                    <a:lnTo>
                      <a:pt x="439340" y="603052"/>
                    </a:lnTo>
                    <a:lnTo>
                      <a:pt x="411883" y="603052"/>
                    </a:lnTo>
                    <a:lnTo>
                      <a:pt x="329512" y="603052"/>
                    </a:lnTo>
                    <a:lnTo>
                      <a:pt x="329512" y="548229"/>
                    </a:lnTo>
                    <a:lnTo>
                      <a:pt x="329512" y="520818"/>
                    </a:lnTo>
                    <a:cubicBezTo>
                      <a:pt x="329512" y="505604"/>
                      <a:pt x="317156" y="493406"/>
                      <a:pt x="302055" y="493406"/>
                    </a:cubicBezTo>
                    <a:cubicBezTo>
                      <a:pt x="286816" y="493406"/>
                      <a:pt x="274598" y="505604"/>
                      <a:pt x="274598" y="520818"/>
                    </a:cubicBezTo>
                    <a:lnTo>
                      <a:pt x="274598" y="548229"/>
                    </a:lnTo>
                    <a:lnTo>
                      <a:pt x="274598" y="603052"/>
                    </a:lnTo>
                    <a:lnTo>
                      <a:pt x="192227" y="603052"/>
                    </a:lnTo>
                    <a:lnTo>
                      <a:pt x="164770" y="603052"/>
                    </a:lnTo>
                    <a:lnTo>
                      <a:pt x="164770" y="177215"/>
                    </a:lnTo>
                    <a:lnTo>
                      <a:pt x="164770" y="100463"/>
                    </a:lnTo>
                    <a:cubicBezTo>
                      <a:pt x="164770" y="93199"/>
                      <a:pt x="167653" y="86209"/>
                      <a:pt x="172870" y="81138"/>
                    </a:cubicBezTo>
                    <a:cubicBezTo>
                      <a:pt x="177949" y="75930"/>
                      <a:pt x="184951" y="73052"/>
                      <a:pt x="192227" y="73052"/>
                    </a:cubicBezTo>
                    <a:lnTo>
                      <a:pt x="274598" y="73052"/>
                    </a:lnTo>
                    <a:lnTo>
                      <a:pt x="274598" y="27411"/>
                    </a:lnTo>
                    <a:cubicBezTo>
                      <a:pt x="274598" y="12335"/>
                      <a:pt x="286816" y="0"/>
                      <a:pt x="302055" y="0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/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文本框 39">
                <a:extLst>
                  <a:ext uri="{FF2B5EF4-FFF2-40B4-BE49-F238E27FC236}">
                    <a16:creationId xmlns:a16="http://schemas.microsoft.com/office/drawing/2014/main" id="{D248031B-6682-4C37-A608-BB6A669F2CA5}"/>
                  </a:ext>
                </a:extLst>
              </p:cNvPr>
              <p:cNvSpPr txBox="1"/>
              <p:nvPr/>
            </p:nvSpPr>
            <p:spPr bwMode="auto">
              <a:xfrm>
                <a:off x="4107539" y="3538728"/>
                <a:ext cx="1534310" cy="446310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</a:pPr>
                <a:r>
                  <a:rPr lang="en-US" altLang="zh-CN" sz="1600" b="1" dirty="0">
                    <a:cs typeface="+mn-ea"/>
                    <a:sym typeface="+mn-lt"/>
                  </a:rPr>
                  <a:t>Text here</a:t>
                </a:r>
              </a:p>
            </p:txBody>
          </p:sp>
        </p:grpSp>
        <p:cxnSp>
          <p:nvCxnSpPr>
            <p:cNvPr id="7" name="直接连接符 6">
              <a:extLst>
                <a:ext uri="{FF2B5EF4-FFF2-40B4-BE49-F238E27FC236}">
                  <a16:creationId xmlns:a16="http://schemas.microsoft.com/office/drawing/2014/main" id="{6C98437B-ED28-456C-9065-AE05EA05FDF0}"/>
                </a:ext>
              </a:extLst>
            </p:cNvPr>
            <p:cNvCxnSpPr>
              <a:cxnSpLocks/>
            </p:cNvCxnSpPr>
            <p:nvPr/>
          </p:nvCxnSpPr>
          <p:spPr>
            <a:xfrm>
              <a:off x="5705856" y="3569413"/>
              <a:ext cx="5814632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ABBC3334-4AC1-4D58-A9C8-D464B2710221}"/>
                </a:ext>
              </a:extLst>
            </p:cNvPr>
            <p:cNvSpPr txBox="1"/>
            <p:nvPr/>
          </p:nvSpPr>
          <p:spPr>
            <a:xfrm>
              <a:off x="5684170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1E815A89-9FEA-4AAB-9207-6E9F9499E115}"/>
                </a:ext>
              </a:extLst>
            </p:cNvPr>
            <p:cNvSpPr/>
            <p:nvPr/>
          </p:nvSpPr>
          <p:spPr>
            <a:xfrm>
              <a:off x="5684170" y="1971662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0" name="文本框 9">
              <a:extLst>
                <a:ext uri="{FF2B5EF4-FFF2-40B4-BE49-F238E27FC236}">
                  <a16:creationId xmlns:a16="http://schemas.microsoft.com/office/drawing/2014/main" id="{968F2FBA-6B0F-408D-A389-A6051C878EA7}"/>
                </a:ext>
              </a:extLst>
            </p:cNvPr>
            <p:cNvSpPr txBox="1"/>
            <p:nvPr/>
          </p:nvSpPr>
          <p:spPr>
            <a:xfrm>
              <a:off x="7741094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3F2935DF-9F9E-49B8-9152-0293705CA0D4}"/>
                </a:ext>
              </a:extLst>
            </p:cNvPr>
            <p:cNvSpPr/>
            <p:nvPr/>
          </p:nvSpPr>
          <p:spPr>
            <a:xfrm>
              <a:off x="7741094" y="1971662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2" name="文本框 11">
              <a:extLst>
                <a:ext uri="{FF2B5EF4-FFF2-40B4-BE49-F238E27FC236}">
                  <a16:creationId xmlns:a16="http://schemas.microsoft.com/office/drawing/2014/main" id="{606D643D-669A-4CE4-B40B-A9B935D3A62A}"/>
                </a:ext>
              </a:extLst>
            </p:cNvPr>
            <p:cNvSpPr txBox="1"/>
            <p:nvPr/>
          </p:nvSpPr>
          <p:spPr>
            <a:xfrm>
              <a:off x="9798018" y="2342641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2DEF8F27-571A-4D3B-99B9-37E7030CCF27}"/>
                </a:ext>
              </a:extLst>
            </p:cNvPr>
            <p:cNvSpPr/>
            <p:nvPr/>
          </p:nvSpPr>
          <p:spPr>
            <a:xfrm>
              <a:off x="9798018" y="1971662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984CD257-40A1-4A2B-87D3-A001A4558AAD}"/>
                </a:ext>
              </a:extLst>
            </p:cNvPr>
            <p:cNvGrpSpPr/>
            <p:nvPr/>
          </p:nvGrpSpPr>
          <p:grpSpPr>
            <a:xfrm>
              <a:off x="6338382" y="1476080"/>
              <a:ext cx="414046" cy="414046"/>
              <a:chOff x="4297977" y="3802571"/>
              <a:chExt cx="707987" cy="707987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6D03F5F6-D744-4F03-B756-2D2073DAC9BA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DBF401D9-8CAF-4B44-843B-632F57DB821C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F164B3A5-86F6-40E6-90B9-D81890F294A5}"/>
                </a:ext>
              </a:extLst>
            </p:cNvPr>
            <p:cNvGrpSpPr/>
            <p:nvPr/>
          </p:nvGrpSpPr>
          <p:grpSpPr>
            <a:xfrm>
              <a:off x="8406149" y="1476080"/>
              <a:ext cx="414046" cy="414046"/>
              <a:chOff x="4297977" y="3802571"/>
              <a:chExt cx="707987" cy="707987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9202B4AA-CCA7-461D-9D7B-300093D4BABB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90928B4C-6E3E-4060-9A0B-6B653BDBB3C6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A8C18893-5D53-4C01-9715-85CB510DCF11}"/>
                </a:ext>
              </a:extLst>
            </p:cNvPr>
            <p:cNvGrpSpPr/>
            <p:nvPr/>
          </p:nvGrpSpPr>
          <p:grpSpPr>
            <a:xfrm>
              <a:off x="10452230" y="1476080"/>
              <a:ext cx="414046" cy="414046"/>
              <a:chOff x="4297977" y="3802571"/>
              <a:chExt cx="707987" cy="707987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381CD134-7D31-4A9A-BD49-8317995BD6ED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A7B3CA97-21D3-4C07-BFA5-3D10A871D821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sp>
          <p:nvSpPr>
            <p:cNvPr id="17" name="文本框 16">
              <a:extLst>
                <a:ext uri="{FF2B5EF4-FFF2-40B4-BE49-F238E27FC236}">
                  <a16:creationId xmlns:a16="http://schemas.microsoft.com/office/drawing/2014/main" id="{7A2C07F7-3FC6-42DF-970A-9838FED2C311}"/>
                </a:ext>
              </a:extLst>
            </p:cNvPr>
            <p:cNvSpPr txBox="1"/>
            <p:nvPr/>
          </p:nvSpPr>
          <p:spPr>
            <a:xfrm>
              <a:off x="5684170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444FDD5D-F735-4ABE-859D-1F015D18C4B8}"/>
                </a:ext>
              </a:extLst>
            </p:cNvPr>
            <p:cNvSpPr/>
            <p:nvPr/>
          </p:nvSpPr>
          <p:spPr>
            <a:xfrm>
              <a:off x="5684170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19" name="文本框 18">
              <a:extLst>
                <a:ext uri="{FF2B5EF4-FFF2-40B4-BE49-F238E27FC236}">
                  <a16:creationId xmlns:a16="http://schemas.microsoft.com/office/drawing/2014/main" id="{89AA3158-46A5-4812-B7F8-419CE8A3AE61}"/>
                </a:ext>
              </a:extLst>
            </p:cNvPr>
            <p:cNvSpPr txBox="1"/>
            <p:nvPr/>
          </p:nvSpPr>
          <p:spPr>
            <a:xfrm>
              <a:off x="7741094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95A0FA2D-2917-4B06-8678-9A682B710A40}"/>
                </a:ext>
              </a:extLst>
            </p:cNvPr>
            <p:cNvSpPr/>
            <p:nvPr/>
          </p:nvSpPr>
          <p:spPr>
            <a:xfrm>
              <a:off x="7741094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79B4C6B3-1357-4826-8A57-C7E69C141A9B}"/>
                </a:ext>
              </a:extLst>
            </p:cNvPr>
            <p:cNvSpPr txBox="1"/>
            <p:nvPr/>
          </p:nvSpPr>
          <p:spPr>
            <a:xfrm>
              <a:off x="9798018" y="4857644"/>
              <a:ext cx="1722470" cy="735788"/>
            </a:xfrm>
            <a:prstGeom prst="rect">
              <a:avLst/>
            </a:prstGeom>
            <a:noFill/>
          </p:spPr>
          <p:txBody>
            <a:bodyPr wrap="square" lIns="91440" tIns="45720" rIns="91440" bIns="45720" anchor="t" anchorCtr="0">
              <a:normAutofit/>
            </a:bodyPr>
            <a:lstStyle/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Supporting text here.</a:t>
              </a:r>
            </a:p>
            <a:p>
              <a:pPr algn="ctr">
                <a:lnSpc>
                  <a:spcPct val="150000"/>
                </a:lnSpc>
              </a:pPr>
              <a:r>
                <a:rPr lang="en-US" altLang="zh-CN" sz="1100">
                  <a:cs typeface="+mn-ea"/>
                  <a:sym typeface="+mn-lt"/>
                </a:rPr>
                <a:t>…… </a:t>
              </a:r>
              <a:endParaRPr lang="en-US" altLang="zh-CN" sz="1100" dirty="0">
                <a:cs typeface="+mn-ea"/>
                <a:sym typeface="+mn-lt"/>
              </a:endParaRP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9C020FB4-45C1-4EDB-B8F7-AFAE99A34F35}"/>
                </a:ext>
              </a:extLst>
            </p:cNvPr>
            <p:cNvSpPr/>
            <p:nvPr/>
          </p:nvSpPr>
          <p:spPr>
            <a:xfrm>
              <a:off x="9798018" y="4486665"/>
              <a:ext cx="1722470" cy="370980"/>
            </a:xfrm>
            <a:prstGeom prst="rect">
              <a:avLst/>
            </a:prstGeom>
          </p:spPr>
          <p:txBody>
            <a:bodyPr wrap="square" lIns="91440" tIns="45720" rIns="91440" bIns="45720">
              <a:normAutofit/>
            </a:bodyPr>
            <a:lstStyle/>
            <a:p>
              <a:pPr lvl="0" algn="ctr" defTabSz="914378">
                <a:defRPr/>
              </a:pPr>
              <a:r>
                <a:rPr lang="en-US" altLang="zh-CN" sz="1600" b="1" dirty="0">
                  <a:cs typeface="+mn-ea"/>
                  <a:sym typeface="+mn-lt"/>
                </a:rPr>
                <a:t>Text here</a:t>
              </a:r>
              <a:endParaRPr lang="zh-CN" altLang="en-US" sz="1600" b="1" dirty="0">
                <a:cs typeface="+mn-ea"/>
                <a:sym typeface="+mn-lt"/>
              </a:endParaRPr>
            </a:p>
          </p:txBody>
        </p: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6BAD3FC1-995F-42A3-AD6B-FA70F5D329E4}"/>
                </a:ext>
              </a:extLst>
            </p:cNvPr>
            <p:cNvGrpSpPr/>
            <p:nvPr/>
          </p:nvGrpSpPr>
          <p:grpSpPr>
            <a:xfrm>
              <a:off x="6338382" y="3991083"/>
              <a:ext cx="414046" cy="414046"/>
              <a:chOff x="4297977" y="3802571"/>
              <a:chExt cx="707987" cy="707987"/>
            </a:xfrm>
          </p:grpSpPr>
          <p:sp>
            <p:nvSpPr>
              <p:cNvPr id="30" name="椭圆 29">
                <a:extLst>
                  <a:ext uri="{FF2B5EF4-FFF2-40B4-BE49-F238E27FC236}">
                    <a16:creationId xmlns:a16="http://schemas.microsoft.com/office/drawing/2014/main" id="{6C96700F-6A7E-41F8-8E4E-DED671025D5C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marL="0" marR="0" lvl="0" indent="0" algn="ctr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  <p:sp>
            <p:nvSpPr>
              <p:cNvPr id="31" name="任意多边形: 形状 30">
                <a:extLst>
                  <a:ext uri="{FF2B5EF4-FFF2-40B4-BE49-F238E27FC236}">
                    <a16:creationId xmlns:a16="http://schemas.microsoft.com/office/drawing/2014/main" id="{847EDD91-75DF-4B4A-9732-EA5C7DF0D310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789DD717-F3CD-4809-9947-5582503CC025}"/>
                </a:ext>
              </a:extLst>
            </p:cNvPr>
            <p:cNvGrpSpPr/>
            <p:nvPr/>
          </p:nvGrpSpPr>
          <p:grpSpPr>
            <a:xfrm>
              <a:off x="8406149" y="3991083"/>
              <a:ext cx="414046" cy="414046"/>
              <a:chOff x="4297977" y="3802571"/>
              <a:chExt cx="707987" cy="707987"/>
            </a:xfrm>
          </p:grpSpPr>
          <p:sp>
            <p:nvSpPr>
              <p:cNvPr id="28" name="椭圆 27">
                <a:extLst>
                  <a:ext uri="{FF2B5EF4-FFF2-40B4-BE49-F238E27FC236}">
                    <a16:creationId xmlns:a16="http://schemas.microsoft.com/office/drawing/2014/main" id="{CC4716C0-B5A2-4DA5-884D-A23E9CD3C0F0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A5CF0B1D-A9B4-4CE5-828D-8B772B59DD3A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F46CA79B-2EDB-4272-BF33-F11CD387B01D}"/>
                </a:ext>
              </a:extLst>
            </p:cNvPr>
            <p:cNvGrpSpPr/>
            <p:nvPr/>
          </p:nvGrpSpPr>
          <p:grpSpPr>
            <a:xfrm>
              <a:off x="10452230" y="3991083"/>
              <a:ext cx="414046" cy="414046"/>
              <a:chOff x="4297977" y="3802571"/>
              <a:chExt cx="707987" cy="707987"/>
            </a:xfrm>
          </p:grpSpPr>
          <p:sp>
            <p:nvSpPr>
              <p:cNvPr id="26" name="椭圆 25">
                <a:extLst>
                  <a:ext uri="{FF2B5EF4-FFF2-40B4-BE49-F238E27FC236}">
                    <a16:creationId xmlns:a16="http://schemas.microsoft.com/office/drawing/2014/main" id="{54AFAC85-05D0-46B0-AD07-35F5C1D778CF}"/>
                  </a:ext>
                </a:extLst>
              </p:cNvPr>
              <p:cNvSpPr/>
              <p:nvPr/>
            </p:nvSpPr>
            <p:spPr>
              <a:xfrm>
                <a:off x="4297977" y="3802571"/>
                <a:ext cx="707987" cy="70798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77500" lnSpcReduction="20000"/>
              </a:bodyPr>
              <a:lstStyle/>
              <a:p>
                <a:pPr algn="ctr" defTabSz="913765"/>
                <a:endParaRPr lang="zh-CN" altLang="en-US" sz="2000">
                  <a:solidFill>
                    <a:srgbClr val="FFFFFF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7" name="任意多边形: 形状 26">
                <a:extLst>
                  <a:ext uri="{FF2B5EF4-FFF2-40B4-BE49-F238E27FC236}">
                    <a16:creationId xmlns:a16="http://schemas.microsoft.com/office/drawing/2014/main" id="{C08E5138-E054-437E-91FA-0BF20AB8C8F8}"/>
                  </a:ext>
                </a:extLst>
              </p:cNvPr>
              <p:cNvSpPr/>
              <p:nvPr/>
            </p:nvSpPr>
            <p:spPr bwMode="auto">
              <a:xfrm>
                <a:off x="4424318" y="3947709"/>
                <a:ext cx="455305" cy="417711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normAutofit fontScale="55000" lnSpcReduction="20000"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marL="0" marR="0" lvl="0" indent="0" algn="l" defTabSz="913765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2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cs typeface="+mn-ea"/>
                  <a:sym typeface="+mn-lt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843379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6161022-20F4-47DB-82DA-AAAC68DFB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3E46401-AD04-492C-B25D-2A22481B03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001443E-AF54-4DDB-A0EE-C1C5A6379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5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05EC605-24AD-4449-98AF-3F5D3AF47CD4}"/>
              </a:ext>
            </a:extLst>
          </p:cNvPr>
          <p:cNvGrpSpPr>
            <a:grpSpLocks noChangeAspect="1"/>
          </p:cNvGrpSpPr>
          <p:nvPr/>
        </p:nvGrpSpPr>
        <p:grpSpPr>
          <a:xfrm>
            <a:off x="634482" y="1202130"/>
            <a:ext cx="10916815" cy="4917164"/>
            <a:chOff x="634482" y="1202130"/>
            <a:chExt cx="10916815" cy="4917164"/>
          </a:xfrm>
        </p:grpSpPr>
        <p:sp>
          <p:nvSpPr>
            <p:cNvPr id="6" name="六边形 5">
              <a:extLst>
                <a:ext uri="{FF2B5EF4-FFF2-40B4-BE49-F238E27FC236}">
                  <a16:creationId xmlns:a16="http://schemas.microsoft.com/office/drawing/2014/main" id="{37D51FF0-4F15-4A6E-A763-C9E34A95145B}"/>
                </a:ext>
              </a:extLst>
            </p:cNvPr>
            <p:cNvSpPr/>
            <p:nvPr/>
          </p:nvSpPr>
          <p:spPr>
            <a:xfrm>
              <a:off x="63448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7" name="六边形 6">
              <a:extLst>
                <a:ext uri="{FF2B5EF4-FFF2-40B4-BE49-F238E27FC236}">
                  <a16:creationId xmlns:a16="http://schemas.microsoft.com/office/drawing/2014/main" id="{D044CFDB-5DEE-48A1-811B-30CB3A90D426}"/>
                </a:ext>
              </a:extLst>
            </p:cNvPr>
            <p:cNvSpPr/>
            <p:nvPr/>
          </p:nvSpPr>
          <p:spPr>
            <a:xfrm>
              <a:off x="8367324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8" name="六边形 7">
              <a:extLst>
                <a:ext uri="{FF2B5EF4-FFF2-40B4-BE49-F238E27FC236}">
                  <a16:creationId xmlns:a16="http://schemas.microsoft.com/office/drawing/2014/main" id="{9CC429BF-E6AA-4127-8C03-33D015404FF9}"/>
                </a:ext>
              </a:extLst>
            </p:cNvPr>
            <p:cNvSpPr/>
            <p:nvPr/>
          </p:nvSpPr>
          <p:spPr>
            <a:xfrm>
              <a:off x="256769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9" name="六边形 8">
              <a:extLst>
                <a:ext uri="{FF2B5EF4-FFF2-40B4-BE49-F238E27FC236}">
                  <a16:creationId xmlns:a16="http://schemas.microsoft.com/office/drawing/2014/main" id="{7CDFDAC3-0760-493C-9B75-3D0BED0CDD1F}"/>
                </a:ext>
              </a:extLst>
            </p:cNvPr>
            <p:cNvSpPr/>
            <p:nvPr/>
          </p:nvSpPr>
          <p:spPr>
            <a:xfrm>
              <a:off x="643411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9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sp>
          <p:nvSpPr>
            <p:cNvPr id="10" name="六边形 9">
              <a:extLst>
                <a:ext uri="{FF2B5EF4-FFF2-40B4-BE49-F238E27FC236}">
                  <a16:creationId xmlns:a16="http://schemas.microsoft.com/office/drawing/2014/main" id="{43C4817F-2976-45B9-ADBA-DA0C0842D5B9}"/>
                </a:ext>
              </a:extLst>
            </p:cNvPr>
            <p:cNvSpPr/>
            <p:nvPr/>
          </p:nvSpPr>
          <p:spPr>
            <a:xfrm>
              <a:off x="4500902" y="2390649"/>
              <a:ext cx="3183973" cy="2021691"/>
            </a:xfrm>
            <a:prstGeom prst="hexagon">
              <a:avLst>
                <a:gd name="adj" fmla="val 29094"/>
                <a:gd name="vf" fmla="val 115470"/>
              </a:avLst>
            </a:prstGeom>
            <a:solidFill>
              <a:schemeClr val="bg1">
                <a:lumMod val="85000"/>
              </a:schemeClr>
            </a:solidFill>
            <a:ln w="762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5F805D40-74BD-4EF6-9E63-236AD819B657}"/>
                </a:ext>
              </a:extLst>
            </p:cNvPr>
            <p:cNvGrpSpPr/>
            <p:nvPr/>
          </p:nvGrpSpPr>
          <p:grpSpPr>
            <a:xfrm>
              <a:off x="5813999" y="2843721"/>
              <a:ext cx="557778" cy="557773"/>
              <a:chOff x="3277103" y="2131962"/>
              <a:chExt cx="671155" cy="671150"/>
            </a:xfrm>
          </p:grpSpPr>
          <p:sp>
            <p:nvSpPr>
              <p:cNvPr id="40" name="椭圆 39">
                <a:extLst>
                  <a:ext uri="{FF2B5EF4-FFF2-40B4-BE49-F238E27FC236}">
                    <a16:creationId xmlns:a16="http://schemas.microsoft.com/office/drawing/2014/main" id="{60D568A2-B8E3-4C0B-B0D7-C6866455E44F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1" name="任意多边形: 形状 40">
                <a:extLst>
                  <a:ext uri="{FF2B5EF4-FFF2-40B4-BE49-F238E27FC236}">
                    <a16:creationId xmlns:a16="http://schemas.microsoft.com/office/drawing/2014/main" id="{C8748C9C-3C41-4B2E-9717-E7A3C62A482A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458561A3-92CF-4D6E-995E-CADD8A815C30}"/>
                </a:ext>
              </a:extLst>
            </p:cNvPr>
            <p:cNvSpPr/>
            <p:nvPr/>
          </p:nvSpPr>
          <p:spPr bwMode="auto">
            <a:xfrm>
              <a:off x="5316265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7E16E43C-42BF-4AA8-9061-5ED4882182F2}"/>
                </a:ext>
              </a:extLst>
            </p:cNvPr>
            <p:cNvGrpSpPr/>
            <p:nvPr/>
          </p:nvGrpSpPr>
          <p:grpSpPr>
            <a:xfrm>
              <a:off x="8120405" y="2843721"/>
              <a:ext cx="557778" cy="557773"/>
              <a:chOff x="3277103" y="2131962"/>
              <a:chExt cx="671155" cy="671150"/>
            </a:xfrm>
          </p:grpSpPr>
          <p:sp>
            <p:nvSpPr>
              <p:cNvPr id="38" name="椭圆 37">
                <a:extLst>
                  <a:ext uri="{FF2B5EF4-FFF2-40B4-BE49-F238E27FC236}">
                    <a16:creationId xmlns:a16="http://schemas.microsoft.com/office/drawing/2014/main" id="{7B08423D-D958-4487-9AC1-76E66FAA3651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9" name="任意多边形: 形状 38">
                <a:extLst>
                  <a:ext uri="{FF2B5EF4-FFF2-40B4-BE49-F238E27FC236}">
                    <a16:creationId xmlns:a16="http://schemas.microsoft.com/office/drawing/2014/main" id="{F7D379A9-FDDC-428D-9B3D-C084316814E5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8E48CAA2-B14E-4306-A462-EA38148538AC}"/>
                </a:ext>
              </a:extLst>
            </p:cNvPr>
            <p:cNvSpPr/>
            <p:nvPr/>
          </p:nvSpPr>
          <p:spPr bwMode="auto">
            <a:xfrm>
              <a:off x="7622671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CF04CEFA-3F4E-403A-B3C6-2938D43F538C}"/>
                </a:ext>
              </a:extLst>
            </p:cNvPr>
            <p:cNvGrpSpPr/>
            <p:nvPr/>
          </p:nvGrpSpPr>
          <p:grpSpPr>
            <a:xfrm>
              <a:off x="10115819" y="2843721"/>
              <a:ext cx="557778" cy="557773"/>
              <a:chOff x="3277103" y="2131962"/>
              <a:chExt cx="671155" cy="671150"/>
            </a:xfrm>
          </p:grpSpPr>
          <p:sp>
            <p:nvSpPr>
              <p:cNvPr id="36" name="椭圆 35">
                <a:extLst>
                  <a:ext uri="{FF2B5EF4-FFF2-40B4-BE49-F238E27FC236}">
                    <a16:creationId xmlns:a16="http://schemas.microsoft.com/office/drawing/2014/main" id="{49F12113-BA30-41A8-A8D8-07F25FD51327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7" name="任意多边形: 形状 36">
                <a:extLst>
                  <a:ext uri="{FF2B5EF4-FFF2-40B4-BE49-F238E27FC236}">
                    <a16:creationId xmlns:a16="http://schemas.microsoft.com/office/drawing/2014/main" id="{A3E52238-E2D0-4BB4-B5A9-A9980B4B30C1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6D4BB1A5-ACF8-48AD-A745-655ACE70DEE3}"/>
                </a:ext>
              </a:extLst>
            </p:cNvPr>
            <p:cNvSpPr/>
            <p:nvPr/>
          </p:nvSpPr>
          <p:spPr bwMode="auto">
            <a:xfrm>
              <a:off x="9618085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6E0506DD-0656-4E00-B91F-5CF47883CDA1}"/>
                </a:ext>
              </a:extLst>
            </p:cNvPr>
            <p:cNvGrpSpPr/>
            <p:nvPr/>
          </p:nvGrpSpPr>
          <p:grpSpPr>
            <a:xfrm>
              <a:off x="3445389" y="2843721"/>
              <a:ext cx="557778" cy="557773"/>
              <a:chOff x="3277103" y="2131962"/>
              <a:chExt cx="671155" cy="671150"/>
            </a:xfrm>
          </p:grpSpPr>
          <p:sp>
            <p:nvSpPr>
              <p:cNvPr id="34" name="椭圆 33">
                <a:extLst>
                  <a:ext uri="{FF2B5EF4-FFF2-40B4-BE49-F238E27FC236}">
                    <a16:creationId xmlns:a16="http://schemas.microsoft.com/office/drawing/2014/main" id="{3B0A10E1-B590-4C74-A73F-01A3D2DB0B1A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5" name="任意多边形: 形状 34">
                <a:extLst>
                  <a:ext uri="{FF2B5EF4-FFF2-40B4-BE49-F238E27FC236}">
                    <a16:creationId xmlns:a16="http://schemas.microsoft.com/office/drawing/2014/main" id="{C8D3796F-992B-480C-A397-7080F935E9DA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18" name="矩形 17">
              <a:extLst>
                <a:ext uri="{FF2B5EF4-FFF2-40B4-BE49-F238E27FC236}">
                  <a16:creationId xmlns:a16="http://schemas.microsoft.com/office/drawing/2014/main" id="{086D7190-8979-46E4-A3B0-E42BB6A2BCCC}"/>
                </a:ext>
              </a:extLst>
            </p:cNvPr>
            <p:cNvSpPr/>
            <p:nvPr/>
          </p:nvSpPr>
          <p:spPr bwMode="auto">
            <a:xfrm>
              <a:off x="2947655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594953C1-0486-4ABA-807B-B50AC388439D}"/>
                </a:ext>
              </a:extLst>
            </p:cNvPr>
            <p:cNvGrpSpPr/>
            <p:nvPr/>
          </p:nvGrpSpPr>
          <p:grpSpPr>
            <a:xfrm>
              <a:off x="1490906" y="2843721"/>
              <a:ext cx="557778" cy="557773"/>
              <a:chOff x="3277103" y="2131962"/>
              <a:chExt cx="671155" cy="671150"/>
            </a:xfrm>
          </p:grpSpPr>
          <p:sp>
            <p:nvSpPr>
              <p:cNvPr id="32" name="椭圆 31">
                <a:extLst>
                  <a:ext uri="{FF2B5EF4-FFF2-40B4-BE49-F238E27FC236}">
                    <a16:creationId xmlns:a16="http://schemas.microsoft.com/office/drawing/2014/main" id="{DE8D2C56-4916-4EE9-B0B8-4C1AC1AA245F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bg1">
                  <a:lumMod val="65000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33" name="任意多边形: 形状 32">
                <a:extLst>
                  <a:ext uri="{FF2B5EF4-FFF2-40B4-BE49-F238E27FC236}">
                    <a16:creationId xmlns:a16="http://schemas.microsoft.com/office/drawing/2014/main" id="{2D749094-66F3-4535-A49E-FFA70C3FECA2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sp>
          <p:nvSpPr>
            <p:cNvPr id="20" name="矩形 19">
              <a:extLst>
                <a:ext uri="{FF2B5EF4-FFF2-40B4-BE49-F238E27FC236}">
                  <a16:creationId xmlns:a16="http://schemas.microsoft.com/office/drawing/2014/main" id="{6D2B7F53-D48C-4FBD-BF2C-B278848812E2}"/>
                </a:ext>
              </a:extLst>
            </p:cNvPr>
            <p:cNvSpPr/>
            <p:nvPr/>
          </p:nvSpPr>
          <p:spPr bwMode="auto">
            <a:xfrm>
              <a:off x="993172" y="3514199"/>
              <a:ext cx="1553247" cy="417143"/>
            </a:xfrm>
            <a:prstGeom prst="rect">
              <a:avLst/>
            </a:prstGeom>
            <a:noFill/>
            <a:ln w="28575" algn="ctr">
              <a:noFill/>
              <a:round/>
              <a:headEnd/>
              <a:tailEnd/>
            </a:ln>
          </p:spPr>
          <p:txBody>
            <a:bodyPr wrap="square" lIns="91440" tIns="45720" rIns="91440" bIns="45720" anchor="ctr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tx1"/>
                  </a:solidFill>
                </a:defRPr>
              </a:lvl9pPr>
            </a:lstStyle>
            <a:p>
              <a:pPr algn="ctr" defTabSz="914400"/>
              <a:r>
                <a:rPr lang="en-US" altLang="zh-CN" sz="1400" b="1" kern="0">
                  <a:cs typeface="+mn-ea"/>
                  <a:sym typeface="+mn-lt"/>
                </a:rPr>
                <a:t>…Text</a:t>
              </a:r>
              <a:endParaRPr lang="zh-CN" altLang="en-US" sz="1400" b="1" kern="0" dirty="0">
                <a:cs typeface="+mn-ea"/>
                <a:sym typeface="+mn-lt"/>
              </a:endParaRPr>
            </a:p>
          </p:txBody>
        </p:sp>
        <p:sp>
          <p:nvSpPr>
            <p:cNvPr id="21" name="矩形 20">
              <a:extLst>
                <a:ext uri="{FF2B5EF4-FFF2-40B4-BE49-F238E27FC236}">
                  <a16:creationId xmlns:a16="http://schemas.microsoft.com/office/drawing/2014/main" id="{758C0B42-CF2E-4B23-B148-ED5A5B0B44E3}"/>
                </a:ext>
              </a:extLst>
            </p:cNvPr>
            <p:cNvSpPr/>
            <p:nvPr/>
          </p:nvSpPr>
          <p:spPr>
            <a:xfrm>
              <a:off x="880202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2" name="矩形 21">
              <a:extLst>
                <a:ext uri="{FF2B5EF4-FFF2-40B4-BE49-F238E27FC236}">
                  <a16:creationId xmlns:a16="http://schemas.microsoft.com/office/drawing/2014/main" id="{4EC78D79-D9F3-4E28-959B-A07C82192BA6}"/>
                </a:ext>
              </a:extLst>
            </p:cNvPr>
            <p:cNvSpPr/>
            <p:nvPr/>
          </p:nvSpPr>
          <p:spPr>
            <a:xfrm>
              <a:off x="880202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3" name="矩形 22">
              <a:extLst>
                <a:ext uri="{FF2B5EF4-FFF2-40B4-BE49-F238E27FC236}">
                  <a16:creationId xmlns:a16="http://schemas.microsoft.com/office/drawing/2014/main" id="{BB7FCDC8-E9B8-41A2-96F2-28EC2A6A3B80}"/>
                </a:ext>
              </a:extLst>
            </p:cNvPr>
            <p:cNvSpPr/>
            <p:nvPr/>
          </p:nvSpPr>
          <p:spPr>
            <a:xfrm>
              <a:off x="3113656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4" name="矩形 23">
              <a:extLst>
                <a:ext uri="{FF2B5EF4-FFF2-40B4-BE49-F238E27FC236}">
                  <a16:creationId xmlns:a16="http://schemas.microsoft.com/office/drawing/2014/main" id="{BAB74A2A-D85D-4EF3-BFFC-1B9D4C852229}"/>
                </a:ext>
              </a:extLst>
            </p:cNvPr>
            <p:cNvSpPr/>
            <p:nvPr/>
          </p:nvSpPr>
          <p:spPr>
            <a:xfrm>
              <a:off x="3113656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5" name="矩形 24">
              <a:extLst>
                <a:ext uri="{FF2B5EF4-FFF2-40B4-BE49-F238E27FC236}">
                  <a16:creationId xmlns:a16="http://schemas.microsoft.com/office/drawing/2014/main" id="{8EB232CD-E9D2-476F-9EFF-E1D76B56FD96}"/>
                </a:ext>
              </a:extLst>
            </p:cNvPr>
            <p:cNvSpPr/>
            <p:nvPr/>
          </p:nvSpPr>
          <p:spPr>
            <a:xfrm>
              <a:off x="7396896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6" name="矩形 25">
              <a:extLst>
                <a:ext uri="{FF2B5EF4-FFF2-40B4-BE49-F238E27FC236}">
                  <a16:creationId xmlns:a16="http://schemas.microsoft.com/office/drawing/2014/main" id="{FF084512-07A7-44CB-9768-B04A34E8F241}"/>
                </a:ext>
              </a:extLst>
            </p:cNvPr>
            <p:cNvSpPr/>
            <p:nvPr/>
          </p:nvSpPr>
          <p:spPr>
            <a:xfrm>
              <a:off x="7396896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7" name="矩形 26">
              <a:extLst>
                <a:ext uri="{FF2B5EF4-FFF2-40B4-BE49-F238E27FC236}">
                  <a16:creationId xmlns:a16="http://schemas.microsoft.com/office/drawing/2014/main" id="{3D03093B-4E74-4A4F-B65A-60DC00F8352D}"/>
                </a:ext>
              </a:extLst>
            </p:cNvPr>
            <p:cNvSpPr/>
            <p:nvPr/>
          </p:nvSpPr>
          <p:spPr>
            <a:xfrm>
              <a:off x="9532776" y="4586973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28" name="矩形 27">
              <a:extLst>
                <a:ext uri="{FF2B5EF4-FFF2-40B4-BE49-F238E27FC236}">
                  <a16:creationId xmlns:a16="http://schemas.microsoft.com/office/drawing/2014/main" id="{70A9C441-F2AF-462B-9583-3C242E1194D9}"/>
                </a:ext>
              </a:extLst>
            </p:cNvPr>
            <p:cNvSpPr/>
            <p:nvPr/>
          </p:nvSpPr>
          <p:spPr>
            <a:xfrm>
              <a:off x="9532776" y="5440450"/>
              <a:ext cx="1779022" cy="678844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en-US"/>
              </a:defPPr>
              <a:lvl1pPr marL="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1pPr>
              <a:lvl2pPr marL="609585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2pPr>
              <a:lvl3pPr marL="1219170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3pPr>
              <a:lvl4pPr marL="182875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4pPr>
              <a:lvl5pPr marL="243833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5pPr>
              <a:lvl6pPr marL="3047924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6pPr>
              <a:lvl7pPr marL="3657509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7pPr>
              <a:lvl8pPr marL="4267093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8pPr>
              <a:lvl9pPr marL="4876678" algn="l" defTabSz="609585" rtl="0" eaLnBrk="1" latinLnBrk="0" hangingPunct="1">
                <a:defRPr sz="2400" kern="1200">
                  <a:solidFill>
                    <a:schemeClr val="lt1"/>
                  </a:solidFill>
                </a:defRPr>
              </a:lvl9pPr>
            </a:lstStyle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lvl="0" algn="ctr">
                <a:lnSpc>
                  <a:spcPct val="150000"/>
                </a:lnSpc>
              </a:pPr>
              <a:r>
                <a:rPr lang="en-US" altLang="zh-CN" sz="11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29" name="组合 28">
              <a:extLst>
                <a:ext uri="{FF2B5EF4-FFF2-40B4-BE49-F238E27FC236}">
                  <a16:creationId xmlns:a16="http://schemas.microsoft.com/office/drawing/2014/main" id="{6A5033AC-9A28-4A62-AF5B-17A5D91CC10C}"/>
                </a:ext>
              </a:extLst>
            </p:cNvPr>
            <p:cNvGrpSpPr/>
            <p:nvPr/>
          </p:nvGrpSpPr>
          <p:grpSpPr>
            <a:xfrm>
              <a:off x="5171295" y="1202130"/>
              <a:ext cx="1849411" cy="997226"/>
              <a:chOff x="1072499" y="1797239"/>
              <a:chExt cx="1849411" cy="997226"/>
            </a:xfrm>
          </p:grpSpPr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0512A7C6-8F25-486A-ABB8-47BDD912A703}"/>
                  </a:ext>
                </a:extLst>
              </p:cNvPr>
              <p:cNvSpPr/>
              <p:nvPr/>
            </p:nvSpPr>
            <p:spPr bwMode="auto">
              <a:xfrm>
                <a:off x="1072499" y="1797239"/>
                <a:ext cx="1849411" cy="379554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72D8E3F1-0CB7-44AA-801B-D83F6F2C3AF6}"/>
                  </a:ext>
                </a:extLst>
              </p:cNvPr>
              <p:cNvSpPr/>
              <p:nvPr/>
            </p:nvSpPr>
            <p:spPr>
              <a:xfrm>
                <a:off x="1072499" y="2176793"/>
                <a:ext cx="1849411" cy="617672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75312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0DD6AED-60AB-4AE4-AEE5-DE0F59559F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91D77138-6682-4DB1-B15D-A3917969BD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6BF7322D-76CE-49CE-BC98-CD69F2D5E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6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D3B13375-84F5-465C-BDEB-819AB5C5261A}"/>
              </a:ext>
            </a:extLst>
          </p:cNvPr>
          <p:cNvGrpSpPr>
            <a:grpSpLocks noChangeAspect="1"/>
          </p:cNvGrpSpPr>
          <p:nvPr/>
        </p:nvGrpSpPr>
        <p:grpSpPr>
          <a:xfrm>
            <a:off x="1004596" y="1193014"/>
            <a:ext cx="10182808" cy="4855110"/>
            <a:chOff x="1004596" y="1193014"/>
            <a:chExt cx="10182808" cy="4855110"/>
          </a:xfrm>
        </p:grpSpPr>
        <p:sp>
          <p:nvSpPr>
            <p:cNvPr id="6" name="矩形: 圆角 5">
              <a:extLst>
                <a:ext uri="{FF2B5EF4-FFF2-40B4-BE49-F238E27FC236}">
                  <a16:creationId xmlns:a16="http://schemas.microsoft.com/office/drawing/2014/main" id="{B996AC49-479E-4995-A6C8-C6202BD3BE08}"/>
                </a:ext>
              </a:extLst>
            </p:cNvPr>
            <p:cNvSpPr/>
            <p:nvPr/>
          </p:nvSpPr>
          <p:spPr>
            <a:xfrm>
              <a:off x="1004596" y="2829436"/>
              <a:ext cx="10182808" cy="1550336"/>
            </a:xfrm>
            <a:prstGeom prst="roundRect">
              <a:avLst>
                <a:gd name="adj" fmla="val 50000"/>
              </a:avLst>
            </a:prstGeom>
            <a:solidFill>
              <a:schemeClr val="bg1">
                <a:lumMod val="95000"/>
                <a:alpha val="40000"/>
              </a:schemeClr>
            </a:solidFill>
            <a:ln w="38100">
              <a:solidFill>
                <a:schemeClr val="bg1">
                  <a:lumMod val="85000"/>
                </a:schemeClr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89433062-0DA7-4536-B6D3-362DAA797A4F}"/>
                </a:ext>
              </a:extLst>
            </p:cNvPr>
            <p:cNvGrpSpPr/>
            <p:nvPr/>
          </p:nvGrpSpPr>
          <p:grpSpPr>
            <a:xfrm>
              <a:off x="2488163" y="2417861"/>
              <a:ext cx="823158" cy="823150"/>
              <a:chOff x="3277103" y="2131962"/>
              <a:chExt cx="671155" cy="671150"/>
            </a:xfrm>
          </p:grpSpPr>
          <p:sp>
            <p:nvSpPr>
              <p:cNvPr id="53" name="椭圆 52">
                <a:extLst>
                  <a:ext uri="{FF2B5EF4-FFF2-40B4-BE49-F238E27FC236}">
                    <a16:creationId xmlns:a16="http://schemas.microsoft.com/office/drawing/2014/main" id="{8259016B-5C71-4F06-8E4A-12FDA7EA249C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47A3316C-C882-4E7B-BF6B-AFF1F9DADD53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8" name="组合 7">
              <a:extLst>
                <a:ext uri="{FF2B5EF4-FFF2-40B4-BE49-F238E27FC236}">
                  <a16:creationId xmlns:a16="http://schemas.microsoft.com/office/drawing/2014/main" id="{3ECC37E8-838B-4FF2-BF20-D37837E7DED3}"/>
                </a:ext>
              </a:extLst>
            </p:cNvPr>
            <p:cNvGrpSpPr/>
            <p:nvPr/>
          </p:nvGrpSpPr>
          <p:grpSpPr>
            <a:xfrm>
              <a:off x="5684421" y="2417861"/>
              <a:ext cx="823158" cy="823150"/>
              <a:chOff x="3277103" y="2131962"/>
              <a:chExt cx="671155" cy="671150"/>
            </a:xfrm>
          </p:grpSpPr>
          <p:sp>
            <p:nvSpPr>
              <p:cNvPr id="51" name="椭圆 50">
                <a:extLst>
                  <a:ext uri="{FF2B5EF4-FFF2-40B4-BE49-F238E27FC236}">
                    <a16:creationId xmlns:a16="http://schemas.microsoft.com/office/drawing/2014/main" id="{2E35C507-BAD3-4028-B3B2-3CC0B7CDCEA5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9EF84D0E-83CD-4A2B-9F4E-702A2113BAAC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CDC3BC30-8979-4FBD-A4BE-990F5095BD50}"/>
                </a:ext>
              </a:extLst>
            </p:cNvPr>
            <p:cNvGrpSpPr/>
            <p:nvPr/>
          </p:nvGrpSpPr>
          <p:grpSpPr>
            <a:xfrm>
              <a:off x="8880679" y="2417861"/>
              <a:ext cx="823158" cy="823150"/>
              <a:chOff x="3277103" y="2131962"/>
              <a:chExt cx="671155" cy="671150"/>
            </a:xfrm>
          </p:grpSpPr>
          <p:sp>
            <p:nvSpPr>
              <p:cNvPr id="49" name="椭圆 48">
                <a:extLst>
                  <a:ext uri="{FF2B5EF4-FFF2-40B4-BE49-F238E27FC236}">
                    <a16:creationId xmlns:a16="http://schemas.microsoft.com/office/drawing/2014/main" id="{29523ECF-7B41-4843-AF9A-B5003ADF0FAA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4FB35A1C-65ED-45B8-9888-270C6B1E0573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B19C68F4-4BCC-4F0B-9377-7A9248A90B9E}"/>
                </a:ext>
              </a:extLst>
            </p:cNvPr>
            <p:cNvGrpSpPr/>
            <p:nvPr/>
          </p:nvGrpSpPr>
          <p:grpSpPr>
            <a:xfrm>
              <a:off x="2488163" y="3968197"/>
              <a:ext cx="823158" cy="823150"/>
              <a:chOff x="3277103" y="2131962"/>
              <a:chExt cx="671155" cy="671150"/>
            </a:xfrm>
          </p:grpSpPr>
          <p:sp>
            <p:nvSpPr>
              <p:cNvPr id="47" name="椭圆 46">
                <a:extLst>
                  <a:ext uri="{FF2B5EF4-FFF2-40B4-BE49-F238E27FC236}">
                    <a16:creationId xmlns:a16="http://schemas.microsoft.com/office/drawing/2014/main" id="{075B580C-ED85-4EDC-9049-96E9EE664FF3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81E75737-51A3-4B50-9D34-0C3D1F8844EC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624C010F-7574-478E-9A4C-172AACB0171E}"/>
                </a:ext>
              </a:extLst>
            </p:cNvPr>
            <p:cNvGrpSpPr/>
            <p:nvPr/>
          </p:nvGrpSpPr>
          <p:grpSpPr>
            <a:xfrm>
              <a:off x="5684421" y="3968197"/>
              <a:ext cx="823158" cy="823150"/>
              <a:chOff x="3277103" y="2131962"/>
              <a:chExt cx="671155" cy="671150"/>
            </a:xfrm>
          </p:grpSpPr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B49F64CD-72DC-4537-BA23-8305D509BC41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A3F6A843-3CD1-4B9F-88E7-4694058B883B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4752713A-709A-48F9-8D2D-52B6DD272099}"/>
                </a:ext>
              </a:extLst>
            </p:cNvPr>
            <p:cNvGrpSpPr/>
            <p:nvPr/>
          </p:nvGrpSpPr>
          <p:grpSpPr>
            <a:xfrm>
              <a:off x="8880679" y="3968197"/>
              <a:ext cx="823158" cy="823150"/>
              <a:chOff x="3277103" y="2131962"/>
              <a:chExt cx="671155" cy="671150"/>
            </a:xfrm>
          </p:grpSpPr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31175D57-739B-4116-97C0-28F6172C8DF2}"/>
                  </a:ext>
                </a:extLst>
              </p:cNvPr>
              <p:cNvSpPr/>
              <p:nvPr/>
            </p:nvSpPr>
            <p:spPr>
              <a:xfrm>
                <a:off x="3277103" y="2131962"/>
                <a:ext cx="671155" cy="671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15354FD7-97F4-4A87-A400-A5FAFA12F734}"/>
                  </a:ext>
                </a:extLst>
              </p:cNvPr>
              <p:cNvSpPr/>
              <p:nvPr/>
            </p:nvSpPr>
            <p:spPr bwMode="auto">
              <a:xfrm>
                <a:off x="3467769" y="2342092"/>
                <a:ext cx="289626" cy="271835"/>
              </a:xfrm>
              <a:custGeom>
                <a:avLst/>
                <a:gdLst>
                  <a:gd name="connsiteX0" fmla="*/ 171677 w 606580"/>
                  <a:gd name="connsiteY0" fmla="*/ 318744 h 569322"/>
                  <a:gd name="connsiteX1" fmla="*/ 228500 w 606580"/>
                  <a:gd name="connsiteY1" fmla="*/ 375386 h 569322"/>
                  <a:gd name="connsiteX2" fmla="*/ 227108 w 606580"/>
                  <a:gd name="connsiteY2" fmla="*/ 387623 h 569322"/>
                  <a:gd name="connsiteX3" fmla="*/ 356167 w 606580"/>
                  <a:gd name="connsiteY3" fmla="*/ 468739 h 569322"/>
                  <a:gd name="connsiteX4" fmla="*/ 391728 w 606580"/>
                  <a:gd name="connsiteY4" fmla="*/ 455945 h 569322"/>
                  <a:gd name="connsiteX5" fmla="*/ 419490 w 606580"/>
                  <a:gd name="connsiteY5" fmla="*/ 463454 h 569322"/>
                  <a:gd name="connsiteX6" fmla="*/ 497019 w 606580"/>
                  <a:gd name="connsiteY6" fmla="*/ 395874 h 569322"/>
                  <a:gd name="connsiteX7" fmla="*/ 493026 w 606580"/>
                  <a:gd name="connsiteY7" fmla="*/ 375386 h 569322"/>
                  <a:gd name="connsiteX8" fmla="*/ 549849 w 606580"/>
                  <a:gd name="connsiteY8" fmla="*/ 318744 h 569322"/>
                  <a:gd name="connsiteX9" fmla="*/ 606580 w 606580"/>
                  <a:gd name="connsiteY9" fmla="*/ 375386 h 569322"/>
                  <a:gd name="connsiteX10" fmla="*/ 549849 w 606580"/>
                  <a:gd name="connsiteY10" fmla="*/ 432121 h 569322"/>
                  <a:gd name="connsiteX11" fmla="*/ 521809 w 606580"/>
                  <a:gd name="connsiteY11" fmla="*/ 424519 h 569322"/>
                  <a:gd name="connsiteX12" fmla="*/ 444466 w 606580"/>
                  <a:gd name="connsiteY12" fmla="*/ 491915 h 569322"/>
                  <a:gd name="connsiteX13" fmla="*/ 448459 w 606580"/>
                  <a:gd name="connsiteY13" fmla="*/ 512587 h 569322"/>
                  <a:gd name="connsiteX14" fmla="*/ 391728 w 606580"/>
                  <a:gd name="connsiteY14" fmla="*/ 569322 h 569322"/>
                  <a:gd name="connsiteX15" fmla="*/ 334905 w 606580"/>
                  <a:gd name="connsiteY15" fmla="*/ 512587 h 569322"/>
                  <a:gd name="connsiteX16" fmla="*/ 336112 w 606580"/>
                  <a:gd name="connsiteY16" fmla="*/ 500907 h 569322"/>
                  <a:gd name="connsiteX17" fmla="*/ 206867 w 606580"/>
                  <a:gd name="connsiteY17" fmla="*/ 419606 h 569322"/>
                  <a:gd name="connsiteX18" fmla="*/ 171677 w 606580"/>
                  <a:gd name="connsiteY18" fmla="*/ 432121 h 569322"/>
                  <a:gd name="connsiteX19" fmla="*/ 152736 w 606580"/>
                  <a:gd name="connsiteY19" fmla="*/ 428598 h 569322"/>
                  <a:gd name="connsiteX20" fmla="*/ 105847 w 606580"/>
                  <a:gd name="connsiteY20" fmla="*/ 484498 h 569322"/>
                  <a:gd name="connsiteX21" fmla="*/ 113554 w 606580"/>
                  <a:gd name="connsiteY21" fmla="*/ 512587 h 569322"/>
                  <a:gd name="connsiteX22" fmla="*/ 56823 w 606580"/>
                  <a:gd name="connsiteY22" fmla="*/ 569322 h 569322"/>
                  <a:gd name="connsiteX23" fmla="*/ 0 w 606580"/>
                  <a:gd name="connsiteY23" fmla="*/ 512587 h 569322"/>
                  <a:gd name="connsiteX24" fmla="*/ 56823 w 606580"/>
                  <a:gd name="connsiteY24" fmla="*/ 455945 h 569322"/>
                  <a:gd name="connsiteX25" fmla="*/ 77157 w 606580"/>
                  <a:gd name="connsiteY25" fmla="*/ 459839 h 569322"/>
                  <a:gd name="connsiteX26" fmla="*/ 123303 w 606580"/>
                  <a:gd name="connsiteY26" fmla="*/ 404773 h 569322"/>
                  <a:gd name="connsiteX27" fmla="*/ 114854 w 606580"/>
                  <a:gd name="connsiteY27" fmla="*/ 375386 h 569322"/>
                  <a:gd name="connsiteX28" fmla="*/ 171677 w 606580"/>
                  <a:gd name="connsiteY28" fmla="*/ 318744 h 569322"/>
                  <a:gd name="connsiteX29" fmla="*/ 316484 w 606580"/>
                  <a:gd name="connsiteY29" fmla="*/ 174937 h 569322"/>
                  <a:gd name="connsiteX30" fmla="*/ 316577 w 606580"/>
                  <a:gd name="connsiteY30" fmla="*/ 174991 h 569322"/>
                  <a:gd name="connsiteX31" fmla="*/ 316577 w 606580"/>
                  <a:gd name="connsiteY31" fmla="*/ 243818 h 569322"/>
                  <a:gd name="connsiteX32" fmla="*/ 338115 w 606580"/>
                  <a:gd name="connsiteY32" fmla="*/ 231488 h 569322"/>
                  <a:gd name="connsiteX33" fmla="*/ 346378 w 606580"/>
                  <a:gd name="connsiteY33" fmla="*/ 208497 h 569322"/>
                  <a:gd name="connsiteX34" fmla="*/ 339415 w 606580"/>
                  <a:gd name="connsiteY34" fmla="*/ 188102 h 569322"/>
                  <a:gd name="connsiteX35" fmla="*/ 316577 w 606580"/>
                  <a:gd name="connsiteY35" fmla="*/ 174991 h 569322"/>
                  <a:gd name="connsiteX36" fmla="*/ 316577 w 606580"/>
                  <a:gd name="connsiteY36" fmla="*/ 174937 h 569322"/>
                  <a:gd name="connsiteX37" fmla="*/ 290954 w 606580"/>
                  <a:gd name="connsiteY37" fmla="*/ 55995 h 569322"/>
                  <a:gd name="connsiteX38" fmla="*/ 274243 w 606580"/>
                  <a:gd name="connsiteY38" fmla="*/ 67954 h 569322"/>
                  <a:gd name="connsiteX39" fmla="*/ 268116 w 606580"/>
                  <a:gd name="connsiteY39" fmla="*/ 86681 h 569322"/>
                  <a:gd name="connsiteX40" fmla="*/ 273779 w 606580"/>
                  <a:gd name="connsiteY40" fmla="*/ 104109 h 569322"/>
                  <a:gd name="connsiteX41" fmla="*/ 290954 w 606580"/>
                  <a:gd name="connsiteY41" fmla="*/ 117088 h 569322"/>
                  <a:gd name="connsiteX42" fmla="*/ 290861 w 606580"/>
                  <a:gd name="connsiteY42" fmla="*/ 0 h 569322"/>
                  <a:gd name="connsiteX43" fmla="*/ 316484 w 606580"/>
                  <a:gd name="connsiteY43" fmla="*/ 0 h 569322"/>
                  <a:gd name="connsiteX44" fmla="*/ 316484 w 606580"/>
                  <a:gd name="connsiteY44" fmla="*/ 17522 h 569322"/>
                  <a:gd name="connsiteX45" fmla="*/ 361232 w 606580"/>
                  <a:gd name="connsiteY45" fmla="*/ 36619 h 569322"/>
                  <a:gd name="connsiteX46" fmla="*/ 382492 w 606580"/>
                  <a:gd name="connsiteY46" fmla="*/ 78893 h 569322"/>
                  <a:gd name="connsiteX47" fmla="*/ 337744 w 606580"/>
                  <a:gd name="connsiteY47" fmla="*/ 84734 h 569322"/>
                  <a:gd name="connsiteX48" fmla="*/ 316484 w 606580"/>
                  <a:gd name="connsiteY48" fmla="*/ 56458 h 569322"/>
                  <a:gd name="connsiteX49" fmla="*/ 316484 w 606580"/>
                  <a:gd name="connsiteY49" fmla="*/ 125525 h 569322"/>
                  <a:gd name="connsiteX50" fmla="*/ 374322 w 606580"/>
                  <a:gd name="connsiteY50" fmla="*/ 155283 h 569322"/>
                  <a:gd name="connsiteX51" fmla="*/ 389733 w 606580"/>
                  <a:gd name="connsiteY51" fmla="*/ 202193 h 569322"/>
                  <a:gd name="connsiteX52" fmla="*/ 370330 w 606580"/>
                  <a:gd name="connsiteY52" fmla="*/ 255963 h 569322"/>
                  <a:gd name="connsiteX53" fmla="*/ 316484 w 606580"/>
                  <a:gd name="connsiteY53" fmla="*/ 282755 h 569322"/>
                  <a:gd name="connsiteX54" fmla="*/ 316484 w 606580"/>
                  <a:gd name="connsiteY54" fmla="*/ 315851 h 569322"/>
                  <a:gd name="connsiteX55" fmla="*/ 290861 w 606580"/>
                  <a:gd name="connsiteY55" fmla="*/ 315851 h 569322"/>
                  <a:gd name="connsiteX56" fmla="*/ 290861 w 606580"/>
                  <a:gd name="connsiteY56" fmla="*/ 283682 h 569322"/>
                  <a:gd name="connsiteX57" fmla="*/ 241193 w 606580"/>
                  <a:gd name="connsiteY57" fmla="*/ 260876 h 569322"/>
                  <a:gd name="connsiteX58" fmla="*/ 216777 w 606580"/>
                  <a:gd name="connsiteY58" fmla="*/ 207106 h 569322"/>
                  <a:gd name="connsiteX59" fmla="*/ 262917 w 606580"/>
                  <a:gd name="connsiteY59" fmla="*/ 202100 h 569322"/>
                  <a:gd name="connsiteX60" fmla="*/ 273593 w 606580"/>
                  <a:gd name="connsiteY60" fmla="*/ 226482 h 569322"/>
                  <a:gd name="connsiteX61" fmla="*/ 290861 w 606580"/>
                  <a:gd name="connsiteY61" fmla="*/ 241315 h 569322"/>
                  <a:gd name="connsiteX62" fmla="*/ 290861 w 606580"/>
                  <a:gd name="connsiteY62" fmla="*/ 167335 h 569322"/>
                  <a:gd name="connsiteX63" fmla="*/ 240079 w 606580"/>
                  <a:gd name="connsiteY63" fmla="*/ 137484 h 569322"/>
                  <a:gd name="connsiteX64" fmla="*/ 223833 w 606580"/>
                  <a:gd name="connsiteY64" fmla="*/ 88813 h 569322"/>
                  <a:gd name="connsiteX65" fmla="*/ 242214 w 606580"/>
                  <a:gd name="connsiteY65" fmla="*/ 40142 h 569322"/>
                  <a:gd name="connsiteX66" fmla="*/ 290861 w 606580"/>
                  <a:gd name="connsiteY66" fmla="*/ 17522 h 5693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</a:cxnLst>
                <a:rect l="l" t="t" r="r" b="b"/>
                <a:pathLst>
                  <a:path w="606580" h="569322">
                    <a:moveTo>
                      <a:pt x="171677" y="318744"/>
                    </a:moveTo>
                    <a:cubicBezTo>
                      <a:pt x="203060" y="318744"/>
                      <a:pt x="228500" y="344145"/>
                      <a:pt x="228500" y="375386"/>
                    </a:cubicBezTo>
                    <a:cubicBezTo>
                      <a:pt x="228500" y="379650"/>
                      <a:pt x="227943" y="383729"/>
                      <a:pt x="227108" y="387623"/>
                    </a:cubicBezTo>
                    <a:lnTo>
                      <a:pt x="356167" y="468739"/>
                    </a:lnTo>
                    <a:cubicBezTo>
                      <a:pt x="365916" y="460859"/>
                      <a:pt x="378172" y="455945"/>
                      <a:pt x="391728" y="455945"/>
                    </a:cubicBezTo>
                    <a:cubicBezTo>
                      <a:pt x="401849" y="455945"/>
                      <a:pt x="411227" y="458819"/>
                      <a:pt x="419490" y="463454"/>
                    </a:cubicBezTo>
                    <a:lnTo>
                      <a:pt x="497019" y="395874"/>
                    </a:lnTo>
                    <a:cubicBezTo>
                      <a:pt x="494512" y="389570"/>
                      <a:pt x="493026" y="382617"/>
                      <a:pt x="493026" y="375386"/>
                    </a:cubicBezTo>
                    <a:cubicBezTo>
                      <a:pt x="493026" y="344052"/>
                      <a:pt x="518467" y="318744"/>
                      <a:pt x="549849" y="318744"/>
                    </a:cubicBezTo>
                    <a:cubicBezTo>
                      <a:pt x="581232" y="318744"/>
                      <a:pt x="606580" y="344052"/>
                      <a:pt x="606580" y="375386"/>
                    </a:cubicBezTo>
                    <a:cubicBezTo>
                      <a:pt x="606580" y="406720"/>
                      <a:pt x="581232" y="432121"/>
                      <a:pt x="549849" y="432121"/>
                    </a:cubicBezTo>
                    <a:cubicBezTo>
                      <a:pt x="539636" y="432121"/>
                      <a:pt x="530166" y="429154"/>
                      <a:pt x="521809" y="424519"/>
                    </a:cubicBezTo>
                    <a:lnTo>
                      <a:pt x="444466" y="491915"/>
                    </a:lnTo>
                    <a:cubicBezTo>
                      <a:pt x="446973" y="498311"/>
                      <a:pt x="448459" y="505264"/>
                      <a:pt x="448459" y="512587"/>
                    </a:cubicBezTo>
                    <a:cubicBezTo>
                      <a:pt x="448459" y="543921"/>
                      <a:pt x="423111" y="569322"/>
                      <a:pt x="391728" y="569322"/>
                    </a:cubicBezTo>
                    <a:cubicBezTo>
                      <a:pt x="360345" y="569322"/>
                      <a:pt x="334905" y="543921"/>
                      <a:pt x="334905" y="512587"/>
                    </a:cubicBezTo>
                    <a:cubicBezTo>
                      <a:pt x="334905" y="508601"/>
                      <a:pt x="335369" y="504708"/>
                      <a:pt x="336112" y="500907"/>
                    </a:cubicBezTo>
                    <a:lnTo>
                      <a:pt x="206867" y="419606"/>
                    </a:lnTo>
                    <a:cubicBezTo>
                      <a:pt x="197118" y="427300"/>
                      <a:pt x="185047" y="432121"/>
                      <a:pt x="171677" y="432121"/>
                    </a:cubicBezTo>
                    <a:cubicBezTo>
                      <a:pt x="164992" y="432121"/>
                      <a:pt x="158678" y="430730"/>
                      <a:pt x="152736" y="428598"/>
                    </a:cubicBezTo>
                    <a:lnTo>
                      <a:pt x="105847" y="484498"/>
                    </a:lnTo>
                    <a:cubicBezTo>
                      <a:pt x="110676" y="492842"/>
                      <a:pt x="113554" y="502390"/>
                      <a:pt x="113554" y="512587"/>
                    </a:cubicBezTo>
                    <a:cubicBezTo>
                      <a:pt x="113554" y="543921"/>
                      <a:pt x="88206" y="569322"/>
                      <a:pt x="56823" y="569322"/>
                    </a:cubicBezTo>
                    <a:cubicBezTo>
                      <a:pt x="25441" y="569322"/>
                      <a:pt x="0" y="543921"/>
                      <a:pt x="0" y="512587"/>
                    </a:cubicBezTo>
                    <a:cubicBezTo>
                      <a:pt x="0" y="481346"/>
                      <a:pt x="25441" y="455945"/>
                      <a:pt x="56823" y="455945"/>
                    </a:cubicBezTo>
                    <a:cubicBezTo>
                      <a:pt x="63973" y="455945"/>
                      <a:pt x="70843" y="457429"/>
                      <a:pt x="77157" y="459839"/>
                    </a:cubicBezTo>
                    <a:lnTo>
                      <a:pt x="123303" y="404773"/>
                    </a:lnTo>
                    <a:cubicBezTo>
                      <a:pt x="118103" y="396152"/>
                      <a:pt x="114854" y="386232"/>
                      <a:pt x="114854" y="375386"/>
                    </a:cubicBezTo>
                    <a:cubicBezTo>
                      <a:pt x="114854" y="344145"/>
                      <a:pt x="140294" y="318744"/>
                      <a:pt x="171677" y="318744"/>
                    </a:cubicBezTo>
                    <a:close/>
                    <a:moveTo>
                      <a:pt x="316484" y="174937"/>
                    </a:moveTo>
                    <a:lnTo>
                      <a:pt x="316577" y="174991"/>
                    </a:lnTo>
                    <a:lnTo>
                      <a:pt x="316577" y="243818"/>
                    </a:lnTo>
                    <a:cubicBezTo>
                      <a:pt x="325397" y="242149"/>
                      <a:pt x="332545" y="238070"/>
                      <a:pt x="338115" y="231488"/>
                    </a:cubicBezTo>
                    <a:cubicBezTo>
                      <a:pt x="343593" y="224999"/>
                      <a:pt x="346378" y="217304"/>
                      <a:pt x="346378" y="208497"/>
                    </a:cubicBezTo>
                    <a:cubicBezTo>
                      <a:pt x="346378" y="200617"/>
                      <a:pt x="344057" y="193757"/>
                      <a:pt x="339415" y="188102"/>
                    </a:cubicBezTo>
                    <a:lnTo>
                      <a:pt x="316577" y="174991"/>
                    </a:lnTo>
                    <a:lnTo>
                      <a:pt x="316577" y="174937"/>
                    </a:lnTo>
                    <a:close/>
                    <a:moveTo>
                      <a:pt x="290954" y="55995"/>
                    </a:moveTo>
                    <a:cubicBezTo>
                      <a:pt x="283991" y="58312"/>
                      <a:pt x="278421" y="62299"/>
                      <a:pt x="274243" y="67954"/>
                    </a:cubicBezTo>
                    <a:cubicBezTo>
                      <a:pt x="270158" y="73609"/>
                      <a:pt x="268116" y="79913"/>
                      <a:pt x="268116" y="86681"/>
                    </a:cubicBezTo>
                    <a:cubicBezTo>
                      <a:pt x="268116" y="92892"/>
                      <a:pt x="269973" y="98732"/>
                      <a:pt x="273779" y="104109"/>
                    </a:cubicBezTo>
                    <a:cubicBezTo>
                      <a:pt x="277493" y="109394"/>
                      <a:pt x="283249" y="113751"/>
                      <a:pt x="290954" y="117088"/>
                    </a:cubicBezTo>
                    <a:close/>
                    <a:moveTo>
                      <a:pt x="290861" y="0"/>
                    </a:moveTo>
                    <a:lnTo>
                      <a:pt x="316484" y="0"/>
                    </a:lnTo>
                    <a:lnTo>
                      <a:pt x="316484" y="17522"/>
                    </a:lnTo>
                    <a:cubicBezTo>
                      <a:pt x="335237" y="19747"/>
                      <a:pt x="350184" y="26143"/>
                      <a:pt x="361232" y="36619"/>
                    </a:cubicBezTo>
                    <a:cubicBezTo>
                      <a:pt x="372280" y="47188"/>
                      <a:pt x="379428" y="61279"/>
                      <a:pt x="382492" y="78893"/>
                    </a:cubicBezTo>
                    <a:lnTo>
                      <a:pt x="337744" y="84734"/>
                    </a:lnTo>
                    <a:cubicBezTo>
                      <a:pt x="335052" y="70828"/>
                      <a:pt x="327903" y="61464"/>
                      <a:pt x="316484" y="56458"/>
                    </a:cubicBezTo>
                    <a:lnTo>
                      <a:pt x="316484" y="125525"/>
                    </a:lnTo>
                    <a:cubicBezTo>
                      <a:pt x="344800" y="133219"/>
                      <a:pt x="364110" y="143139"/>
                      <a:pt x="374322" y="155283"/>
                    </a:cubicBezTo>
                    <a:cubicBezTo>
                      <a:pt x="384534" y="167428"/>
                      <a:pt x="389733" y="183095"/>
                      <a:pt x="389733" y="202193"/>
                    </a:cubicBezTo>
                    <a:cubicBezTo>
                      <a:pt x="389733" y="223423"/>
                      <a:pt x="383234" y="241408"/>
                      <a:pt x="370330" y="255963"/>
                    </a:cubicBezTo>
                    <a:cubicBezTo>
                      <a:pt x="357426" y="270610"/>
                      <a:pt x="339508" y="279510"/>
                      <a:pt x="316484" y="282755"/>
                    </a:cubicBezTo>
                    <a:lnTo>
                      <a:pt x="316484" y="315851"/>
                    </a:lnTo>
                    <a:lnTo>
                      <a:pt x="290861" y="315851"/>
                    </a:lnTo>
                    <a:lnTo>
                      <a:pt x="290861" y="283682"/>
                    </a:lnTo>
                    <a:cubicBezTo>
                      <a:pt x="270530" y="281179"/>
                      <a:pt x="253912" y="273577"/>
                      <a:pt x="241193" y="260876"/>
                    </a:cubicBezTo>
                    <a:cubicBezTo>
                      <a:pt x="228475" y="248175"/>
                      <a:pt x="220398" y="230283"/>
                      <a:pt x="216777" y="207106"/>
                    </a:cubicBezTo>
                    <a:lnTo>
                      <a:pt x="262917" y="202100"/>
                    </a:lnTo>
                    <a:cubicBezTo>
                      <a:pt x="264867" y="211556"/>
                      <a:pt x="268395" y="219714"/>
                      <a:pt x="273593" y="226482"/>
                    </a:cubicBezTo>
                    <a:cubicBezTo>
                      <a:pt x="278792" y="233342"/>
                      <a:pt x="284548" y="238256"/>
                      <a:pt x="290861" y="241315"/>
                    </a:cubicBezTo>
                    <a:lnTo>
                      <a:pt x="290861" y="167335"/>
                    </a:lnTo>
                    <a:cubicBezTo>
                      <a:pt x="267745" y="160753"/>
                      <a:pt x="250848" y="150834"/>
                      <a:pt x="240079" y="137484"/>
                    </a:cubicBezTo>
                    <a:cubicBezTo>
                      <a:pt x="229310" y="124041"/>
                      <a:pt x="223833" y="107910"/>
                      <a:pt x="223833" y="88813"/>
                    </a:cubicBezTo>
                    <a:cubicBezTo>
                      <a:pt x="223833" y="69530"/>
                      <a:pt x="229960" y="53306"/>
                      <a:pt x="242214" y="40142"/>
                    </a:cubicBezTo>
                    <a:cubicBezTo>
                      <a:pt x="254376" y="27070"/>
                      <a:pt x="270623" y="19468"/>
                      <a:pt x="290861" y="17522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</a:ln>
            </p:spPr>
            <p:txBody>
              <a:bodyPr anchor="ctr"/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endParaRPr>
                  <a:cs typeface="+mn-ea"/>
                  <a:sym typeface="+mn-lt"/>
                </a:endParaRPr>
              </a:p>
            </p:txBody>
          </p:sp>
        </p:grpSp>
        <p:grpSp>
          <p:nvGrpSpPr>
            <p:cNvPr id="13" name="组合 12">
              <a:extLst>
                <a:ext uri="{FF2B5EF4-FFF2-40B4-BE49-F238E27FC236}">
                  <a16:creationId xmlns:a16="http://schemas.microsoft.com/office/drawing/2014/main" id="{4CF50C20-AF10-4F05-AA01-6318E1AB6596}"/>
                </a:ext>
              </a:extLst>
            </p:cNvPr>
            <p:cNvGrpSpPr/>
            <p:nvPr/>
          </p:nvGrpSpPr>
          <p:grpSpPr>
            <a:xfrm rot="5400000">
              <a:off x="4154102" y="2725919"/>
              <a:ext cx="232670" cy="232722"/>
              <a:chOff x="4022045" y="3355851"/>
              <a:chExt cx="311828" cy="311898"/>
            </a:xfrm>
          </p:grpSpPr>
          <p:sp>
            <p:nvSpPr>
              <p:cNvPr id="41" name="椭圆 40">
                <a:extLst>
                  <a:ext uri="{FF2B5EF4-FFF2-40B4-BE49-F238E27FC236}">
                    <a16:creationId xmlns:a16="http://schemas.microsoft.com/office/drawing/2014/main" id="{5978135D-2857-4F40-894F-AC3701DFB8D5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2" name="流程图: 摘录 41">
                <a:extLst>
                  <a:ext uri="{FF2B5EF4-FFF2-40B4-BE49-F238E27FC236}">
                    <a16:creationId xmlns:a16="http://schemas.microsoft.com/office/drawing/2014/main" id="{2A6DFB14-218B-42B2-B13B-880BDF8C3B66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4" name="组合 13">
              <a:extLst>
                <a:ext uri="{FF2B5EF4-FFF2-40B4-BE49-F238E27FC236}">
                  <a16:creationId xmlns:a16="http://schemas.microsoft.com/office/drawing/2014/main" id="{723B1A66-B5A8-405D-9EEC-EFB475F45841}"/>
                </a:ext>
              </a:extLst>
            </p:cNvPr>
            <p:cNvGrpSpPr/>
            <p:nvPr/>
          </p:nvGrpSpPr>
          <p:grpSpPr>
            <a:xfrm rot="5400000">
              <a:off x="7577794" y="2725919"/>
              <a:ext cx="232670" cy="232722"/>
              <a:chOff x="4022045" y="3355851"/>
              <a:chExt cx="311828" cy="311898"/>
            </a:xfrm>
          </p:grpSpPr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1E5253FD-99EA-45FC-8623-8AD80267CF09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40" name="流程图: 摘录 39">
                <a:extLst>
                  <a:ext uri="{FF2B5EF4-FFF2-40B4-BE49-F238E27FC236}">
                    <a16:creationId xmlns:a16="http://schemas.microsoft.com/office/drawing/2014/main" id="{35159045-7939-4371-B270-FBDFF04CCA3D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5" name="组合 14">
              <a:extLst>
                <a:ext uri="{FF2B5EF4-FFF2-40B4-BE49-F238E27FC236}">
                  <a16:creationId xmlns:a16="http://schemas.microsoft.com/office/drawing/2014/main" id="{8AD740A2-CBF1-4BCC-B1EC-55D709E49B2B}"/>
                </a:ext>
              </a:extLst>
            </p:cNvPr>
            <p:cNvGrpSpPr/>
            <p:nvPr/>
          </p:nvGrpSpPr>
          <p:grpSpPr>
            <a:xfrm rot="16200000" flipH="1">
              <a:off x="7567696" y="4299093"/>
              <a:ext cx="232670" cy="232722"/>
              <a:chOff x="4022045" y="3355851"/>
              <a:chExt cx="311828" cy="311898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6BE19042-988F-4CBB-B51C-9C009A2B5666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8" name="流程图: 摘录 37">
                <a:extLst>
                  <a:ext uri="{FF2B5EF4-FFF2-40B4-BE49-F238E27FC236}">
                    <a16:creationId xmlns:a16="http://schemas.microsoft.com/office/drawing/2014/main" id="{C0A3953F-60D8-4FCB-A26E-C148EC5258E0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6" name="组合 15">
              <a:extLst>
                <a:ext uri="{FF2B5EF4-FFF2-40B4-BE49-F238E27FC236}">
                  <a16:creationId xmlns:a16="http://schemas.microsoft.com/office/drawing/2014/main" id="{5E13AC7A-05E1-4E8B-B5FF-27C7DD72EE43}"/>
                </a:ext>
              </a:extLst>
            </p:cNvPr>
            <p:cNvGrpSpPr/>
            <p:nvPr/>
          </p:nvGrpSpPr>
          <p:grpSpPr>
            <a:xfrm rot="16200000" flipH="1">
              <a:off x="4154102" y="4299093"/>
              <a:ext cx="232670" cy="232722"/>
              <a:chOff x="4022045" y="3355851"/>
              <a:chExt cx="311828" cy="311898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A42BFF65-479E-47EF-B933-47AC7814F49A}"/>
                  </a:ext>
                </a:extLst>
              </p:cNvPr>
              <p:cNvSpPr/>
              <p:nvPr/>
            </p:nvSpPr>
            <p:spPr>
              <a:xfrm>
                <a:off x="4022045" y="3355851"/>
                <a:ext cx="311828" cy="311898"/>
              </a:xfrm>
              <a:prstGeom prst="ellipse">
                <a:avLst/>
              </a:prstGeom>
              <a:solidFill>
                <a:schemeClr val="bg1"/>
              </a:solidFill>
              <a:ln w="19050">
                <a:solidFill>
                  <a:schemeClr val="accent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rtlCol="0" anchor="ctr" anchorCtr="1"/>
              <a:lstStyle/>
              <a:p>
                <a:pPr algn="ctr"/>
                <a:endParaRPr lang="zh-CN" altLang="en-US" sz="1100" b="1" dirty="0">
                  <a:solidFill>
                    <a:schemeClr val="accent6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6" name="流程图: 摘录 35">
                <a:extLst>
                  <a:ext uri="{FF2B5EF4-FFF2-40B4-BE49-F238E27FC236}">
                    <a16:creationId xmlns:a16="http://schemas.microsoft.com/office/drawing/2014/main" id="{9262F1DA-2B1D-4547-9F34-A96476037848}"/>
                  </a:ext>
                </a:extLst>
              </p:cNvPr>
              <p:cNvSpPr/>
              <p:nvPr/>
            </p:nvSpPr>
            <p:spPr>
              <a:xfrm rot="14465213">
                <a:off x="4087880" y="3453532"/>
                <a:ext cx="136730" cy="136732"/>
              </a:xfrm>
              <a:prstGeom prst="flowChartExtra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ctr">
                <a:normAutofit fontScale="25000" lnSpcReduction="20000"/>
              </a:bodyPr>
              <a:lstStyle/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FCFA06BB-67A3-467C-9C94-91EBFA6302C7}"/>
                </a:ext>
              </a:extLst>
            </p:cNvPr>
            <p:cNvGrpSpPr/>
            <p:nvPr/>
          </p:nvGrpSpPr>
          <p:grpSpPr>
            <a:xfrm>
              <a:off x="1883336" y="1193014"/>
              <a:ext cx="2032570" cy="1095987"/>
              <a:chOff x="1172847" y="1872239"/>
              <a:chExt cx="2032570" cy="1095987"/>
            </a:xfrm>
          </p:grpSpPr>
          <p:sp>
            <p:nvSpPr>
              <p:cNvPr id="33" name="矩形 32">
                <a:extLst>
                  <a:ext uri="{FF2B5EF4-FFF2-40B4-BE49-F238E27FC236}">
                    <a16:creationId xmlns:a16="http://schemas.microsoft.com/office/drawing/2014/main" id="{9A12AEEC-5513-45AE-B5B7-A6DE9B52ECEF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4" name="矩形 33">
                <a:extLst>
                  <a:ext uri="{FF2B5EF4-FFF2-40B4-BE49-F238E27FC236}">
                    <a16:creationId xmlns:a16="http://schemas.microsoft.com/office/drawing/2014/main" id="{F784868B-CBE7-414E-BAD1-6E5FC5F75920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ADD16FBC-3204-4F8C-8D6B-77BCB6B50279}"/>
                </a:ext>
              </a:extLst>
            </p:cNvPr>
            <p:cNvGrpSpPr/>
            <p:nvPr/>
          </p:nvGrpSpPr>
          <p:grpSpPr>
            <a:xfrm>
              <a:off x="5079594" y="1193014"/>
              <a:ext cx="2032570" cy="1095987"/>
              <a:chOff x="1172847" y="1872239"/>
              <a:chExt cx="2032570" cy="1095987"/>
            </a:xfrm>
          </p:grpSpPr>
          <p:sp>
            <p:nvSpPr>
              <p:cNvPr id="31" name="矩形 30">
                <a:extLst>
                  <a:ext uri="{FF2B5EF4-FFF2-40B4-BE49-F238E27FC236}">
                    <a16:creationId xmlns:a16="http://schemas.microsoft.com/office/drawing/2014/main" id="{F9CD7D15-D15E-453C-B180-438227E160C7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E32837B6-C1A1-460F-826A-B8C1A6DED0B4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048F6A20-B167-49E8-924A-6D3279BE5724}"/>
                </a:ext>
              </a:extLst>
            </p:cNvPr>
            <p:cNvGrpSpPr/>
            <p:nvPr/>
          </p:nvGrpSpPr>
          <p:grpSpPr>
            <a:xfrm>
              <a:off x="8275852" y="1193014"/>
              <a:ext cx="2032570" cy="1095987"/>
              <a:chOff x="1172847" y="1872239"/>
              <a:chExt cx="2032570" cy="1095987"/>
            </a:xfrm>
          </p:grpSpPr>
          <p:sp>
            <p:nvSpPr>
              <p:cNvPr id="29" name="矩形 28">
                <a:extLst>
                  <a:ext uri="{FF2B5EF4-FFF2-40B4-BE49-F238E27FC236}">
                    <a16:creationId xmlns:a16="http://schemas.microsoft.com/office/drawing/2014/main" id="{33391C6A-7C01-4A66-B5F2-D178B224CCC6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30" name="矩形 29">
                <a:extLst>
                  <a:ext uri="{FF2B5EF4-FFF2-40B4-BE49-F238E27FC236}">
                    <a16:creationId xmlns:a16="http://schemas.microsoft.com/office/drawing/2014/main" id="{988ED6C4-ACE8-4BEE-85F5-76872B5C55B3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ECCB2CE9-E1A1-415F-A432-C1CC1B5248F6}"/>
                </a:ext>
              </a:extLst>
            </p:cNvPr>
            <p:cNvGrpSpPr/>
            <p:nvPr/>
          </p:nvGrpSpPr>
          <p:grpSpPr>
            <a:xfrm>
              <a:off x="1883336" y="4952137"/>
              <a:ext cx="2032570" cy="1095987"/>
              <a:chOff x="1172847" y="1872239"/>
              <a:chExt cx="2032570" cy="1095987"/>
            </a:xfrm>
          </p:grpSpPr>
          <p:sp>
            <p:nvSpPr>
              <p:cNvPr id="27" name="矩形 26">
                <a:extLst>
                  <a:ext uri="{FF2B5EF4-FFF2-40B4-BE49-F238E27FC236}">
                    <a16:creationId xmlns:a16="http://schemas.microsoft.com/office/drawing/2014/main" id="{129386A8-98FE-4847-8553-55375FD24DB7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8" name="矩形 27">
                <a:extLst>
                  <a:ext uri="{FF2B5EF4-FFF2-40B4-BE49-F238E27FC236}">
                    <a16:creationId xmlns:a16="http://schemas.microsoft.com/office/drawing/2014/main" id="{711F10A4-7E69-4C71-8D0A-D7018F409D4E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81BCAC2D-62B7-403B-A7EF-FB85AC5AAA6C}"/>
                </a:ext>
              </a:extLst>
            </p:cNvPr>
            <p:cNvGrpSpPr/>
            <p:nvPr/>
          </p:nvGrpSpPr>
          <p:grpSpPr>
            <a:xfrm>
              <a:off x="5079594" y="4952137"/>
              <a:ext cx="2032570" cy="1095987"/>
              <a:chOff x="1172847" y="1872239"/>
              <a:chExt cx="2032570" cy="1095987"/>
            </a:xfrm>
          </p:grpSpPr>
          <p:sp>
            <p:nvSpPr>
              <p:cNvPr id="25" name="矩形 24">
                <a:extLst>
                  <a:ext uri="{FF2B5EF4-FFF2-40B4-BE49-F238E27FC236}">
                    <a16:creationId xmlns:a16="http://schemas.microsoft.com/office/drawing/2014/main" id="{6E7614DF-12D8-4BA5-A4C8-7FD327500EAB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6" name="矩形 25">
                <a:extLst>
                  <a:ext uri="{FF2B5EF4-FFF2-40B4-BE49-F238E27FC236}">
                    <a16:creationId xmlns:a16="http://schemas.microsoft.com/office/drawing/2014/main" id="{B57075D7-5CE5-4611-88EC-F5D568125E03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DC8C84A8-D952-4847-897E-C9DB9863D606}"/>
                </a:ext>
              </a:extLst>
            </p:cNvPr>
            <p:cNvGrpSpPr/>
            <p:nvPr/>
          </p:nvGrpSpPr>
          <p:grpSpPr>
            <a:xfrm>
              <a:off x="8275852" y="4952137"/>
              <a:ext cx="2032570" cy="1095987"/>
              <a:chOff x="1172847" y="1872239"/>
              <a:chExt cx="2032570" cy="1095987"/>
            </a:xfrm>
          </p:grpSpPr>
          <p:sp>
            <p:nvSpPr>
              <p:cNvPr id="23" name="矩形 22">
                <a:extLst>
                  <a:ext uri="{FF2B5EF4-FFF2-40B4-BE49-F238E27FC236}">
                    <a16:creationId xmlns:a16="http://schemas.microsoft.com/office/drawing/2014/main" id="{53F1E78A-DC5B-47AE-BFD1-E304A430EE59}"/>
                  </a:ext>
                </a:extLst>
              </p:cNvPr>
              <p:cNvSpPr/>
              <p:nvPr/>
            </p:nvSpPr>
            <p:spPr bwMode="auto">
              <a:xfrm>
                <a:off x="1172847" y="1872239"/>
                <a:ext cx="2032570" cy="417143"/>
              </a:xfrm>
              <a:prstGeom prst="rect">
                <a:avLst/>
              </a:prstGeom>
              <a:noFill/>
              <a:ln w="28575" algn="ctr">
                <a:noFill/>
                <a:round/>
                <a:headEnd/>
                <a:tailEnd/>
              </a:ln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</a:defRPr>
                </a:lvl9pPr>
              </a:lstStyle>
              <a:p>
                <a:pPr algn="ctr" defTabSz="914400"/>
                <a:r>
                  <a:rPr lang="en-US" altLang="zh-CN" sz="1600" b="1" kern="0" dirty="0">
                    <a:cs typeface="+mn-ea"/>
                    <a:sym typeface="+mn-lt"/>
                  </a:rPr>
                  <a:t>Text here</a:t>
                </a:r>
                <a:endParaRPr lang="zh-CN" altLang="en-US" sz="1600" b="1" kern="0" dirty="0">
                  <a:cs typeface="+mn-ea"/>
                  <a:sym typeface="+mn-lt"/>
                </a:endParaRPr>
              </a:p>
            </p:txBody>
          </p:sp>
          <p:sp>
            <p:nvSpPr>
              <p:cNvPr id="24" name="矩形 23">
                <a:extLst>
                  <a:ext uri="{FF2B5EF4-FFF2-40B4-BE49-F238E27FC236}">
                    <a16:creationId xmlns:a16="http://schemas.microsoft.com/office/drawing/2014/main" id="{01ED0D27-F879-4B76-B9E0-B912C5280AB8}"/>
                  </a:ext>
                </a:extLst>
              </p:cNvPr>
              <p:cNvSpPr/>
              <p:nvPr/>
            </p:nvSpPr>
            <p:spPr>
              <a:xfrm>
                <a:off x="1172847" y="2289382"/>
                <a:ext cx="2032570" cy="678844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wrap="square" lIns="91440" tIns="45720" rIns="91440" bIns="45720" rtlCol="0" anchor="t">
                <a:norm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lt1"/>
                    </a:solidFill>
                  </a:defRPr>
                </a:lvl9pPr>
              </a:lstStyle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Supporting text here.</a:t>
                </a:r>
              </a:p>
              <a:p>
                <a:pPr lvl="0" algn="ctr">
                  <a:lnSpc>
                    <a:spcPct val="150000"/>
                  </a:lnSpc>
                </a:pPr>
                <a:r>
                  <a:rPr lang="en-US" altLang="zh-CN" sz="1100" dirty="0">
                    <a:solidFill>
                      <a:schemeClr val="tx1"/>
                    </a:solidFill>
                    <a:cs typeface="+mn-ea"/>
                    <a:sym typeface="+mn-lt"/>
                  </a:rPr>
                  <a:t>……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7267395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B15680A-C30B-470B-BEDA-DA5BF757B8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EC7160A5-A66D-4FC0-91C9-2E1308D3BD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F8DC7CEB-3700-4121-BCE6-9E21D755DA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7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0CF81473-CAE8-483C-B2BC-DE4C9F37C567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45800" cy="5016500"/>
            <a:chOff x="673100" y="1130300"/>
            <a:chExt cx="10845800" cy="50165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AA2728B0-75A7-416B-A6B1-EF1C02CB3ACE}"/>
                </a:ext>
              </a:extLst>
            </p:cNvPr>
            <p:cNvSpPr/>
            <p:nvPr/>
          </p:nvSpPr>
          <p:spPr>
            <a:xfrm>
              <a:off x="673100" y="1946275"/>
              <a:ext cx="10845800" cy="420052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ctr">
              <a:normAutofit/>
            </a:bodyPr>
            <a:lstStyle/>
            <a:p>
              <a:pPr algn="ctr"/>
              <a:endParaRPr lang="zh-CN" altLang="en-US">
                <a:cs typeface="+mn-ea"/>
                <a:sym typeface="+mn-lt"/>
              </a:endParaRPr>
            </a:p>
          </p:txBody>
        </p:sp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03E3ADAF-8145-415A-8324-A61BEE443895}"/>
                </a:ext>
              </a:extLst>
            </p:cNvPr>
            <p:cNvGrpSpPr/>
            <p:nvPr/>
          </p:nvGrpSpPr>
          <p:grpSpPr>
            <a:xfrm>
              <a:off x="4686300" y="1130300"/>
              <a:ext cx="2819400" cy="1219200"/>
              <a:chOff x="4686300" y="1130300"/>
              <a:chExt cx="2819400" cy="1219200"/>
            </a:xfrm>
          </p:grpSpPr>
          <p:sp>
            <p:nvSpPr>
              <p:cNvPr id="32" name="矩形 31">
                <a:extLst>
                  <a:ext uri="{FF2B5EF4-FFF2-40B4-BE49-F238E27FC236}">
                    <a16:creationId xmlns:a16="http://schemas.microsoft.com/office/drawing/2014/main" id="{D0ADB613-476A-4922-9748-B9C2CB1E2D09}"/>
                  </a:ext>
                </a:extLst>
              </p:cNvPr>
              <p:cNvSpPr/>
              <p:nvPr/>
            </p:nvSpPr>
            <p:spPr bwMode="auto">
              <a:xfrm>
                <a:off x="4686300" y="1572105"/>
                <a:ext cx="2819400" cy="777395"/>
              </a:xfrm>
              <a:prstGeom prst="rect">
                <a:avLst/>
              </a:prstGeom>
              <a:solidFill>
                <a:srgbClr val="FFFFFF"/>
              </a:solidFill>
              <a:ln w="12700">
                <a:solidFill>
                  <a:schemeClr val="accent1"/>
                </a:solidFill>
                <a:miter lim="800000"/>
                <a:headEnd/>
                <a:tailEnd/>
              </a:ln>
            </p:spPr>
            <p:txBody>
              <a:bodyPr wrap="square" lIns="91440" tIns="45720" rIns="91440" bIns="45720" anchor="ctr" anchorCtr="0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/>
                <a:r>
                  <a:rPr lang="en-US" altLang="zh-CN" sz="2800" dirty="0">
                    <a:cs typeface="+mn-ea"/>
                    <a:sym typeface="+mn-lt"/>
                  </a:rPr>
                  <a:t>…Text</a:t>
                </a:r>
              </a:p>
            </p:txBody>
          </p:sp>
          <p:sp>
            <p:nvSpPr>
              <p:cNvPr id="33" name="文本框 32">
                <a:extLst>
                  <a:ext uri="{FF2B5EF4-FFF2-40B4-BE49-F238E27FC236}">
                    <a16:creationId xmlns:a16="http://schemas.microsoft.com/office/drawing/2014/main" id="{71A67924-3191-4DAD-B75A-9F06FA9117EF}"/>
                  </a:ext>
                </a:extLst>
              </p:cNvPr>
              <p:cNvSpPr txBox="1"/>
              <p:nvPr/>
            </p:nvSpPr>
            <p:spPr bwMode="auto">
              <a:xfrm>
                <a:off x="4686300" y="1130300"/>
                <a:ext cx="2819400" cy="441805"/>
              </a:xfrm>
              <a:prstGeom prst="rect">
                <a:avLst/>
              </a:prstGeom>
              <a:no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91440" tIns="45720" rIns="91440" bIns="45720" anchor="ctr">
                <a:normAutofit/>
              </a:bodyPr>
              <a:lstStyle>
                <a:defPPr>
                  <a:defRPr lang="zh-CN"/>
                </a:defPPr>
                <a:lvl1pPr marL="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18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377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566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754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5943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131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320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509" algn="l" defTabSz="914377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pPr algn="ctr">
                  <a:spcBef>
                    <a:spcPct val="0"/>
                  </a:spcBef>
                </a:pPr>
                <a:r>
                  <a:rPr lang="en-US" altLang="zh-CN" sz="1200" u="sng" dirty="0">
                    <a:cs typeface="+mn-ea"/>
                    <a:sym typeface="+mn-lt"/>
                  </a:rPr>
                  <a:t>Supporting text here</a:t>
                </a:r>
              </a:p>
            </p:txBody>
          </p:sp>
        </p:grpSp>
        <p:sp>
          <p:nvSpPr>
            <p:cNvPr id="8" name="文本框 7">
              <a:extLst>
                <a:ext uri="{FF2B5EF4-FFF2-40B4-BE49-F238E27FC236}">
                  <a16:creationId xmlns:a16="http://schemas.microsoft.com/office/drawing/2014/main" id="{DF951056-B4D4-49B9-8C05-060CFA9F6D04}"/>
                </a:ext>
              </a:extLst>
            </p:cNvPr>
            <p:cNvSpPr txBox="1"/>
            <p:nvPr/>
          </p:nvSpPr>
          <p:spPr bwMode="auto">
            <a:xfrm>
              <a:off x="741363" y="3399535"/>
              <a:ext cx="10709275" cy="842265"/>
            </a:xfrm>
            <a:prstGeom prst="rect">
              <a:avLst/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>
              <a:noFill/>
            </a:ln>
          </p:spPr>
          <p:txBody>
            <a:bodyPr wrap="square" lIns="91440" tIns="45720" rIns="91440" bIns="45720" anchor="t">
              <a:normAutofit/>
            </a:bodyPr>
            <a:lstStyle>
              <a:defPPr>
                <a:defRPr lang="zh-CN"/>
              </a:defPPr>
              <a:lvl1pPr marL="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1pPr>
              <a:lvl2pPr marL="45718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2pPr>
              <a:lvl3pPr marL="914377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3pPr>
              <a:lvl4pPr marL="1371566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4pPr>
              <a:lvl5pPr marL="1828754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5pPr>
              <a:lvl6pPr marL="2285943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6pPr>
              <a:lvl7pPr marL="2743131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7pPr>
              <a:lvl8pPr marL="3200320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8pPr>
              <a:lvl9pPr marL="3657509" algn="l" defTabSz="914377" rtl="0" eaLnBrk="1" latinLnBrk="0" hangingPunct="1">
                <a:defRPr sz="1800" kern="1200">
                  <a:solidFill>
                    <a:schemeClr val="tx1"/>
                  </a:solidFill>
                </a:defRPr>
              </a:lvl9pPr>
            </a:lstStyle>
            <a:p>
              <a:pPr algn="ctr">
                <a:spcBef>
                  <a:spcPct val="0"/>
                </a:spcBef>
              </a:pPr>
              <a:endParaRPr lang="en-US" altLang="zh-CN" sz="1600" b="1" i="1" dirty="0">
                <a:cs typeface="+mn-ea"/>
                <a:sym typeface="+mn-lt"/>
              </a:endParaRPr>
            </a:p>
          </p:txBody>
        </p:sp>
        <p:grpSp>
          <p:nvGrpSpPr>
            <p:cNvPr id="9" name="组合 8">
              <a:extLst>
                <a:ext uri="{FF2B5EF4-FFF2-40B4-BE49-F238E27FC236}">
                  <a16:creationId xmlns:a16="http://schemas.microsoft.com/office/drawing/2014/main" id="{04F503A6-51F1-441F-B47E-CEE2EA7C0299}"/>
                </a:ext>
              </a:extLst>
            </p:cNvPr>
            <p:cNvGrpSpPr/>
            <p:nvPr/>
          </p:nvGrpSpPr>
          <p:grpSpPr>
            <a:xfrm>
              <a:off x="1763220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28" name="组合 27">
                <a:extLst>
                  <a:ext uri="{FF2B5EF4-FFF2-40B4-BE49-F238E27FC236}">
                    <a16:creationId xmlns:a16="http://schemas.microsoft.com/office/drawing/2014/main" id="{0ACFAF57-9E7B-4D18-8B9B-E4DFCFB210A1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30" name="任意多边形: 形状 29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31" name="文本框 30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29" name="任意多边形: 形状 28">
                <a:extLst>
                  <a:ext uri="{FF2B5EF4-FFF2-40B4-BE49-F238E27FC236}">
                    <a16:creationId xmlns:a16="http://schemas.microsoft.com/office/drawing/2014/main" id="{FB015331-D71D-4FB0-A69B-9A8E878A0FBD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0" name="组合 9">
              <a:extLst>
                <a:ext uri="{FF2B5EF4-FFF2-40B4-BE49-F238E27FC236}">
                  <a16:creationId xmlns:a16="http://schemas.microsoft.com/office/drawing/2014/main" id="{90BEF8F0-3B49-43EA-A60B-88EE7C4FD611}"/>
                </a:ext>
              </a:extLst>
            </p:cNvPr>
            <p:cNvGrpSpPr/>
            <p:nvPr/>
          </p:nvGrpSpPr>
          <p:grpSpPr>
            <a:xfrm>
              <a:off x="4039401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24" name="组合 23">
                <a:extLst>
                  <a:ext uri="{FF2B5EF4-FFF2-40B4-BE49-F238E27FC236}">
                    <a16:creationId xmlns:a16="http://schemas.microsoft.com/office/drawing/2014/main" id="{04252C3A-B529-4AB2-A9D1-D7F9D09A70C9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26" name="任意多边形: 形状 25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2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7" name="文本框 26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25" name="任意多边形: 形状 24">
                <a:extLst>
                  <a:ext uri="{FF2B5EF4-FFF2-40B4-BE49-F238E27FC236}">
                    <a16:creationId xmlns:a16="http://schemas.microsoft.com/office/drawing/2014/main" id="{250021DB-9A93-41E2-A2BE-2DDF7D15C70F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1" name="组合 10">
              <a:extLst>
                <a:ext uri="{FF2B5EF4-FFF2-40B4-BE49-F238E27FC236}">
                  <a16:creationId xmlns:a16="http://schemas.microsoft.com/office/drawing/2014/main" id="{4DB7F229-B95C-4F3E-848C-763F833A3F96}"/>
                </a:ext>
              </a:extLst>
            </p:cNvPr>
            <p:cNvGrpSpPr/>
            <p:nvPr/>
          </p:nvGrpSpPr>
          <p:grpSpPr>
            <a:xfrm>
              <a:off x="6315582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20" name="组合 19">
                <a:extLst>
                  <a:ext uri="{FF2B5EF4-FFF2-40B4-BE49-F238E27FC236}">
                    <a16:creationId xmlns:a16="http://schemas.microsoft.com/office/drawing/2014/main" id="{5C50ACC3-A174-4C55-A32E-7D87E03CBCB8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22" name="任意多边形: 形状 21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23" name="文本框 22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21" name="任意多边形: 形状 20">
                <a:extLst>
                  <a:ext uri="{FF2B5EF4-FFF2-40B4-BE49-F238E27FC236}">
                    <a16:creationId xmlns:a16="http://schemas.microsoft.com/office/drawing/2014/main" id="{C611BB32-0787-4C48-AD94-57EE7B277234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2" name="组合 11">
              <a:extLst>
                <a:ext uri="{FF2B5EF4-FFF2-40B4-BE49-F238E27FC236}">
                  <a16:creationId xmlns:a16="http://schemas.microsoft.com/office/drawing/2014/main" id="{6FE0059E-AD13-4684-B2E9-8BF859D3A93D}"/>
                </a:ext>
              </a:extLst>
            </p:cNvPr>
            <p:cNvGrpSpPr/>
            <p:nvPr/>
          </p:nvGrpSpPr>
          <p:grpSpPr>
            <a:xfrm>
              <a:off x="8591763" y="2771854"/>
              <a:ext cx="1837017" cy="3371770"/>
              <a:chOff x="1590204" y="2771854"/>
              <a:chExt cx="1837017" cy="3371770"/>
            </a:xfrm>
          </p:grpSpPr>
          <p:grpSp>
            <p:nvGrpSpPr>
              <p:cNvPr id="16" name="组合 15">
                <a:extLst>
                  <a:ext uri="{FF2B5EF4-FFF2-40B4-BE49-F238E27FC236}">
                    <a16:creationId xmlns:a16="http://schemas.microsoft.com/office/drawing/2014/main" id="{32F0412D-89D8-4895-911C-44DBD745412D}"/>
                  </a:ext>
                </a:extLst>
              </p:cNvPr>
              <p:cNvGrpSpPr/>
              <p:nvPr/>
            </p:nvGrpSpPr>
            <p:grpSpPr>
              <a:xfrm>
                <a:off x="1590204" y="3773705"/>
                <a:ext cx="1837017" cy="2369919"/>
                <a:chOff x="1661922" y="3773705"/>
                <a:chExt cx="1837017" cy="2369919"/>
              </a:xfrm>
            </p:grpSpPr>
            <p:sp>
              <p:nvSpPr>
                <p:cNvPr id="18" name="任意多边形: 形状 17">
                  <a:extLst>
                    <a:ext uri="{FF2B5EF4-FFF2-40B4-BE49-F238E27FC236}">
                      <a16:creationId xmlns:a16="http://schemas.microsoft.com/office/drawing/2014/main" id="{5918C20A-B309-4173-9157-A1FC5DBA4BC1}"/>
                    </a:ext>
                  </a:extLst>
                </p:cNvPr>
                <p:cNvSpPr/>
                <p:nvPr/>
              </p:nvSpPr>
              <p:spPr>
                <a:xfrm>
                  <a:off x="2112118" y="3773705"/>
                  <a:ext cx="936624" cy="936190"/>
                </a:xfrm>
                <a:custGeom>
                  <a:avLst/>
                  <a:gdLst>
                    <a:gd name="connsiteX0" fmla="*/ 0 w 1260455"/>
                    <a:gd name="connsiteY0" fmla="*/ 630228 h 1260455"/>
                    <a:gd name="connsiteX1" fmla="*/ 630228 w 1260455"/>
                    <a:gd name="connsiteY1" fmla="*/ 0 h 1260455"/>
                    <a:gd name="connsiteX2" fmla="*/ 1260456 w 1260455"/>
                    <a:gd name="connsiteY2" fmla="*/ 630228 h 1260455"/>
                    <a:gd name="connsiteX3" fmla="*/ 630228 w 1260455"/>
                    <a:gd name="connsiteY3" fmla="*/ 1260456 h 1260455"/>
                    <a:gd name="connsiteX4" fmla="*/ 0 w 1260455"/>
                    <a:gd name="connsiteY4" fmla="*/ 630228 h 126045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60455" h="1260455">
                      <a:moveTo>
                        <a:pt x="0" y="630228"/>
                      </a:moveTo>
                      <a:cubicBezTo>
                        <a:pt x="0" y="282163"/>
                        <a:pt x="282163" y="0"/>
                        <a:pt x="630228" y="0"/>
                      </a:cubicBezTo>
                      <a:cubicBezTo>
                        <a:pt x="978293" y="0"/>
                        <a:pt x="1260456" y="282163"/>
                        <a:pt x="1260456" y="630228"/>
                      </a:cubicBezTo>
                      <a:cubicBezTo>
                        <a:pt x="1260456" y="978293"/>
                        <a:pt x="978293" y="1260456"/>
                        <a:pt x="630228" y="1260456"/>
                      </a:cubicBezTo>
                      <a:cubicBezTo>
                        <a:pt x="282163" y="1260456"/>
                        <a:pt x="0" y="978293"/>
                        <a:pt x="0" y="630228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810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rmAutofit/>
                </a:bodyPr>
                <a:lstStyle/>
                <a:p>
                  <a:pPr algn="ctr"/>
                  <a:r>
                    <a:rPr lang="en-US" altLang="zh-CN" b="1" dirty="0">
                      <a:cs typeface="+mn-ea"/>
                      <a:sym typeface="+mn-lt"/>
                    </a:rPr>
                    <a:t>XXX</a:t>
                  </a:r>
                  <a:endParaRPr lang="zh-CN" altLang="en-US" b="1" dirty="0">
                    <a:cs typeface="+mn-ea"/>
                    <a:sym typeface="+mn-lt"/>
                  </a:endParaRPr>
                </a:p>
              </p:txBody>
            </p:sp>
            <p:sp>
              <p:nvSpPr>
                <p:cNvPr id="19" name="文本框 18">
                  <a:extLst>
                    <a:ext uri="{FF2B5EF4-FFF2-40B4-BE49-F238E27FC236}">
                      <a16:creationId xmlns:a16="http://schemas.microsoft.com/office/drawing/2014/main" id="{B40F5E8D-FBEB-4054-86D5-66BEF7C4392C}"/>
                    </a:ext>
                  </a:extLst>
                </p:cNvPr>
                <p:cNvSpPr txBox="1"/>
                <p:nvPr/>
              </p:nvSpPr>
              <p:spPr>
                <a:xfrm>
                  <a:off x="1661922" y="4796117"/>
                  <a:ext cx="1837017" cy="1347507"/>
                </a:xfrm>
                <a:prstGeom prst="rect">
                  <a:avLst/>
                </a:prstGeom>
                <a:noFill/>
                <a:ln>
                  <a:noFill/>
                </a:ln>
              </p:spPr>
              <p:txBody>
                <a:bodyPr wrap="square" lIns="91440" tIns="45720" rIns="91440" bIns="45720" anchor="t" anchorCtr="0">
                  <a:normAutofit/>
                </a:bodyPr>
                <a:lstStyle>
                  <a:defPPr>
                    <a:defRPr lang="zh-CN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</a:defRPr>
                  </a:lvl9pPr>
                </a:lstStyle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Supporting text here.</a:t>
                  </a: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endParaRPr lang="en-US" altLang="zh-CN" sz="1000" dirty="0">
                    <a:cs typeface="+mn-ea"/>
                    <a:sym typeface="+mn-lt"/>
                  </a:endParaRPr>
                </a:p>
                <a:p>
                  <a:pPr algn="ctr">
                    <a:lnSpc>
                      <a:spcPct val="150000"/>
                    </a:lnSpc>
                    <a:spcBef>
                      <a:spcPct val="0"/>
                    </a:spcBef>
                  </a:pPr>
                  <a:r>
                    <a:rPr lang="en-US" altLang="zh-CN" sz="1000" dirty="0">
                      <a:cs typeface="+mn-ea"/>
                      <a:sym typeface="+mn-lt"/>
                    </a:rPr>
                    <a:t>……</a:t>
                  </a:r>
                </a:p>
              </p:txBody>
            </p:sp>
          </p:grpSp>
          <p:sp>
            <p:nvSpPr>
              <p:cNvPr id="17" name="任意多边形: 形状 16">
                <a:extLst>
                  <a:ext uri="{FF2B5EF4-FFF2-40B4-BE49-F238E27FC236}">
                    <a16:creationId xmlns:a16="http://schemas.microsoft.com/office/drawing/2014/main" id="{686E3340-E506-4FD7-A94B-AF1FFC08955D}"/>
                  </a:ext>
                </a:extLst>
              </p:cNvPr>
              <p:cNvSpPr/>
              <p:nvPr/>
            </p:nvSpPr>
            <p:spPr>
              <a:xfrm>
                <a:off x="2226324" y="2771854"/>
                <a:ext cx="564776" cy="518143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13" name="直接连接符 12">
              <a:extLst>
                <a:ext uri="{FF2B5EF4-FFF2-40B4-BE49-F238E27FC236}">
                  <a16:creationId xmlns:a16="http://schemas.microsoft.com/office/drawing/2014/main" id="{67A7A2E9-5CF9-4237-AB60-9313D038F084}"/>
                </a:ext>
              </a:extLst>
            </p:cNvPr>
            <p:cNvCxnSpPr/>
            <p:nvPr/>
          </p:nvCxnSpPr>
          <p:spPr>
            <a:xfrm>
              <a:off x="3819819" y="4912659"/>
              <a:ext cx="0" cy="12309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直接连接符 13">
              <a:extLst>
                <a:ext uri="{FF2B5EF4-FFF2-40B4-BE49-F238E27FC236}">
                  <a16:creationId xmlns:a16="http://schemas.microsoft.com/office/drawing/2014/main" id="{E505359B-03E3-4F8B-B431-8ECE77CE8C81}"/>
                </a:ext>
              </a:extLst>
            </p:cNvPr>
            <p:cNvCxnSpPr/>
            <p:nvPr/>
          </p:nvCxnSpPr>
          <p:spPr>
            <a:xfrm>
              <a:off x="6096000" y="4912659"/>
              <a:ext cx="0" cy="12309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直接连接符 14">
              <a:extLst>
                <a:ext uri="{FF2B5EF4-FFF2-40B4-BE49-F238E27FC236}">
                  <a16:creationId xmlns:a16="http://schemas.microsoft.com/office/drawing/2014/main" id="{A0F20329-C54E-472B-9D90-B4B8E93D6895}"/>
                </a:ext>
              </a:extLst>
            </p:cNvPr>
            <p:cNvCxnSpPr/>
            <p:nvPr/>
          </p:nvCxnSpPr>
          <p:spPr>
            <a:xfrm>
              <a:off x="8372180" y="4912659"/>
              <a:ext cx="0" cy="1230965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3590511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9413412-9586-43A9-B018-91415DBD85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Click to edit Master title styl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0045436B-9CEA-4329-A876-2CD947A78E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altLang="zh-CN">
                <a:cs typeface="+mn-ea"/>
                <a:sym typeface="+mn-lt"/>
              </a:rPr>
              <a:t>OfficePLUS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0444436E-AB7C-4684-84BA-42B5A34FD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3DB80-B894-403A-B48E-6FDC1A72010E}" type="slidenum">
              <a:rPr lang="zh-CN" altLang="en-US" smtClean="0">
                <a:cs typeface="+mn-ea"/>
                <a:sym typeface="+mn-lt"/>
              </a:rPr>
              <a:pPr/>
              <a:t>8</a:t>
            </a:fld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>
            <a:extLst>
              <a:ext uri="{FF2B5EF4-FFF2-40B4-BE49-F238E27FC236}">
                <a16:creationId xmlns:a16="http://schemas.microsoft.com/office/drawing/2014/main" id="{6AF082EA-7701-4E5E-BD24-C2EE31BCB039}"/>
              </a:ext>
            </a:extLst>
          </p:cNvPr>
          <p:cNvGrpSpPr>
            <a:grpSpLocks noChangeAspect="1"/>
          </p:cNvGrpSpPr>
          <p:nvPr/>
        </p:nvGrpSpPr>
        <p:grpSpPr>
          <a:xfrm>
            <a:off x="673100" y="1130300"/>
            <a:ext cx="10845800" cy="5016500"/>
            <a:chOff x="673100" y="1130300"/>
            <a:chExt cx="10845800" cy="5016500"/>
          </a:xfrm>
        </p:grpSpPr>
        <p:sp>
          <p:nvSpPr>
            <p:cNvPr id="6" name="矩形 5">
              <a:extLst>
                <a:ext uri="{FF2B5EF4-FFF2-40B4-BE49-F238E27FC236}">
                  <a16:creationId xmlns:a16="http://schemas.microsoft.com/office/drawing/2014/main" id="{D5C805C6-1C59-4AD7-AB5C-6BD4E7E40738}"/>
                </a:ext>
              </a:extLst>
            </p:cNvPr>
            <p:cNvSpPr/>
            <p:nvPr/>
          </p:nvSpPr>
          <p:spPr>
            <a:xfrm>
              <a:off x="4910387" y="1130300"/>
              <a:ext cx="2371226" cy="5016500"/>
            </a:xfrm>
            <a:prstGeom prst="rect">
              <a:avLst/>
            </a:prstGeom>
            <a:pattFill prst="dkUpDiag">
              <a:fgClr>
                <a:schemeClr val="bg1">
                  <a:lumMod val="95000"/>
                </a:schemeClr>
              </a:fgClr>
              <a:bgClr>
                <a:schemeClr val="bg1"/>
              </a:bgClr>
            </a:patt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altLang="zh-CN" b="1" dirty="0">
                  <a:solidFill>
                    <a:schemeClr val="tx1"/>
                  </a:solidFill>
                  <a:cs typeface="+mn-ea"/>
                  <a:sym typeface="+mn-lt"/>
                </a:rPr>
                <a:t>Text here</a:t>
              </a:r>
              <a:endParaRPr lang="zh-CN" altLang="en-US" b="1" dirty="0">
                <a:solidFill>
                  <a:schemeClr val="tx1"/>
                </a:solidFill>
                <a:cs typeface="+mn-ea"/>
                <a:sym typeface="+mn-lt"/>
              </a:endParaRPr>
            </a:p>
          </p:txBody>
        </p:sp>
        <p:sp>
          <p:nvSpPr>
            <p:cNvPr id="7" name="矩形 6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1274343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8" name="矩形 7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1274343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9" name="矩形 8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2296919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0" name="矩形 9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2296919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1" name="矩形 10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3319495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2" name="矩形 11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3319495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3" name="矩形 12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4342071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4" name="矩形 13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4342071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5" name="矩形 14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7779777" y="5364646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sp>
          <p:nvSpPr>
            <p:cNvPr id="16" name="矩形 15">
              <a:extLst>
                <a:ext uri="{FF2B5EF4-FFF2-40B4-BE49-F238E27FC236}">
                  <a16:creationId xmlns:a16="http://schemas.microsoft.com/office/drawing/2014/main" id="{A1F86F39-251F-4601-AC8B-0126F9478D2E}"/>
                </a:ext>
              </a:extLst>
            </p:cNvPr>
            <p:cNvSpPr/>
            <p:nvPr/>
          </p:nvSpPr>
          <p:spPr>
            <a:xfrm>
              <a:off x="673100" y="5364646"/>
              <a:ext cx="3739123" cy="638111"/>
            </a:xfrm>
            <a:prstGeom prst="rect">
              <a:avLst/>
            </a:prstGeom>
            <a:noFill/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wrap="square" lIns="91440" tIns="45720" rIns="91440" bIns="45720" rtlCol="0" anchor="t">
              <a:norm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</a:defRPr>
              </a:lvl9pPr>
            </a:lstStyle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Supporting text here.</a:t>
              </a:r>
            </a:p>
            <a:p>
              <a:pPr marL="171450" lvl="0" indent="-171450" algn="r">
                <a:lnSpc>
                  <a:spcPct val="150000"/>
                </a:lnSpc>
                <a:buFont typeface="Arial" panose="020B0604020202020204" pitchFamily="34" charset="0"/>
                <a:buChar char="•"/>
              </a:pPr>
              <a:r>
                <a:rPr lang="en-US" altLang="zh-CN" sz="1000" dirty="0">
                  <a:solidFill>
                    <a:schemeClr val="tx1"/>
                  </a:solidFill>
                  <a:cs typeface="+mn-ea"/>
                  <a:sym typeface="+mn-lt"/>
                </a:rPr>
                <a:t>……</a:t>
              </a:r>
            </a:p>
          </p:txBody>
        </p:sp>
        <p:grpSp>
          <p:nvGrpSpPr>
            <p:cNvPr id="17" name="组合 16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1302621"/>
              <a:ext cx="581556" cy="581556"/>
              <a:chOff x="5019675" y="2562224"/>
              <a:chExt cx="660150" cy="660150"/>
            </a:xfrm>
          </p:grpSpPr>
          <p:sp>
            <p:nvSpPr>
              <p:cNvPr id="53" name="椭圆 52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4" name="任意多边形: 形状 53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8" name="组合 17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2325197"/>
              <a:ext cx="581556" cy="581556"/>
              <a:chOff x="5019675" y="2562224"/>
              <a:chExt cx="660150" cy="660150"/>
            </a:xfrm>
          </p:grpSpPr>
          <p:sp>
            <p:nvSpPr>
              <p:cNvPr id="51" name="椭圆 50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</a:defRPr>
                </a:lvl9pPr>
              </a:lstStyle>
              <a:p>
                <a:endParaRPr lang="zh-CN" altLang="en-US">
                  <a:solidFill>
                    <a:schemeClr val="tx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52" name="任意多边形: 形状 51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19" name="组合 18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3347773"/>
              <a:ext cx="581556" cy="581556"/>
              <a:chOff x="5019675" y="2562224"/>
              <a:chExt cx="660150" cy="660150"/>
            </a:xfrm>
          </p:grpSpPr>
          <p:sp>
            <p:nvSpPr>
              <p:cNvPr id="49" name="椭圆 48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50" name="任意多边形: 形状 49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0" name="组合 19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4370349"/>
              <a:ext cx="581556" cy="581556"/>
              <a:chOff x="5019675" y="2562224"/>
              <a:chExt cx="660150" cy="660150"/>
            </a:xfrm>
          </p:grpSpPr>
          <p:sp>
            <p:nvSpPr>
              <p:cNvPr id="47" name="椭圆 46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8" name="任意多边形: 形状 47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1" name="组合 20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4733365" y="5392924"/>
              <a:ext cx="581556" cy="581556"/>
              <a:chOff x="5019675" y="2562224"/>
              <a:chExt cx="660150" cy="660150"/>
            </a:xfrm>
          </p:grpSpPr>
          <p:sp>
            <p:nvSpPr>
              <p:cNvPr id="45" name="椭圆 44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1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6" name="任意多边形: 形状 45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2" name="组合 21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1302621"/>
              <a:ext cx="581556" cy="581556"/>
              <a:chOff x="5019675" y="2562224"/>
              <a:chExt cx="660150" cy="660150"/>
            </a:xfrm>
          </p:grpSpPr>
          <p:sp>
            <p:nvSpPr>
              <p:cNvPr id="43" name="椭圆 42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4" name="任意多边形: 形状 43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3" name="组合 22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2325197"/>
              <a:ext cx="581556" cy="581556"/>
              <a:chOff x="5019675" y="2562224"/>
              <a:chExt cx="660150" cy="660150"/>
            </a:xfrm>
          </p:grpSpPr>
          <p:sp>
            <p:nvSpPr>
              <p:cNvPr id="41" name="椭圆 40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2" name="任意多边形: 形状 41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4" name="组合 23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3347773"/>
              <a:ext cx="581556" cy="581556"/>
              <a:chOff x="5019675" y="2562224"/>
              <a:chExt cx="660150" cy="660150"/>
            </a:xfrm>
          </p:grpSpPr>
          <p:sp>
            <p:nvSpPr>
              <p:cNvPr id="39" name="椭圆 38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40" name="任意多边形: 形状 39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5" name="组合 24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4370349"/>
              <a:ext cx="581556" cy="581556"/>
              <a:chOff x="5019675" y="2562224"/>
              <a:chExt cx="660150" cy="660150"/>
            </a:xfrm>
          </p:grpSpPr>
          <p:sp>
            <p:nvSpPr>
              <p:cNvPr id="37" name="椭圆 36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8" name="任意多边形: 形状 37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grpSp>
          <p:nvGrpSpPr>
            <p:cNvPr id="26" name="组合 25">
              <a:extLst>
                <a:ext uri="{FF2B5EF4-FFF2-40B4-BE49-F238E27FC236}">
                  <a16:creationId xmlns:a16="http://schemas.microsoft.com/office/drawing/2014/main" id="{49896064-27C3-467A-B3C4-6277354DA69F}"/>
                </a:ext>
              </a:extLst>
            </p:cNvPr>
            <p:cNvGrpSpPr/>
            <p:nvPr/>
          </p:nvGrpSpPr>
          <p:grpSpPr>
            <a:xfrm>
              <a:off x="6877079" y="5392924"/>
              <a:ext cx="581556" cy="581556"/>
              <a:chOff x="5019675" y="2562224"/>
              <a:chExt cx="660150" cy="660150"/>
            </a:xfrm>
          </p:grpSpPr>
          <p:sp>
            <p:nvSpPr>
              <p:cNvPr id="35" name="椭圆 34">
                <a:extLst>
                  <a:ext uri="{FF2B5EF4-FFF2-40B4-BE49-F238E27FC236}">
                    <a16:creationId xmlns:a16="http://schemas.microsoft.com/office/drawing/2014/main" id="{65B68184-6565-4BEA-AD01-FEA8B936BDCF}"/>
                  </a:ext>
                </a:extLst>
              </p:cNvPr>
              <p:cNvSpPr/>
              <p:nvPr/>
            </p:nvSpPr>
            <p:spPr>
              <a:xfrm>
                <a:off x="5019675" y="2562224"/>
                <a:ext cx="660150" cy="660150"/>
              </a:xfrm>
              <a:prstGeom prst="ellipse">
                <a:avLst/>
              </a:prstGeom>
              <a:solidFill>
                <a:schemeClr val="accent2"/>
              </a:solidFill>
              <a:ln w="57150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zh-CN" altLang="en-US">
                  <a:cs typeface="+mn-ea"/>
                  <a:sym typeface="+mn-lt"/>
                </a:endParaRPr>
              </a:p>
            </p:txBody>
          </p:sp>
          <p:sp>
            <p:nvSpPr>
              <p:cNvPr id="36" name="任意多边形: 形状 35">
                <a:extLst>
                  <a:ext uri="{FF2B5EF4-FFF2-40B4-BE49-F238E27FC236}">
                    <a16:creationId xmlns:a16="http://schemas.microsoft.com/office/drawing/2014/main" id="{EB04F7DB-327E-455A-80DC-4F647E13EFCA}"/>
                  </a:ext>
                </a:extLst>
              </p:cNvPr>
              <p:cNvSpPr/>
              <p:nvPr/>
            </p:nvSpPr>
            <p:spPr>
              <a:xfrm>
                <a:off x="5206310" y="2760703"/>
                <a:ext cx="286880" cy="263192"/>
              </a:xfrm>
              <a:custGeom>
                <a:avLst/>
                <a:gdLst>
                  <a:gd name="connsiteX0" fmla="*/ 303857 w 607639"/>
                  <a:gd name="connsiteY0" fmla="*/ 303714 h 557467"/>
                  <a:gd name="connsiteX1" fmla="*/ 352986 w 607639"/>
                  <a:gd name="connsiteY1" fmla="*/ 309132 h 557467"/>
                  <a:gd name="connsiteX2" fmla="*/ 514597 w 607639"/>
                  <a:gd name="connsiteY2" fmla="*/ 449845 h 557467"/>
                  <a:gd name="connsiteX3" fmla="*/ 528676 w 607639"/>
                  <a:gd name="connsiteY3" fmla="*/ 528182 h 557467"/>
                  <a:gd name="connsiteX4" fmla="*/ 499345 w 607639"/>
                  <a:gd name="connsiteY4" fmla="*/ 557467 h 557467"/>
                  <a:gd name="connsiteX5" fmla="*/ 108223 w 607639"/>
                  <a:gd name="connsiteY5" fmla="*/ 557467 h 557467"/>
                  <a:gd name="connsiteX6" fmla="*/ 78892 w 607639"/>
                  <a:gd name="connsiteY6" fmla="*/ 528182 h 557467"/>
                  <a:gd name="connsiteX7" fmla="*/ 303857 w 607639"/>
                  <a:gd name="connsiteY7" fmla="*/ 303714 h 557467"/>
                  <a:gd name="connsiteX8" fmla="*/ 455825 w 607639"/>
                  <a:gd name="connsiteY8" fmla="*/ 268995 h 557467"/>
                  <a:gd name="connsiteX9" fmla="*/ 607639 w 607639"/>
                  <a:gd name="connsiteY9" fmla="*/ 420565 h 557467"/>
                  <a:gd name="connsiteX10" fmla="*/ 578303 w 607639"/>
                  <a:gd name="connsiteY10" fmla="*/ 449854 h 557467"/>
                  <a:gd name="connsiteX11" fmla="*/ 576396 w 607639"/>
                  <a:gd name="connsiteY11" fmla="*/ 449854 h 557467"/>
                  <a:gd name="connsiteX12" fmla="*/ 424875 w 607639"/>
                  <a:gd name="connsiteY12" fmla="*/ 272217 h 557467"/>
                  <a:gd name="connsiteX13" fmla="*/ 455825 w 607639"/>
                  <a:gd name="connsiteY13" fmla="*/ 268995 h 557467"/>
                  <a:gd name="connsiteX14" fmla="*/ 151811 w 607639"/>
                  <a:gd name="connsiteY14" fmla="*/ 268995 h 557467"/>
                  <a:gd name="connsiteX15" fmla="*/ 182906 w 607639"/>
                  <a:gd name="connsiteY15" fmla="*/ 272217 h 557467"/>
                  <a:gd name="connsiteX16" fmla="*/ 31389 w 607639"/>
                  <a:gd name="connsiteY16" fmla="*/ 449854 h 557467"/>
                  <a:gd name="connsiteX17" fmla="*/ 29335 w 607639"/>
                  <a:gd name="connsiteY17" fmla="*/ 449854 h 557467"/>
                  <a:gd name="connsiteX18" fmla="*/ 0 w 607639"/>
                  <a:gd name="connsiteY18" fmla="*/ 420565 h 557467"/>
                  <a:gd name="connsiteX19" fmla="*/ 151811 w 607639"/>
                  <a:gd name="connsiteY19" fmla="*/ 268995 h 557467"/>
                  <a:gd name="connsiteX20" fmla="*/ 462556 w 607639"/>
                  <a:gd name="connsiteY20" fmla="*/ 35000 h 557467"/>
                  <a:gd name="connsiteX21" fmla="*/ 543847 w 607639"/>
                  <a:gd name="connsiteY21" fmla="*/ 122571 h 557467"/>
                  <a:gd name="connsiteX22" fmla="*/ 462556 w 607639"/>
                  <a:gd name="connsiteY22" fmla="*/ 210143 h 557467"/>
                  <a:gd name="connsiteX23" fmla="*/ 485153 w 607639"/>
                  <a:gd name="connsiteY23" fmla="*/ 122571 h 557467"/>
                  <a:gd name="connsiteX24" fmla="*/ 462556 w 607639"/>
                  <a:gd name="connsiteY24" fmla="*/ 35000 h 557467"/>
                  <a:gd name="connsiteX25" fmla="*/ 145224 w 607639"/>
                  <a:gd name="connsiteY25" fmla="*/ 35000 h 557467"/>
                  <a:gd name="connsiteX26" fmla="*/ 122481 w 607639"/>
                  <a:gd name="connsiteY26" fmla="*/ 122571 h 557467"/>
                  <a:gd name="connsiteX27" fmla="*/ 145224 w 607639"/>
                  <a:gd name="connsiteY27" fmla="*/ 210143 h 557467"/>
                  <a:gd name="connsiteX28" fmla="*/ 63791 w 607639"/>
                  <a:gd name="connsiteY28" fmla="*/ 122571 h 557467"/>
                  <a:gd name="connsiteX29" fmla="*/ 145224 w 607639"/>
                  <a:gd name="connsiteY29" fmla="*/ 35000 h 557467"/>
                  <a:gd name="connsiteX30" fmla="*/ 303892 w 607639"/>
                  <a:gd name="connsiteY30" fmla="*/ 0 h 557467"/>
                  <a:gd name="connsiteX31" fmla="*/ 403912 w 607639"/>
                  <a:gd name="connsiteY31" fmla="*/ 51694 h 557467"/>
                  <a:gd name="connsiteX32" fmla="*/ 426497 w 607639"/>
                  <a:gd name="connsiteY32" fmla="*/ 122572 h 557467"/>
                  <a:gd name="connsiteX33" fmla="*/ 403912 w 607639"/>
                  <a:gd name="connsiteY33" fmla="*/ 193450 h 557467"/>
                  <a:gd name="connsiteX34" fmla="*/ 303892 w 607639"/>
                  <a:gd name="connsiteY34" fmla="*/ 245144 h 557467"/>
                  <a:gd name="connsiteX35" fmla="*/ 181141 w 607639"/>
                  <a:gd name="connsiteY35" fmla="*/ 122572 h 557467"/>
                  <a:gd name="connsiteX36" fmla="*/ 303892 w 607639"/>
                  <a:gd name="connsiteY36" fmla="*/ 0 h 5574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607639" h="557467">
                    <a:moveTo>
                      <a:pt x="303857" y="303714"/>
                    </a:moveTo>
                    <a:cubicBezTo>
                      <a:pt x="320722" y="303714"/>
                      <a:pt x="337148" y="305618"/>
                      <a:pt x="352986" y="309132"/>
                    </a:cubicBezTo>
                    <a:cubicBezTo>
                      <a:pt x="427486" y="325824"/>
                      <a:pt x="488200" y="379562"/>
                      <a:pt x="514597" y="449845"/>
                    </a:cubicBezTo>
                    <a:cubicBezTo>
                      <a:pt x="523690" y="474298"/>
                      <a:pt x="528676" y="500655"/>
                      <a:pt x="528676" y="528182"/>
                    </a:cubicBezTo>
                    <a:cubicBezTo>
                      <a:pt x="528676" y="544289"/>
                      <a:pt x="515477" y="557467"/>
                      <a:pt x="499345" y="557467"/>
                    </a:cubicBezTo>
                    <a:lnTo>
                      <a:pt x="108223" y="557467"/>
                    </a:lnTo>
                    <a:cubicBezTo>
                      <a:pt x="92091" y="557467"/>
                      <a:pt x="78892" y="544289"/>
                      <a:pt x="78892" y="528182"/>
                    </a:cubicBezTo>
                    <a:cubicBezTo>
                      <a:pt x="78892" y="404307"/>
                      <a:pt x="179789" y="303714"/>
                      <a:pt x="303857" y="303714"/>
                    </a:cubicBezTo>
                    <a:close/>
                    <a:moveTo>
                      <a:pt x="455825" y="268995"/>
                    </a:moveTo>
                    <a:cubicBezTo>
                      <a:pt x="539579" y="268995"/>
                      <a:pt x="607639" y="336945"/>
                      <a:pt x="607639" y="420565"/>
                    </a:cubicBezTo>
                    <a:cubicBezTo>
                      <a:pt x="607639" y="436674"/>
                      <a:pt x="594584" y="449854"/>
                      <a:pt x="578303" y="449854"/>
                    </a:cubicBezTo>
                    <a:lnTo>
                      <a:pt x="576396" y="449854"/>
                    </a:lnTo>
                    <a:cubicBezTo>
                      <a:pt x="553661" y="371360"/>
                      <a:pt x="497775" y="306631"/>
                      <a:pt x="424875" y="272217"/>
                    </a:cubicBezTo>
                    <a:cubicBezTo>
                      <a:pt x="434996" y="270020"/>
                      <a:pt x="445410" y="268995"/>
                      <a:pt x="455825" y="268995"/>
                    </a:cubicBezTo>
                    <a:close/>
                    <a:moveTo>
                      <a:pt x="151811" y="268995"/>
                    </a:moveTo>
                    <a:cubicBezTo>
                      <a:pt x="162371" y="268995"/>
                      <a:pt x="172785" y="270020"/>
                      <a:pt x="182906" y="272217"/>
                    </a:cubicBezTo>
                    <a:cubicBezTo>
                      <a:pt x="110008" y="306631"/>
                      <a:pt x="53977" y="371360"/>
                      <a:pt x="31389" y="449854"/>
                    </a:cubicBezTo>
                    <a:lnTo>
                      <a:pt x="29335" y="449854"/>
                    </a:lnTo>
                    <a:cubicBezTo>
                      <a:pt x="13201" y="449854"/>
                      <a:pt x="0" y="436674"/>
                      <a:pt x="0" y="420565"/>
                    </a:cubicBezTo>
                    <a:cubicBezTo>
                      <a:pt x="0" y="336945"/>
                      <a:pt x="68058" y="268995"/>
                      <a:pt x="151811" y="268995"/>
                    </a:cubicBezTo>
                    <a:close/>
                    <a:moveTo>
                      <a:pt x="462556" y="35000"/>
                    </a:moveTo>
                    <a:cubicBezTo>
                      <a:pt x="507897" y="38368"/>
                      <a:pt x="543847" y="76296"/>
                      <a:pt x="543847" y="122571"/>
                    </a:cubicBezTo>
                    <a:cubicBezTo>
                      <a:pt x="543847" y="168847"/>
                      <a:pt x="507897" y="206775"/>
                      <a:pt x="462556" y="210143"/>
                    </a:cubicBezTo>
                    <a:cubicBezTo>
                      <a:pt x="476936" y="184223"/>
                      <a:pt x="485153" y="154349"/>
                      <a:pt x="485153" y="122571"/>
                    </a:cubicBezTo>
                    <a:cubicBezTo>
                      <a:pt x="485153" y="90794"/>
                      <a:pt x="476936" y="60920"/>
                      <a:pt x="462556" y="35000"/>
                    </a:cubicBezTo>
                    <a:close/>
                    <a:moveTo>
                      <a:pt x="145224" y="35000"/>
                    </a:moveTo>
                    <a:cubicBezTo>
                      <a:pt x="130698" y="60920"/>
                      <a:pt x="122481" y="90794"/>
                      <a:pt x="122481" y="122571"/>
                    </a:cubicBezTo>
                    <a:cubicBezTo>
                      <a:pt x="122481" y="154349"/>
                      <a:pt x="130698" y="184223"/>
                      <a:pt x="145224" y="210143"/>
                    </a:cubicBezTo>
                    <a:cubicBezTo>
                      <a:pt x="99739" y="206775"/>
                      <a:pt x="63791" y="168847"/>
                      <a:pt x="63791" y="122571"/>
                    </a:cubicBezTo>
                    <a:cubicBezTo>
                      <a:pt x="63791" y="76296"/>
                      <a:pt x="99739" y="38368"/>
                      <a:pt x="145224" y="35000"/>
                    </a:cubicBezTo>
                    <a:close/>
                    <a:moveTo>
                      <a:pt x="303892" y="0"/>
                    </a:moveTo>
                    <a:cubicBezTo>
                      <a:pt x="345103" y="0"/>
                      <a:pt x="381620" y="20502"/>
                      <a:pt x="403912" y="51694"/>
                    </a:cubicBezTo>
                    <a:cubicBezTo>
                      <a:pt x="418138" y="71756"/>
                      <a:pt x="426497" y="96212"/>
                      <a:pt x="426497" y="122572"/>
                    </a:cubicBezTo>
                    <a:cubicBezTo>
                      <a:pt x="426497" y="148931"/>
                      <a:pt x="418138" y="173387"/>
                      <a:pt x="403912" y="193450"/>
                    </a:cubicBezTo>
                    <a:cubicBezTo>
                      <a:pt x="381620" y="224642"/>
                      <a:pt x="345103" y="245144"/>
                      <a:pt x="303892" y="245144"/>
                    </a:cubicBezTo>
                    <a:cubicBezTo>
                      <a:pt x="236137" y="245144"/>
                      <a:pt x="181141" y="190082"/>
                      <a:pt x="181141" y="122572"/>
                    </a:cubicBezTo>
                    <a:cubicBezTo>
                      <a:pt x="181141" y="55062"/>
                      <a:pt x="236137" y="0"/>
                      <a:pt x="30389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>
                <a:defPPr>
                  <a:defRPr lang="zh-CN"/>
                </a:defPPr>
                <a:lvl1pPr marL="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lt1"/>
                    </a:solidFill>
                  </a:defRPr>
                </a:lvl9pPr>
              </a:lstStyle>
              <a:p>
                <a:pPr algn="ctr"/>
                <a:endParaRPr lang="zh-CN" altLang="en-US">
                  <a:cs typeface="+mn-ea"/>
                  <a:sym typeface="+mn-lt"/>
                </a:endParaRPr>
              </a:p>
            </p:txBody>
          </p:sp>
        </p:grpSp>
        <p:cxnSp>
          <p:nvCxnSpPr>
            <p:cNvPr id="27" name="直接连接符 26">
              <a:extLst>
                <a:ext uri="{FF2B5EF4-FFF2-40B4-BE49-F238E27FC236}">
                  <a16:creationId xmlns:a16="http://schemas.microsoft.com/office/drawing/2014/main" id="{25D3205F-16C7-4C9F-BC9B-023E741CA8DE}"/>
                </a:ext>
              </a:extLst>
            </p:cNvPr>
            <p:cNvCxnSpPr/>
            <p:nvPr/>
          </p:nvCxnSpPr>
          <p:spPr>
            <a:xfrm>
              <a:off x="673100" y="2104686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>
              <a:extLst>
                <a:ext uri="{FF2B5EF4-FFF2-40B4-BE49-F238E27FC236}">
                  <a16:creationId xmlns:a16="http://schemas.microsoft.com/office/drawing/2014/main" id="{B3724738-F5A1-4471-B963-9B812DFC0E9B}"/>
                </a:ext>
              </a:extLst>
            </p:cNvPr>
            <p:cNvCxnSpPr/>
            <p:nvPr/>
          </p:nvCxnSpPr>
          <p:spPr>
            <a:xfrm>
              <a:off x="673100" y="3127262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>
              <a:extLst>
                <a:ext uri="{FF2B5EF4-FFF2-40B4-BE49-F238E27FC236}">
                  <a16:creationId xmlns:a16="http://schemas.microsoft.com/office/drawing/2014/main" id="{2BFEAECF-60E8-474E-9188-5B02CBDADA87}"/>
                </a:ext>
              </a:extLst>
            </p:cNvPr>
            <p:cNvCxnSpPr/>
            <p:nvPr/>
          </p:nvCxnSpPr>
          <p:spPr>
            <a:xfrm>
              <a:off x="673100" y="4149838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直接连接符 29">
              <a:extLst>
                <a:ext uri="{FF2B5EF4-FFF2-40B4-BE49-F238E27FC236}">
                  <a16:creationId xmlns:a16="http://schemas.microsoft.com/office/drawing/2014/main" id="{183217FD-F2C0-4405-A4AF-E9E613F3B746}"/>
                </a:ext>
              </a:extLst>
            </p:cNvPr>
            <p:cNvCxnSpPr/>
            <p:nvPr/>
          </p:nvCxnSpPr>
          <p:spPr>
            <a:xfrm>
              <a:off x="673100" y="5172414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直接连接符 30">
              <a:extLst>
                <a:ext uri="{FF2B5EF4-FFF2-40B4-BE49-F238E27FC236}">
                  <a16:creationId xmlns:a16="http://schemas.microsoft.com/office/drawing/2014/main" id="{31E364FD-71DF-4EB5-8791-64974DEF1D12}"/>
                </a:ext>
              </a:extLst>
            </p:cNvPr>
            <p:cNvCxnSpPr/>
            <p:nvPr/>
          </p:nvCxnSpPr>
          <p:spPr>
            <a:xfrm>
              <a:off x="7862047" y="2104686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直接连接符 31">
              <a:extLst>
                <a:ext uri="{FF2B5EF4-FFF2-40B4-BE49-F238E27FC236}">
                  <a16:creationId xmlns:a16="http://schemas.microsoft.com/office/drawing/2014/main" id="{B862EC51-555E-41DA-95DA-463F540A9861}"/>
                </a:ext>
              </a:extLst>
            </p:cNvPr>
            <p:cNvCxnSpPr/>
            <p:nvPr/>
          </p:nvCxnSpPr>
          <p:spPr>
            <a:xfrm>
              <a:off x="7862047" y="3127262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直接连接符 32">
              <a:extLst>
                <a:ext uri="{FF2B5EF4-FFF2-40B4-BE49-F238E27FC236}">
                  <a16:creationId xmlns:a16="http://schemas.microsoft.com/office/drawing/2014/main" id="{27B47B27-FBF7-49B5-8D67-37851F4F0620}"/>
                </a:ext>
              </a:extLst>
            </p:cNvPr>
            <p:cNvCxnSpPr/>
            <p:nvPr/>
          </p:nvCxnSpPr>
          <p:spPr>
            <a:xfrm>
              <a:off x="7862047" y="4149838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直接连接符 33">
              <a:extLst>
                <a:ext uri="{FF2B5EF4-FFF2-40B4-BE49-F238E27FC236}">
                  <a16:creationId xmlns:a16="http://schemas.microsoft.com/office/drawing/2014/main" id="{4A660B49-2727-4D2E-9FAD-B3367A0CE247}"/>
                </a:ext>
              </a:extLst>
            </p:cNvPr>
            <p:cNvCxnSpPr/>
            <p:nvPr/>
          </p:nvCxnSpPr>
          <p:spPr>
            <a:xfrm>
              <a:off x="7862047" y="5172414"/>
              <a:ext cx="3656853" cy="0"/>
            </a:xfrm>
            <a:prstGeom prst="line">
              <a:avLst/>
            </a:prstGeom>
            <a:ln w="3175" cap="rnd">
              <a:solidFill>
                <a:schemeClr val="bg1">
                  <a:lumMod val="75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66707466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标题 4"/>
          <p:cNvSpPr>
            <a:spLocks noGrp="1"/>
          </p:cNvSpPr>
          <p:nvPr>
            <p:ph type="title"/>
          </p:nvPr>
        </p:nvSpPr>
        <p:spPr>
          <a:xfrm>
            <a:off x="5218115" y="2528209"/>
            <a:ext cx="4791016" cy="895350"/>
          </a:xfrm>
        </p:spPr>
        <p:txBody>
          <a:bodyPr/>
          <a:lstStyle/>
          <a:p>
            <a:r>
              <a:rPr lang="en-US" altLang="zh-CN" dirty="0">
                <a:latin typeface="+mn-lt"/>
                <a:ea typeface="+mn-ea"/>
                <a:cs typeface="+mn-ea"/>
                <a:sym typeface="+mn-lt"/>
              </a:rPr>
              <a:t>Section Header Here</a:t>
            </a:r>
            <a:endParaRPr lang="zh-CN" altLang="en-US" dirty="0"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6" name="文本占位符 5"/>
          <p:cNvSpPr>
            <a:spLocks noGrp="1"/>
          </p:cNvSpPr>
          <p:nvPr>
            <p:ph type="body" idx="1"/>
          </p:nvPr>
        </p:nvSpPr>
        <p:spPr>
          <a:xfrm>
            <a:off x="5218115" y="3423559"/>
            <a:ext cx="4791016" cy="1015623"/>
          </a:xfrm>
        </p:spPr>
        <p:txBody>
          <a:bodyPr/>
          <a:lstStyle/>
          <a:p>
            <a:pPr lvl="0"/>
            <a:r>
              <a:rPr lang="en-US" altLang="zh-CN" dirty="0">
                <a:cs typeface="+mn-ea"/>
                <a:sym typeface="+mn-lt"/>
              </a:rPr>
              <a:t>Supporting text here.</a:t>
            </a:r>
          </a:p>
          <a:p>
            <a:pPr lvl="0"/>
            <a:r>
              <a:rPr lang="en-US" altLang="zh-CN" dirty="0">
                <a:cs typeface="+mn-ea"/>
                <a:sym typeface="+mn-lt"/>
              </a:rPr>
              <a:t>When you copy &amp; paste, choose "keep text only" option.</a:t>
            </a:r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04F69230-F3A6-4586-9371-A858F4763E9F}"/>
              </a:ext>
            </a:extLst>
          </p:cNvPr>
          <p:cNvSpPr txBox="1"/>
          <p:nvPr/>
        </p:nvSpPr>
        <p:spPr>
          <a:xfrm>
            <a:off x="3874177" y="3082702"/>
            <a:ext cx="1023516" cy="889909"/>
          </a:xfrm>
          <a:prstGeom prst="rect">
            <a:avLst/>
          </a:prstGeom>
          <a:noFill/>
          <a:ln w="117475">
            <a:noFill/>
          </a:ln>
        </p:spPr>
        <p:txBody>
          <a:bodyPr wrap="none" rtlCol="0">
            <a:prstTxWarp prst="textPlain">
              <a:avLst/>
            </a:prstTxWarp>
            <a:spAutoFit/>
          </a:bodyPr>
          <a:lstStyle/>
          <a:p>
            <a:r>
              <a:rPr lang="en-US" altLang="zh-CN" spc="100" dirty="0">
                <a:solidFill>
                  <a:schemeClr val="bg1"/>
                </a:solidFill>
                <a:cs typeface="+mn-ea"/>
                <a:sym typeface="+mn-lt"/>
              </a:rPr>
              <a:t>/02</a:t>
            </a:r>
            <a:endParaRPr lang="zh-CN" altLang="en-US" spc="100" dirty="0">
              <a:solidFill>
                <a:schemeClr val="bg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0644506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SHOWCASE" val="1c61bedf-65b4-407f-a851-36b82157dce0"/>
</p:tagLst>
</file>

<file path=ppt/theme/theme1.xml><?xml version="1.0" encoding="utf-8"?>
<a:theme xmlns:a="http://schemas.openxmlformats.org/drawingml/2006/main" name="主题5">
  <a:themeElements>
    <a:clrScheme name="房利美">
      <a:dk1>
        <a:srgbClr val="000000"/>
      </a:dk1>
      <a:lt1>
        <a:srgbClr val="FFFFFF"/>
      </a:lt1>
      <a:dk2>
        <a:srgbClr val="768394"/>
      </a:dk2>
      <a:lt2>
        <a:srgbClr val="F0F0F0"/>
      </a:lt2>
      <a:accent1>
        <a:srgbClr val="241FAA"/>
      </a:accent1>
      <a:accent2>
        <a:srgbClr val="FFBB00"/>
      </a:accent2>
      <a:accent3>
        <a:srgbClr val="F8DF9A"/>
      </a:accent3>
      <a:accent4>
        <a:srgbClr val="4B4AA7"/>
      </a:accent4>
      <a:accent5>
        <a:srgbClr val="918FD2"/>
      </a:accent5>
      <a:accent6>
        <a:srgbClr val="768394"/>
      </a:accent6>
      <a:hlink>
        <a:srgbClr val="4276AA"/>
      </a:hlink>
      <a:folHlink>
        <a:srgbClr val="BFBFBF"/>
      </a:folHlink>
    </a:clrScheme>
    <a:fontScheme name="1wzdhweu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主题5" id="{B8EDB911-D765-4A7B-BBC7-40DBB672FBA6}" vid="{AECAB1C0-5DF6-436C-85E8-20094DBE11C0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2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ppt/theme/themeOverride3.xml><?xml version="1.0" encoding="utf-8"?>
<a:themeOverride xmlns:a="http://schemas.openxmlformats.org/drawingml/2006/main">
  <a:clrScheme name="房利美">
    <a:dk1>
      <a:srgbClr val="000000"/>
    </a:dk1>
    <a:lt1>
      <a:srgbClr val="FFFFFF"/>
    </a:lt1>
    <a:dk2>
      <a:srgbClr val="768394"/>
    </a:dk2>
    <a:lt2>
      <a:srgbClr val="F0F0F0"/>
    </a:lt2>
    <a:accent1>
      <a:srgbClr val="241FAA"/>
    </a:accent1>
    <a:accent2>
      <a:srgbClr val="FFBB00"/>
    </a:accent2>
    <a:accent3>
      <a:srgbClr val="F8DF9A"/>
    </a:accent3>
    <a:accent4>
      <a:srgbClr val="4B4AA7"/>
    </a:accent4>
    <a:accent5>
      <a:srgbClr val="918FD2"/>
    </a:accent5>
    <a:accent6>
      <a:srgbClr val="768394"/>
    </a:accent6>
    <a:hlink>
      <a:srgbClr val="4276AA"/>
    </a:hlink>
    <a:folHlink>
      <a:srgbClr val="BFBFBF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1443A8EF62DE444B1FF07917E22EF72" ma:contentTypeVersion="15" ma:contentTypeDescription="Create a new document." ma:contentTypeScope="" ma:versionID="93a012c9a81027335424ba9f7b4858de">
  <xsd:schema xmlns:xsd="http://www.w3.org/2001/XMLSchema" xmlns:xs="http://www.w3.org/2001/XMLSchema" xmlns:p="http://schemas.microsoft.com/office/2006/metadata/properties" xmlns:ns2="0a5c0dea-e5d7-4228-9256-3793bb42faa5" xmlns:ns3="97934b4b-eba6-486d-bfc1-4b8e3fe39092" targetNamespace="http://schemas.microsoft.com/office/2006/metadata/properties" ma:root="true" ma:fieldsID="9a709ec72f4fcd18515a248f36769751" ns2:_="" ns3:_="">
    <xsd:import namespace="0a5c0dea-e5d7-4228-9256-3793bb42faa5"/>
    <xsd:import namespace="97934b4b-eba6-486d-bfc1-4b8e3fe39092"/>
    <xsd:element name="properties">
      <xsd:complexType>
        <xsd:sequence>
          <xsd:element name="documentManagement">
            <xsd:complexType>
              <xsd:all>
                <xsd:element ref="ns2:OneNoteFluid_FileOrder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5c0dea-e5d7-4228-9256-3793bb42faa5" elementFormDefault="qualified">
    <xsd:import namespace="http://schemas.microsoft.com/office/2006/documentManagement/types"/>
    <xsd:import namespace="http://schemas.microsoft.com/office/infopath/2007/PartnerControls"/>
    <xsd:element name="OneNoteFluid_FileOrder" ma:index="8" nillable="true" ma:displayName="OneNoteFluid_FileOrder" ma:internalName="OneNoteFluid_FileOrder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8" nillable="true" ma:taxonomy="true" ma:internalName="lcf76f155ced4ddcb4097134ff3c332f" ma:taxonomyFieldName="MediaServiceImageTags" ma:displayName="Image Tags" ma:readOnly="false" ma:fieldId="{5cf76f15-5ced-4ddc-b409-7134ff3c332f}" ma:taxonomyMulti="true" ma:sspId="e385fb40-52d4-4fae-9c5b-3e8ff8a587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2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934b4b-eba6-486d-bfc1-4b8e3fe3909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9" nillable="true" ma:displayName="Taxonomy Catch All Column" ma:hidden="true" ma:list="{a885aa0b-334b-483f-9125-6409c6335a4b}" ma:internalName="TaxCatchAll" ma:showField="CatchAllData" ma:web="97934b4b-eba6-486d-bfc1-4b8e3fe3909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934b4b-eba6-486d-bfc1-4b8e3fe39092" xsi:nil="true"/>
    <lcf76f155ced4ddcb4097134ff3c332f xmlns="0a5c0dea-e5d7-4228-9256-3793bb42faa5">
      <Terms xmlns="http://schemas.microsoft.com/office/infopath/2007/PartnerControls"/>
    </lcf76f155ced4ddcb4097134ff3c332f>
    <OneNoteFluid_FileOrder xmlns="0a5c0dea-e5d7-4228-9256-3793bb42faa5" xsi:nil="true"/>
  </documentManagement>
</p:properties>
</file>

<file path=customXml/itemProps1.xml><?xml version="1.0" encoding="utf-8"?>
<ds:datastoreItem xmlns:ds="http://schemas.openxmlformats.org/officeDocument/2006/customXml" ds:itemID="{A1B06352-2EC3-44DB-9E0D-3DD466F3477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a5c0dea-e5d7-4228-9256-3793bb42faa5"/>
    <ds:schemaRef ds:uri="97934b4b-eba6-486d-bfc1-4b8e3fe390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F1FAB332-01D5-4E9B-958D-91E4AD2BD0A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5ED6131-7463-4B49-88A9-26106DC7F057}">
  <ds:schemaRefs>
    <ds:schemaRef ds:uri="http://schemas.microsoft.com/office/2006/metadata/properties"/>
    <ds:schemaRef ds:uri="http://schemas.microsoft.com/office/infopath/2007/PartnerControls"/>
    <ds:schemaRef ds:uri="97934b4b-eba6-486d-bfc1-4b8e3fe39092"/>
    <ds:schemaRef ds:uri="0a5c0dea-e5d7-4228-9256-3793bb42faa5"/>
  </ds:schemaRefs>
</ds:datastoreItem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iSlide</Template>
  <TotalTime>2</TotalTime>
  <Words>1464</Words>
  <Application>Microsoft Office PowerPoint</Application>
  <PresentationFormat>宽屏</PresentationFormat>
  <Paragraphs>555</Paragraphs>
  <Slides>32</Slides>
  <Notes>0</Notes>
  <HiddenSlides>0</HiddenSlides>
  <MMClips>0</MMClips>
  <ScaleCrop>false</ScaleCrop>
  <HeadingPairs>
    <vt:vector size="8" baseType="variant">
      <vt:variant>
        <vt:lpstr>已用的字体</vt:lpstr>
      </vt:variant>
      <vt:variant>
        <vt:i4>4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2</vt:i4>
      </vt:variant>
    </vt:vector>
  </HeadingPairs>
  <TitlesOfParts>
    <vt:vector size="38" baseType="lpstr">
      <vt:lpstr>Impact</vt:lpstr>
      <vt:lpstr>Arial</vt:lpstr>
      <vt:lpstr>Calibri</vt:lpstr>
      <vt:lpstr>等线</vt:lpstr>
      <vt:lpstr>主题5</vt:lpstr>
      <vt:lpstr>think-cell Slide</vt:lpstr>
      <vt:lpstr>OfficePLUS  POWERPOINT  STANDARD TEMPLATE</vt:lpstr>
      <vt:lpstr>PowerPoint 演示文稿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Click to edit Master title style</vt:lpstr>
      <vt:lpstr>Section Header Here</vt:lpstr>
      <vt:lpstr>Click to edit Master title style</vt:lpstr>
      <vt:lpstr>Click to edit Master title style</vt:lpstr>
      <vt:lpstr>Click to edit Master title style</vt:lpstr>
      <vt:lpstr>Click to edit Master title style</vt:lpstr>
      <vt:lpstr>THANKS AND YOUR SLOGAN HERE</vt:lpstr>
    </vt:vector>
  </TitlesOfParts>
  <Manager>iSlide</Manager>
  <Company>iSlide</Company>
  <LinksUpToDate>false</LinksUpToDate>
  <SharedDoc>false</SharedDoc>
  <HyperlinkBase>https://www.islide.cc</HyperlinkBase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iSlide</dc:creator>
  <cp:lastModifiedBy>Soleil Yi</cp:lastModifiedBy>
  <cp:revision>3</cp:revision>
  <cp:lastPrinted>2020-02-17T16:00:00Z</cp:lastPrinted>
  <dcterms:created xsi:type="dcterms:W3CDTF">2020-02-17T16:00:00Z</dcterms:created>
  <dcterms:modified xsi:type="dcterms:W3CDTF">2022-09-03T01:20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Slide.Theme">
    <vt:lpwstr>48706f29-9ca0-418e-876d-de7b156ca083</vt:lpwstr>
  </property>
  <property fmtid="{D5CDD505-2E9C-101B-9397-08002B2CF9AE}" pid="3" name="ContentTypeId">
    <vt:lpwstr>0x010100D1443A8EF62DE444B1FF07917E22EF72</vt:lpwstr>
  </property>
</Properties>
</file>